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6.xml" ContentType="application/vnd.openxmlformats-officedocument.presentationml.tags+xml"/>
  <Override PartName="/ppt/notesSlides/notesSlide15.xml" ContentType="application/vnd.openxmlformats-officedocument.presentationml.notesSlide+xml"/>
  <Override PartName="/ppt/theme/themeOverride2.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4"/>
  </p:notesMasterIdLst>
  <p:sldIdLst>
    <p:sldId id="256" r:id="rId2"/>
    <p:sldId id="317" r:id="rId3"/>
    <p:sldId id="322" r:id="rId4"/>
    <p:sldId id="320" r:id="rId5"/>
    <p:sldId id="326" r:id="rId6"/>
    <p:sldId id="323" r:id="rId7"/>
    <p:sldId id="327" r:id="rId8"/>
    <p:sldId id="328" r:id="rId9"/>
    <p:sldId id="329" r:id="rId10"/>
    <p:sldId id="330" r:id="rId11"/>
    <p:sldId id="332" r:id="rId12"/>
    <p:sldId id="331" r:id="rId13"/>
    <p:sldId id="324" r:id="rId14"/>
    <p:sldId id="333" r:id="rId15"/>
    <p:sldId id="334" r:id="rId16"/>
    <p:sldId id="325" r:id="rId17"/>
    <p:sldId id="335" r:id="rId18"/>
    <p:sldId id="336" r:id="rId19"/>
    <p:sldId id="337" r:id="rId20"/>
    <p:sldId id="338" r:id="rId21"/>
    <p:sldId id="339" r:id="rId22"/>
    <p:sldId id="261" r:id="rId23"/>
  </p:sldIdLst>
  <p:sldSz cx="12192000" cy="6858000"/>
  <p:notesSz cx="6858000" cy="9144000"/>
  <p:custDataLst>
    <p:tags r:id="rId2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969"/>
    <a:srgbClr val="00FCDC"/>
    <a:srgbClr val="113583"/>
    <a:srgbClr val="01BADC"/>
    <a:srgbClr val="2D8CAF"/>
    <a:srgbClr val="FFCF48"/>
    <a:srgbClr val="52FFEA"/>
    <a:srgbClr val="0A4F9C"/>
    <a:srgbClr val="3A239D"/>
    <a:srgbClr val="525B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747" autoAdjust="0"/>
    <p:restoredTop sz="70579" autoAdjust="0"/>
  </p:normalViewPr>
  <p:slideViewPr>
    <p:cSldViewPr snapToGrid="0">
      <p:cViewPr varScale="1">
        <p:scale>
          <a:sx n="89" d="100"/>
          <a:sy n="89" d="100"/>
        </p:scale>
        <p:origin x="830" y="67"/>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19/1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大家好，我是</a:t>
            </a:r>
            <a:r>
              <a:rPr lang="en-US" altLang="zh-CN" dirty="0"/>
              <a:t>XXX</a:t>
            </a:r>
            <a:r>
              <a:rPr lang="zh-CN" altLang="en-US" dirty="0"/>
              <a:t>，我们组今天给大家分享的论文是</a:t>
            </a:r>
            <a:r>
              <a:rPr lang="en-US" altLang="zh-CN" dirty="0"/>
              <a:t>《</a:t>
            </a:r>
            <a:r>
              <a:rPr lang="zh-CN" altLang="en-US" dirty="0"/>
              <a:t>设计模式实现变体对恢复工具检索效率的影响</a:t>
            </a:r>
            <a:r>
              <a:rPr lang="en-US" altLang="zh-CN" dirty="0"/>
              <a:t>——</a:t>
            </a:r>
            <a:r>
              <a:rPr lang="zh-CN" altLang="en-US" dirty="0"/>
              <a:t>探索性研究 </a:t>
            </a:r>
            <a:r>
              <a:rPr lang="en-US" altLang="zh-CN" dirty="0"/>
              <a:t>》</a:t>
            </a:r>
            <a:r>
              <a:rPr lang="zh-CN" altLang="en-US" dirty="0"/>
              <a:t>，这篇文章研究了设计模式的实现变体如何影响设计模式恢复工具的检索效率。</a:t>
            </a:r>
            <a:endParaRPr lang="en-US" altLang="zh-CN" dirty="0"/>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6877071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支持实现变体的设计模式恢复方法</a:t>
            </a:r>
            <a:endParaRPr lang="en-US" altLang="zh-CN" sz="1200" b="0" i="0"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37521235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表</a:t>
            </a:r>
            <a:r>
              <a:rPr lang="en-US" altLang="zh-CN" sz="1200" b="0" i="0" kern="1200" dirty="0">
                <a:solidFill>
                  <a:schemeClr val="tx1"/>
                </a:solidFill>
                <a:effectLst/>
                <a:latin typeface="+mn-lt"/>
                <a:ea typeface="+mn-ea"/>
                <a:cs typeface="+mn-cs"/>
              </a:rPr>
              <a:t>1</a:t>
            </a:r>
            <a:r>
              <a:rPr lang="zh-CN" altLang="en-US" sz="1200" b="0" i="0" kern="1200" dirty="0">
                <a:solidFill>
                  <a:schemeClr val="tx1"/>
                </a:solidFill>
                <a:effectLst/>
                <a:latin typeface="+mn-lt"/>
                <a:ea typeface="+mn-ea"/>
                <a:cs typeface="+mn-cs"/>
              </a:rPr>
              <a:t>和表</a:t>
            </a:r>
            <a:r>
              <a:rPr lang="en-US" altLang="zh-CN" sz="1200" b="0" i="0" kern="1200" dirty="0">
                <a:solidFill>
                  <a:schemeClr val="tx1"/>
                </a:solidFill>
                <a:effectLst/>
                <a:latin typeface="+mn-lt"/>
                <a:ea typeface="+mn-ea"/>
                <a:cs typeface="+mn-cs"/>
              </a:rPr>
              <a:t>2</a:t>
            </a:r>
            <a:r>
              <a:rPr lang="zh-CN" altLang="en-US" sz="1200" b="0" i="0" kern="1200" dirty="0">
                <a:solidFill>
                  <a:schemeClr val="tx1"/>
                </a:solidFill>
                <a:effectLst/>
                <a:latin typeface="+mn-lt"/>
                <a:ea typeface="+mn-ea"/>
                <a:cs typeface="+mn-cs"/>
              </a:rPr>
              <a:t>总结了为定义设计模式的实现变体而引入的约束和放松，它们对恢复过程的影响以及渐进复杂性变化。 此外，最后一列显示了对提议的恢复过程的性能的预期影响。 然后，通过将</a:t>
            </a:r>
            <a:r>
              <a:rPr lang="en-US" altLang="zh-CN" sz="1200" b="0" i="0" kern="1200" dirty="0" err="1">
                <a:solidFill>
                  <a:schemeClr val="tx1"/>
                </a:solidFill>
                <a:effectLst/>
                <a:latin typeface="+mn-lt"/>
                <a:ea typeface="+mn-ea"/>
                <a:cs typeface="+mn-cs"/>
              </a:rPr>
              <a:t>ePAD</a:t>
            </a:r>
            <a:r>
              <a:rPr lang="zh-CN" altLang="en-US" sz="1200" b="0" i="0" kern="1200" dirty="0">
                <a:solidFill>
                  <a:schemeClr val="tx1"/>
                </a:solidFill>
                <a:effectLst/>
                <a:latin typeface="+mn-lt"/>
                <a:ea typeface="+mn-ea"/>
                <a:cs typeface="+mn-cs"/>
              </a:rPr>
              <a:t>应用于八个软件系统来验证预期的影响：</a:t>
            </a:r>
            <a:r>
              <a:rPr lang="en-US" altLang="zh-CN" sz="1200" b="0" i="0" kern="1200" dirty="0" err="1">
                <a:solidFill>
                  <a:schemeClr val="tx1"/>
                </a:solidFill>
                <a:effectLst/>
                <a:latin typeface="+mn-lt"/>
                <a:ea typeface="+mn-ea"/>
                <a:cs typeface="+mn-cs"/>
              </a:rPr>
              <a:t>JHotDraw</a:t>
            </a:r>
            <a:r>
              <a:rPr lang="en-US" altLang="zh-CN" sz="1200" b="0" i="0" kern="1200" dirty="0">
                <a:solidFill>
                  <a:schemeClr val="tx1"/>
                </a:solidFill>
                <a:effectLst/>
                <a:latin typeface="+mn-lt"/>
                <a:ea typeface="+mn-ea"/>
                <a:cs typeface="+mn-cs"/>
              </a:rPr>
              <a:t> (JHD), versions 5.1 and 6.0b1; </a:t>
            </a:r>
            <a:r>
              <a:rPr lang="en-US" altLang="zh-CN" sz="1200" b="0" i="0" kern="1200" dirty="0" err="1">
                <a:solidFill>
                  <a:schemeClr val="tx1"/>
                </a:solidFill>
                <a:effectLst/>
                <a:latin typeface="+mn-lt"/>
                <a:ea typeface="+mn-ea"/>
                <a:cs typeface="+mn-cs"/>
              </a:rPr>
              <a:t>QuickUML</a:t>
            </a:r>
            <a:r>
              <a:rPr lang="en-US" altLang="zh-CN" sz="1200" b="0" i="0" kern="1200" dirty="0">
                <a:solidFill>
                  <a:schemeClr val="tx1"/>
                </a:solidFill>
                <a:effectLst/>
                <a:latin typeface="+mn-lt"/>
                <a:ea typeface="+mn-ea"/>
                <a:cs typeface="+mn-cs"/>
              </a:rPr>
              <a:t> 2001; </a:t>
            </a:r>
            <a:r>
              <a:rPr lang="en-US" altLang="zh-CN" sz="1200" b="0" i="0" kern="1200" dirty="0" err="1">
                <a:solidFill>
                  <a:schemeClr val="tx1"/>
                </a:solidFill>
                <a:effectLst/>
                <a:latin typeface="+mn-lt"/>
                <a:ea typeface="+mn-ea"/>
                <a:cs typeface="+mn-cs"/>
              </a:rPr>
              <a:t>JRefactory</a:t>
            </a:r>
            <a:r>
              <a:rPr lang="en-US" altLang="zh-CN" sz="1200" b="0" i="0" kern="1200" dirty="0">
                <a:solidFill>
                  <a:schemeClr val="tx1"/>
                </a:solidFill>
                <a:effectLst/>
                <a:latin typeface="+mn-lt"/>
                <a:ea typeface="+mn-ea"/>
                <a:cs typeface="+mn-cs"/>
              </a:rPr>
              <a:t>, version 2.6.24; JUnit, version 3.7; </a:t>
            </a:r>
            <a:r>
              <a:rPr lang="en-US" altLang="zh-CN" sz="1200" b="0" i="0" kern="1200" dirty="0" err="1">
                <a:solidFill>
                  <a:schemeClr val="tx1"/>
                </a:solidFill>
                <a:effectLst/>
                <a:latin typeface="+mn-lt"/>
                <a:ea typeface="+mn-ea"/>
                <a:cs typeface="+mn-cs"/>
              </a:rPr>
              <a:t>MapperXML</a:t>
            </a:r>
            <a:r>
              <a:rPr lang="en-US" altLang="zh-CN" sz="1200" b="0" i="0" kern="1200" dirty="0">
                <a:solidFill>
                  <a:schemeClr val="tx1"/>
                </a:solidFill>
                <a:effectLst/>
                <a:latin typeface="+mn-lt"/>
                <a:ea typeface="+mn-ea"/>
                <a:cs typeface="+mn-cs"/>
              </a:rPr>
              <a:t>, version 1.9.7; Lexi, version 0.1.1; and </a:t>
            </a:r>
            <a:r>
              <a:rPr lang="en-US" altLang="zh-CN" sz="1200" b="0" i="0" kern="1200" dirty="0" err="1">
                <a:solidFill>
                  <a:schemeClr val="tx1"/>
                </a:solidFill>
                <a:effectLst/>
                <a:latin typeface="+mn-lt"/>
                <a:ea typeface="+mn-ea"/>
                <a:cs typeface="+mn-cs"/>
              </a:rPr>
              <a:t>Nutch</a:t>
            </a:r>
            <a:r>
              <a:rPr lang="zh-CN" altLang="en-US" sz="1200" b="0" i="0" kern="1200" dirty="0">
                <a:solidFill>
                  <a:schemeClr val="tx1"/>
                </a:solidFill>
                <a:effectLst/>
                <a:latin typeface="+mn-lt"/>
                <a:ea typeface="+mn-ea"/>
                <a:cs typeface="+mn-cs"/>
              </a:rPr>
              <a:t>。</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33787613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4047857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27026192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表</a:t>
            </a:r>
            <a:r>
              <a:rPr lang="en-US" altLang="zh-CN" dirty="0"/>
              <a:t>7</a:t>
            </a:r>
            <a:r>
              <a:rPr lang="zh-CN" altLang="en-US" dirty="0"/>
              <a:t>总结了我们在研究中考虑的每种约束</a:t>
            </a:r>
            <a:r>
              <a:rPr lang="en-US" altLang="zh-CN" dirty="0"/>
              <a:t>/</a:t>
            </a:r>
            <a:r>
              <a:rPr lang="zh-CN" altLang="en-US" dirty="0"/>
              <a:t>放松和设计模式所获得的结果。 它显示了是否验证了表</a:t>
            </a:r>
            <a:r>
              <a:rPr lang="en-US" altLang="zh-CN" dirty="0"/>
              <a:t>1</a:t>
            </a:r>
            <a:r>
              <a:rPr lang="zh-CN" altLang="en-US" dirty="0"/>
              <a:t>和表</a:t>
            </a:r>
            <a:r>
              <a:rPr lang="en-US" altLang="zh-CN" dirty="0"/>
              <a:t>2</a:t>
            </a:r>
            <a:r>
              <a:rPr lang="zh-CN" altLang="en-US" dirty="0"/>
              <a:t>中给出的约束</a:t>
            </a:r>
            <a:r>
              <a:rPr lang="en-US" altLang="zh-CN" dirty="0"/>
              <a:t>/</a:t>
            </a:r>
            <a:r>
              <a:rPr lang="zh-CN" altLang="en-US" dirty="0"/>
              <a:t>松弛对</a:t>
            </a:r>
            <a:r>
              <a:rPr lang="en-US" altLang="zh-CN" dirty="0" err="1"/>
              <a:t>ePAD</a:t>
            </a:r>
            <a:r>
              <a:rPr lang="zh-CN" altLang="en-US" dirty="0"/>
              <a:t>的精度和时间性能的预期影响。</a:t>
            </a:r>
            <a:endParaRPr lang="en-US" altLang="zh-CN" dirty="0"/>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21548767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表</a:t>
            </a:r>
            <a:r>
              <a:rPr lang="en-US" altLang="zh-CN" dirty="0"/>
              <a:t>7</a:t>
            </a:r>
            <a:r>
              <a:rPr lang="zh-CN" altLang="en-US" dirty="0"/>
              <a:t>总结了我们在研究中考虑的每种约束</a:t>
            </a:r>
            <a:r>
              <a:rPr lang="en-US" altLang="zh-CN" dirty="0"/>
              <a:t>/</a:t>
            </a:r>
            <a:r>
              <a:rPr lang="zh-CN" altLang="en-US" dirty="0"/>
              <a:t>放松和设计模式所获得的结果。 它显示了是否验证了表</a:t>
            </a:r>
            <a:r>
              <a:rPr lang="en-US" altLang="zh-CN" dirty="0"/>
              <a:t>1</a:t>
            </a:r>
            <a:r>
              <a:rPr lang="zh-CN" altLang="en-US" dirty="0"/>
              <a:t>和表</a:t>
            </a:r>
            <a:r>
              <a:rPr lang="en-US" altLang="zh-CN" dirty="0"/>
              <a:t>2</a:t>
            </a:r>
            <a:r>
              <a:rPr lang="zh-CN" altLang="en-US" dirty="0"/>
              <a:t>中给出的约束</a:t>
            </a:r>
            <a:r>
              <a:rPr lang="en-US" altLang="zh-CN" dirty="0"/>
              <a:t>/</a:t>
            </a:r>
            <a:r>
              <a:rPr lang="zh-CN" altLang="en-US" dirty="0"/>
              <a:t>松弛对</a:t>
            </a:r>
            <a:r>
              <a:rPr lang="en-US" altLang="zh-CN" dirty="0" err="1"/>
              <a:t>ePAD</a:t>
            </a:r>
            <a:r>
              <a:rPr lang="zh-CN" altLang="en-US" dirty="0"/>
              <a:t>的精度和时间性能的预期影响。</a:t>
            </a:r>
            <a:endParaRPr lang="en-US" altLang="zh-CN" dirty="0"/>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17719343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2</a:t>
            </a:fld>
            <a:endParaRPr lang="zh-CN" altLang="en-US"/>
          </a:p>
        </p:txBody>
      </p:sp>
    </p:spTree>
    <p:extLst>
      <p:ext uri="{BB962C8B-B14F-4D97-AF65-F5344CB8AC3E}">
        <p14:creationId xmlns:p14="http://schemas.microsoft.com/office/powerpoint/2010/main" val="33480001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0" i="0" kern="1200" dirty="0">
                <a:solidFill>
                  <a:schemeClr val="tx1"/>
                </a:solidFill>
                <a:effectLst/>
                <a:latin typeface="+mn-lt"/>
                <a:ea typeface="+mn-ea"/>
                <a:cs typeface="+mn-cs"/>
              </a:rPr>
              <a:t>1.</a:t>
            </a:r>
            <a:r>
              <a:rPr lang="zh-CN" altLang="en-US" sz="1200" b="0" i="0" kern="1200" dirty="0">
                <a:solidFill>
                  <a:schemeClr val="tx1"/>
                </a:solidFill>
                <a:effectLst/>
                <a:latin typeface="+mn-lt"/>
                <a:ea typeface="+mn-ea"/>
                <a:cs typeface="+mn-cs"/>
              </a:rPr>
              <a:t>首先定义了适配器和观察者设计模式的一些实现变体，通过在其规范形式上引入约束或松弛</a:t>
            </a:r>
          </a:p>
          <a:p>
            <a:r>
              <a:rPr lang="en-US" altLang="zh-CN" sz="1200" b="0" i="0" kern="1200" dirty="0">
                <a:solidFill>
                  <a:schemeClr val="tx1"/>
                </a:solidFill>
                <a:effectLst/>
                <a:latin typeface="+mn-lt"/>
                <a:ea typeface="+mn-ea"/>
                <a:cs typeface="+mn-cs"/>
              </a:rPr>
              <a:t>2.</a:t>
            </a:r>
            <a:r>
              <a:rPr lang="zh-CN" altLang="en-US" sz="1200" b="0" i="0" kern="1200" dirty="0">
                <a:solidFill>
                  <a:schemeClr val="tx1"/>
                </a:solidFill>
                <a:effectLst/>
                <a:latin typeface="+mn-lt"/>
                <a:ea typeface="+mn-ea"/>
                <a:cs typeface="+mn-cs"/>
              </a:rPr>
              <a:t>分析了这些定义的复杂性与过去提出的设计模式恢复过程所需的精度和时间之间的关系</a:t>
            </a:r>
          </a:p>
          <a:p>
            <a:r>
              <a:rPr lang="en-US" altLang="zh-CN" sz="1200" b="0" i="0" kern="1200" dirty="0">
                <a:solidFill>
                  <a:schemeClr val="tx1"/>
                </a:solidFill>
                <a:effectLst/>
                <a:latin typeface="+mn-lt"/>
                <a:ea typeface="+mn-ea"/>
                <a:cs typeface="+mn-cs"/>
              </a:rPr>
              <a:t>3.</a:t>
            </a:r>
            <a:r>
              <a:rPr lang="zh-CN" altLang="en-US" sz="1200" b="0" i="0" kern="1200" dirty="0">
                <a:solidFill>
                  <a:schemeClr val="tx1"/>
                </a:solidFill>
                <a:effectLst/>
                <a:latin typeface="+mn-lt"/>
                <a:ea typeface="+mn-ea"/>
                <a:cs typeface="+mn-cs"/>
              </a:rPr>
              <a:t>将用于设计模式恢复的</a:t>
            </a:r>
            <a:r>
              <a:rPr lang="en-US" altLang="zh-CN" sz="1200" b="0" i="0" kern="1200" dirty="0">
                <a:solidFill>
                  <a:schemeClr val="tx1"/>
                </a:solidFill>
                <a:effectLst/>
                <a:latin typeface="+mn-lt"/>
                <a:ea typeface="+mn-ea"/>
                <a:cs typeface="+mn-cs"/>
              </a:rPr>
              <a:t>Eclipse</a:t>
            </a:r>
            <a:r>
              <a:rPr lang="zh-CN" altLang="en-US" sz="1200" b="0" i="0" kern="1200" dirty="0">
                <a:solidFill>
                  <a:schemeClr val="tx1"/>
                </a:solidFill>
                <a:effectLst/>
                <a:latin typeface="+mn-lt"/>
                <a:ea typeface="+mn-ea"/>
                <a:cs typeface="+mn-cs"/>
              </a:rPr>
              <a:t>插件</a:t>
            </a:r>
            <a:r>
              <a:rPr lang="en-US" altLang="zh-CN" sz="1200" b="0" i="0" kern="1200" dirty="0" err="1">
                <a:solidFill>
                  <a:schemeClr val="tx1"/>
                </a:solidFill>
                <a:effectLst/>
                <a:latin typeface="+mn-lt"/>
                <a:ea typeface="+mn-ea"/>
                <a:cs typeface="+mn-cs"/>
              </a:rPr>
              <a:t>ePAD</a:t>
            </a:r>
            <a:r>
              <a:rPr lang="zh-CN" altLang="en-US" sz="1200" b="0" i="0" kern="1200" dirty="0">
                <a:solidFill>
                  <a:schemeClr val="tx1"/>
                </a:solidFill>
                <a:effectLst/>
                <a:latin typeface="+mn-lt"/>
                <a:ea typeface="+mn-ea"/>
                <a:cs typeface="+mn-cs"/>
              </a:rPr>
              <a:t>应用于八个软件系统</a:t>
            </a:r>
          </a:p>
          <a:p>
            <a:r>
              <a:rPr lang="en-US" altLang="zh-CN" sz="1200" b="0" i="0" kern="1200" dirty="0">
                <a:solidFill>
                  <a:schemeClr val="tx1"/>
                </a:solidFill>
                <a:effectLst/>
                <a:latin typeface="+mn-lt"/>
                <a:ea typeface="+mn-ea"/>
                <a:cs typeface="+mn-cs"/>
              </a:rPr>
              <a:t>4.</a:t>
            </a:r>
            <a:r>
              <a:rPr lang="zh-CN" altLang="en-US" sz="1200" b="0" i="0" kern="1200" dirty="0">
                <a:solidFill>
                  <a:schemeClr val="tx1"/>
                </a:solidFill>
                <a:effectLst/>
                <a:latin typeface="+mn-lt"/>
                <a:ea typeface="+mn-ea"/>
                <a:cs typeface="+mn-cs"/>
              </a:rPr>
              <a:t>发现在定义变量的复杂性与恢复实例所需的精度和时间之间存在有趣的关系</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36911252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sz="1200" b="0" i="0"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3775725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支持实现变体的设计模式恢复方法</a:t>
            </a:r>
            <a:endParaRPr lang="en-US" altLang="zh-CN" sz="1200" b="0" i="0"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1656969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9546040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适配器和观察者设计模式的实现变体的规范 </a:t>
            </a:r>
            <a:endParaRPr lang="en-US" altLang="zh-CN" sz="1200" b="0" i="0"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15179409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设计模式变体指的是在偏离标准规范的软件系统中实现的设计模式的实例。</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为</a:t>
            </a:r>
            <a:r>
              <a:rPr lang="en-US" altLang="zh-CN" sz="1200" b="0" i="0" kern="1200" dirty="0">
                <a:solidFill>
                  <a:schemeClr val="tx1"/>
                </a:solidFill>
                <a:effectLst/>
                <a:latin typeface="+mn-lt"/>
                <a:ea typeface="+mn-ea"/>
                <a:cs typeface="+mn-cs"/>
              </a:rPr>
              <a:t>Adapter</a:t>
            </a:r>
            <a:r>
              <a:rPr lang="zh-CN" altLang="en-US" sz="1200" b="0" i="0" kern="1200" dirty="0">
                <a:solidFill>
                  <a:schemeClr val="tx1"/>
                </a:solidFill>
                <a:effectLst/>
                <a:latin typeface="+mn-lt"/>
                <a:ea typeface="+mn-ea"/>
                <a:cs typeface="+mn-cs"/>
              </a:rPr>
              <a:t>和</a:t>
            </a:r>
            <a:r>
              <a:rPr lang="en-US" altLang="zh-CN" sz="1200" b="0" i="0" kern="1200" dirty="0">
                <a:solidFill>
                  <a:schemeClr val="tx1"/>
                </a:solidFill>
                <a:effectLst/>
                <a:latin typeface="+mn-lt"/>
                <a:ea typeface="+mn-ea"/>
                <a:cs typeface="+mn-cs"/>
              </a:rPr>
              <a:t>Observer</a:t>
            </a:r>
            <a:r>
              <a:rPr lang="zh-CN" altLang="en-US" sz="1200" b="0" i="0" kern="1200" dirty="0">
                <a:solidFill>
                  <a:schemeClr val="tx1"/>
                </a:solidFill>
                <a:effectLst/>
                <a:latin typeface="+mn-lt"/>
                <a:ea typeface="+mn-ea"/>
                <a:cs typeface="+mn-cs"/>
              </a:rPr>
              <a:t>模式定义了</a:t>
            </a:r>
            <a:r>
              <a:rPr lang="en-US" altLang="zh-CN" sz="1200" b="0" i="0" kern="1200" dirty="0">
                <a:solidFill>
                  <a:schemeClr val="tx1"/>
                </a:solidFill>
                <a:effectLst/>
                <a:latin typeface="+mn-lt"/>
                <a:ea typeface="+mn-ea"/>
                <a:cs typeface="+mn-cs"/>
              </a:rPr>
              <a:t>16</a:t>
            </a:r>
            <a:r>
              <a:rPr lang="zh-CN" altLang="en-US" sz="1200" b="0" i="0" kern="1200" dirty="0">
                <a:solidFill>
                  <a:schemeClr val="tx1"/>
                </a:solidFill>
                <a:effectLst/>
                <a:latin typeface="+mn-lt"/>
                <a:ea typeface="+mn-ea"/>
                <a:cs typeface="+mn-cs"/>
              </a:rPr>
              <a:t>种不同的实现变体，它们代表了拟议的探索性研究中分析的两种模式。</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选择它们是因为它们可以分别视为结构和行为设计模式类别的代表，并且已在文献中讨论的案例研究中使用它们。</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1368449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3185265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dirty="0">
                <a:solidFill>
                  <a:schemeClr val="tx1"/>
                </a:solidFill>
                <a:effectLst/>
                <a:latin typeface="+mn-lt"/>
                <a:ea typeface="+mn-ea"/>
                <a:cs typeface="+mn-cs"/>
              </a:rPr>
              <a:t>支持实现变体的设计模式恢复方法</a:t>
            </a:r>
            <a:endParaRPr lang="en-US" altLang="zh-CN" sz="1200" b="0" i="0"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22751616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accent1"/>
        </a:solidFill>
        <a:effectLst/>
      </p:bgPr>
    </p:bg>
    <p:spTree>
      <p:nvGrpSpPr>
        <p:cNvPr id="1" name=""/>
        <p:cNvGrpSpPr/>
        <p:nvPr/>
      </p:nvGrpSpPr>
      <p:grpSpPr>
        <a:xfrm>
          <a:off x="0" y="0"/>
          <a:ext cx="0" cy="0"/>
          <a:chOff x="0" y="0"/>
          <a:chExt cx="0" cy="0"/>
        </a:xfrm>
      </p:grpSpPr>
      <p:sp>
        <p:nvSpPr>
          <p:cNvPr id="9802" name="标题 1"/>
          <p:cNvSpPr>
            <a:spLocks noGrp="1"/>
          </p:cNvSpPr>
          <p:nvPr>
            <p:ph type="ctrTitle" hasCustomPrompt="1"/>
          </p:nvPr>
        </p:nvSpPr>
        <p:spPr>
          <a:xfrm>
            <a:off x="795436" y="1043175"/>
            <a:ext cx="3374828" cy="2943136"/>
          </a:xfrm>
          <a:noFill/>
        </p:spPr>
        <p:txBody>
          <a:bodyPr anchor="ctr">
            <a:normAutofit/>
          </a:bodyPr>
          <a:lstStyle>
            <a:lvl1pPr algn="l">
              <a:defRPr sz="3200">
                <a:solidFill>
                  <a:schemeClr val="bg1"/>
                </a:solidFill>
              </a:defRPr>
            </a:lvl1pPr>
          </a:lstStyle>
          <a:p>
            <a:r>
              <a:rPr lang="en-US" dirty="0"/>
              <a:t>Click to edit master title style</a:t>
            </a:r>
            <a:endParaRPr lang="zh-CN" altLang="en-US" dirty="0"/>
          </a:p>
        </p:txBody>
      </p:sp>
      <p:sp>
        <p:nvSpPr>
          <p:cNvPr id="9801" name="副标题 2"/>
          <p:cNvSpPr>
            <a:spLocks noGrp="1"/>
          </p:cNvSpPr>
          <p:nvPr>
            <p:ph type="subTitle" idx="1" hasCustomPrompt="1"/>
          </p:nvPr>
        </p:nvSpPr>
        <p:spPr>
          <a:xfrm>
            <a:off x="795437" y="3806255"/>
            <a:ext cx="4223073" cy="464698"/>
          </a:xfrm>
        </p:spPr>
        <p:txBody>
          <a:bodyPr anchor="ctr">
            <a:normAutofit/>
          </a:bodyPr>
          <a:lstStyle>
            <a:lvl1pPr marL="0" indent="0" algn="l">
              <a:buNone/>
              <a:defRPr sz="2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2" name="文本占位符 13"/>
          <p:cNvSpPr>
            <a:spLocks noGrp="1"/>
          </p:cNvSpPr>
          <p:nvPr>
            <p:ph type="body" sz="quarter" idx="10" hasCustomPrompt="1"/>
          </p:nvPr>
        </p:nvSpPr>
        <p:spPr>
          <a:xfrm>
            <a:off x="795436" y="4964747"/>
            <a:ext cx="4223073" cy="258922"/>
          </a:xfrm>
        </p:spPr>
        <p:txBody>
          <a:bodyPr vert="horz" anchor="ctr">
            <a:noAutofit/>
          </a:bodyPr>
          <a:lstStyle>
            <a:lvl1pPr marL="0" indent="0" algn="l">
              <a:buNone/>
              <a:defRPr sz="1600" b="0" u="sng">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p:ph type="body" sz="quarter" idx="11" hasCustomPrompt="1"/>
          </p:nvPr>
        </p:nvSpPr>
        <p:spPr>
          <a:xfrm>
            <a:off x="795436" y="5265908"/>
            <a:ext cx="4223074" cy="296392"/>
          </a:xfrm>
        </p:spPr>
        <p:txBody>
          <a:bodyPr vert="horz" anchor="ctr">
            <a:noAutofit/>
          </a:bodyPr>
          <a:lstStyle>
            <a:lvl1pPr marL="0" indent="0" algn="l">
              <a:buNone/>
              <a:defRPr sz="1600" b="0" u="sng">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126" name="任意多边形: 形状 124">
            <a:extLst>
              <a:ext uri="{FF2B5EF4-FFF2-40B4-BE49-F238E27FC236}">
                <a16:creationId xmlns:a16="http://schemas.microsoft.com/office/drawing/2014/main" id="{D32671B5-BF83-4E8B-85ED-1328D8760A05}"/>
              </a:ext>
            </a:extLst>
          </p:cNvPr>
          <p:cNvSpPr>
            <a:spLocks/>
          </p:cNvSpPr>
          <p:nvPr userDrawn="1"/>
        </p:nvSpPr>
        <p:spPr>
          <a:xfrm>
            <a:off x="673100" y="657860"/>
            <a:ext cx="740210" cy="569703"/>
          </a:xfrm>
          <a:custGeom>
            <a:avLst/>
            <a:gdLst>
              <a:gd name="connsiteX0" fmla="*/ 148260 w 770759"/>
              <a:gd name="connsiteY0" fmla="*/ 269173 h 593215"/>
              <a:gd name="connsiteX1" fmla="*/ 365936 w 770759"/>
              <a:gd name="connsiteY1" fmla="*/ 372043 h 593215"/>
              <a:gd name="connsiteX2" fmla="*/ 583611 w 770759"/>
              <a:gd name="connsiteY2" fmla="*/ 269173 h 593215"/>
              <a:gd name="connsiteX3" fmla="*/ 583611 w 770759"/>
              <a:gd name="connsiteY3" fmla="*/ 519491 h 593215"/>
              <a:gd name="connsiteX4" fmla="*/ 371935 w 770759"/>
              <a:gd name="connsiteY4" fmla="*/ 593215 h 593215"/>
              <a:gd name="connsiteX5" fmla="*/ 365936 w 770759"/>
              <a:gd name="connsiteY5" fmla="*/ 593215 h 593215"/>
              <a:gd name="connsiteX6" fmla="*/ 359936 w 770759"/>
              <a:gd name="connsiteY6" fmla="*/ 593215 h 593215"/>
              <a:gd name="connsiteX7" fmla="*/ 148260 w 770759"/>
              <a:gd name="connsiteY7" fmla="*/ 519491 h 593215"/>
              <a:gd name="connsiteX8" fmla="*/ 381361 w 770759"/>
              <a:gd name="connsiteY8" fmla="*/ 0 h 593215"/>
              <a:gd name="connsiteX9" fmla="*/ 736427 w 770759"/>
              <a:gd name="connsiteY9" fmla="*/ 158588 h 593215"/>
              <a:gd name="connsiteX10" fmla="*/ 742153 w 770759"/>
              <a:gd name="connsiteY10" fmla="*/ 158588 h 593215"/>
              <a:gd name="connsiteX11" fmla="*/ 742153 w 770759"/>
              <a:gd name="connsiteY11" fmla="*/ 161146 h 593215"/>
              <a:gd name="connsiteX12" fmla="*/ 749866 w 770759"/>
              <a:gd name="connsiteY12" fmla="*/ 164591 h 593215"/>
              <a:gd name="connsiteX13" fmla="*/ 742153 w 770759"/>
              <a:gd name="connsiteY13" fmla="*/ 168108 h 593215"/>
              <a:gd name="connsiteX14" fmla="*/ 742153 w 770759"/>
              <a:gd name="connsiteY14" fmla="*/ 381755 h 593215"/>
              <a:gd name="connsiteX15" fmla="*/ 757150 w 770759"/>
              <a:gd name="connsiteY15" fmla="*/ 387903 h 593215"/>
              <a:gd name="connsiteX16" fmla="*/ 767863 w 770759"/>
              <a:gd name="connsiteY16" fmla="*/ 414049 h 593215"/>
              <a:gd name="connsiteX17" fmla="*/ 756829 w 770759"/>
              <a:gd name="connsiteY17" fmla="*/ 440517 h 593215"/>
              <a:gd name="connsiteX18" fmla="*/ 756095 w 770759"/>
              <a:gd name="connsiteY18" fmla="*/ 440813 h 593215"/>
              <a:gd name="connsiteX19" fmla="*/ 763791 w 770759"/>
              <a:gd name="connsiteY19" fmla="*/ 468698 h 593215"/>
              <a:gd name="connsiteX20" fmla="*/ 767862 w 770759"/>
              <a:gd name="connsiteY20" fmla="*/ 582069 h 593215"/>
              <a:gd name="connsiteX21" fmla="*/ 737868 w 770759"/>
              <a:gd name="connsiteY21" fmla="*/ 582069 h 593215"/>
              <a:gd name="connsiteX22" fmla="*/ 695876 w 770759"/>
              <a:gd name="connsiteY22" fmla="*/ 582069 h 593215"/>
              <a:gd name="connsiteX23" fmla="*/ 700696 w 770759"/>
              <a:gd name="connsiteY23" fmla="*/ 468698 h 593215"/>
              <a:gd name="connsiteX24" fmla="*/ 708262 w 770759"/>
              <a:gd name="connsiteY24" fmla="*/ 441584 h 593215"/>
              <a:gd name="connsiteX25" fmla="*/ 704874 w 770759"/>
              <a:gd name="connsiteY25" fmla="*/ 440196 h 593215"/>
              <a:gd name="connsiteX26" fmla="*/ 694161 w 770759"/>
              <a:gd name="connsiteY26" fmla="*/ 414049 h 593215"/>
              <a:gd name="connsiteX27" fmla="*/ 704874 w 770759"/>
              <a:gd name="connsiteY27" fmla="*/ 387903 h 593215"/>
              <a:gd name="connsiteX28" fmla="*/ 719015 w 770759"/>
              <a:gd name="connsiteY28" fmla="*/ 382106 h 593215"/>
              <a:gd name="connsiteX29" fmla="*/ 719015 w 770759"/>
              <a:gd name="connsiteY29" fmla="*/ 178657 h 593215"/>
              <a:gd name="connsiteX30" fmla="*/ 371934 w 770759"/>
              <a:gd name="connsiteY30" fmla="*/ 336899 h 593215"/>
              <a:gd name="connsiteX31" fmla="*/ 0 w 770759"/>
              <a:gd name="connsiteY31" fmla="*/ 168878 h 593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70759" h="593215">
                <a:moveTo>
                  <a:pt x="148260" y="269173"/>
                </a:moveTo>
                <a:cubicBezTo>
                  <a:pt x="148260" y="270888"/>
                  <a:pt x="330799" y="355756"/>
                  <a:pt x="365936" y="372043"/>
                </a:cubicBezTo>
                <a:cubicBezTo>
                  <a:pt x="401072" y="355756"/>
                  <a:pt x="583611" y="270888"/>
                  <a:pt x="583611" y="269173"/>
                </a:cubicBezTo>
                <a:lnTo>
                  <a:pt x="583611" y="519491"/>
                </a:lnTo>
                <a:cubicBezTo>
                  <a:pt x="524478" y="581213"/>
                  <a:pt x="408786" y="591500"/>
                  <a:pt x="371935" y="593215"/>
                </a:cubicBezTo>
                <a:cubicBezTo>
                  <a:pt x="371935" y="593215"/>
                  <a:pt x="369364" y="593215"/>
                  <a:pt x="365936" y="593215"/>
                </a:cubicBezTo>
                <a:cubicBezTo>
                  <a:pt x="361651" y="593215"/>
                  <a:pt x="359936" y="593215"/>
                  <a:pt x="359936" y="593215"/>
                </a:cubicBezTo>
                <a:cubicBezTo>
                  <a:pt x="323087" y="592358"/>
                  <a:pt x="207393" y="582071"/>
                  <a:pt x="148260" y="519491"/>
                </a:cubicBezTo>
                <a:close/>
                <a:moveTo>
                  <a:pt x="381361" y="0"/>
                </a:moveTo>
                <a:lnTo>
                  <a:pt x="736427" y="158588"/>
                </a:lnTo>
                <a:lnTo>
                  <a:pt x="742153" y="158588"/>
                </a:lnTo>
                <a:lnTo>
                  <a:pt x="742153" y="161146"/>
                </a:lnTo>
                <a:lnTo>
                  <a:pt x="749866" y="164591"/>
                </a:lnTo>
                <a:lnTo>
                  <a:pt x="742153" y="168108"/>
                </a:lnTo>
                <a:lnTo>
                  <a:pt x="742153" y="381755"/>
                </a:lnTo>
                <a:lnTo>
                  <a:pt x="757150" y="387903"/>
                </a:lnTo>
                <a:cubicBezTo>
                  <a:pt x="763792" y="394547"/>
                  <a:pt x="767863" y="403762"/>
                  <a:pt x="767863" y="414049"/>
                </a:cubicBezTo>
                <a:cubicBezTo>
                  <a:pt x="767863" y="424336"/>
                  <a:pt x="763578" y="433766"/>
                  <a:pt x="756829" y="440517"/>
                </a:cubicBezTo>
                <a:lnTo>
                  <a:pt x="756095" y="440813"/>
                </a:lnTo>
                <a:lnTo>
                  <a:pt x="763791" y="468698"/>
                </a:lnTo>
                <a:cubicBezTo>
                  <a:pt x="769576" y="495916"/>
                  <a:pt x="773861" y="534921"/>
                  <a:pt x="767862" y="582069"/>
                </a:cubicBezTo>
                <a:lnTo>
                  <a:pt x="737868" y="582069"/>
                </a:lnTo>
                <a:lnTo>
                  <a:pt x="695876" y="582069"/>
                </a:lnTo>
                <a:cubicBezTo>
                  <a:pt x="690306" y="534921"/>
                  <a:pt x="694805" y="495916"/>
                  <a:pt x="700696" y="468698"/>
                </a:cubicBezTo>
                <a:lnTo>
                  <a:pt x="708262" y="441584"/>
                </a:lnTo>
                <a:lnTo>
                  <a:pt x="704874" y="440196"/>
                </a:lnTo>
                <a:cubicBezTo>
                  <a:pt x="698232" y="433552"/>
                  <a:pt x="694161" y="424336"/>
                  <a:pt x="694161" y="414049"/>
                </a:cubicBezTo>
                <a:cubicBezTo>
                  <a:pt x="694161" y="403762"/>
                  <a:pt x="698232" y="394547"/>
                  <a:pt x="704874" y="387903"/>
                </a:cubicBezTo>
                <a:lnTo>
                  <a:pt x="719015" y="382106"/>
                </a:lnTo>
                <a:lnTo>
                  <a:pt x="719015" y="178657"/>
                </a:lnTo>
                <a:lnTo>
                  <a:pt x="371934" y="336899"/>
                </a:lnTo>
                <a:lnTo>
                  <a:pt x="0" y="168878"/>
                </a:lnTo>
                <a:close/>
              </a:path>
            </a:pathLst>
          </a:custGeom>
          <a:solidFill>
            <a:srgbClr val="FFFFFF">
              <a:alpha val="30000"/>
            </a:srgbClr>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nvGrpSpPr>
          <p:cNvPr id="134" name="组合 133" hidden="1"/>
          <p:cNvGrpSpPr/>
          <p:nvPr userDrawn="1"/>
        </p:nvGrpSpPr>
        <p:grpSpPr>
          <a:xfrm>
            <a:off x="7987617" y="5303487"/>
            <a:ext cx="1455548" cy="1494242"/>
            <a:chOff x="7987617" y="5303487"/>
            <a:chExt cx="1455548" cy="1494242"/>
          </a:xfrm>
          <a:solidFill>
            <a:schemeClr val="accent5"/>
          </a:solidFill>
        </p:grpSpPr>
        <p:sp>
          <p:nvSpPr>
            <p:cNvPr id="29" name="任意多边形: 形状 28">
              <a:extLst>
                <a:ext uri="{FF2B5EF4-FFF2-40B4-BE49-F238E27FC236}">
                  <a16:creationId xmlns:a16="http://schemas.microsoft.com/office/drawing/2014/main" id="{76636EFD-7BEE-4E06-AB42-56089B3380FC}"/>
                </a:ext>
              </a:extLst>
            </p:cNvPr>
            <p:cNvSpPr/>
            <p:nvPr/>
          </p:nvSpPr>
          <p:spPr>
            <a:xfrm>
              <a:off x="8009845" y="5824620"/>
              <a:ext cx="82327" cy="123491"/>
            </a:xfrm>
            <a:custGeom>
              <a:avLst/>
              <a:gdLst>
                <a:gd name="connsiteX0" fmla="*/ 81010 w 85725"/>
                <a:gd name="connsiteY0" fmla="*/ 129874 h 128587"/>
                <a:gd name="connsiteX1" fmla="*/ 6429 w 85725"/>
                <a:gd name="connsiteY1" fmla="*/ 129874 h 128587"/>
                <a:gd name="connsiteX2" fmla="*/ 6429 w 85725"/>
                <a:gd name="connsiteY2" fmla="*/ 6429 h 128587"/>
                <a:gd name="connsiteX3" fmla="*/ 77581 w 85725"/>
                <a:gd name="connsiteY3" fmla="*/ 6429 h 128587"/>
                <a:gd name="connsiteX4" fmla="*/ 77581 w 85725"/>
                <a:gd name="connsiteY4" fmla="*/ 28718 h 128587"/>
                <a:gd name="connsiteX5" fmla="*/ 34719 w 85725"/>
                <a:gd name="connsiteY5" fmla="*/ 28718 h 128587"/>
                <a:gd name="connsiteX6" fmla="*/ 34719 w 85725"/>
                <a:gd name="connsiteY6" fmla="*/ 56150 h 128587"/>
                <a:gd name="connsiteX7" fmla="*/ 75009 w 85725"/>
                <a:gd name="connsiteY7" fmla="*/ 56150 h 128587"/>
                <a:gd name="connsiteX8" fmla="*/ 75009 w 85725"/>
                <a:gd name="connsiteY8" fmla="*/ 78439 h 128587"/>
                <a:gd name="connsiteX9" fmla="*/ 34719 w 85725"/>
                <a:gd name="connsiteY9" fmla="*/ 78439 h 128587"/>
                <a:gd name="connsiteX10" fmla="*/ 34719 w 85725"/>
                <a:gd name="connsiteY10" fmla="*/ 106728 h 128587"/>
                <a:gd name="connsiteX11" fmla="*/ 81010 w 85725"/>
                <a:gd name="connsiteY11" fmla="*/ 106728 h 128587"/>
                <a:gd name="connsiteX12" fmla="*/ 81010 w 85725"/>
                <a:gd name="connsiteY12" fmla="*/ 129874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25" h="128587">
                  <a:moveTo>
                    <a:pt x="81010" y="129874"/>
                  </a:moveTo>
                  <a:lnTo>
                    <a:pt x="6429" y="129874"/>
                  </a:lnTo>
                  <a:lnTo>
                    <a:pt x="6429" y="6429"/>
                  </a:lnTo>
                  <a:lnTo>
                    <a:pt x="77581" y="6429"/>
                  </a:lnTo>
                  <a:lnTo>
                    <a:pt x="77581" y="28718"/>
                  </a:lnTo>
                  <a:lnTo>
                    <a:pt x="34719" y="28718"/>
                  </a:lnTo>
                  <a:lnTo>
                    <a:pt x="34719" y="56150"/>
                  </a:lnTo>
                  <a:lnTo>
                    <a:pt x="75009" y="56150"/>
                  </a:lnTo>
                  <a:lnTo>
                    <a:pt x="75009" y="78439"/>
                  </a:lnTo>
                  <a:lnTo>
                    <a:pt x="34719" y="78439"/>
                  </a:lnTo>
                  <a:lnTo>
                    <a:pt x="34719" y="106728"/>
                  </a:lnTo>
                  <a:lnTo>
                    <a:pt x="81010" y="106728"/>
                  </a:lnTo>
                  <a:lnTo>
                    <a:pt x="81010" y="129874"/>
                  </a:lnTo>
                  <a:close/>
                </a:path>
              </a:pathLst>
            </a:custGeom>
            <a:grpFill/>
            <a:ln w="9525" cap="flat">
              <a:noFill/>
              <a:prstDash val="solid"/>
              <a:miter/>
            </a:ln>
          </p:spPr>
          <p:txBody>
            <a:bodyPr rtlCol="0" anchor="ctr"/>
            <a:lstStyle/>
            <a:p>
              <a:endParaRPr lang="zh-CN" altLang="en-US"/>
            </a:p>
          </p:txBody>
        </p:sp>
        <p:sp>
          <p:nvSpPr>
            <p:cNvPr id="30" name="任意多边形: 形状 29">
              <a:extLst>
                <a:ext uri="{FF2B5EF4-FFF2-40B4-BE49-F238E27FC236}">
                  <a16:creationId xmlns:a16="http://schemas.microsoft.com/office/drawing/2014/main" id="{A4022A07-9F34-412C-94FC-9F9427AB0C4F}"/>
                </a:ext>
              </a:extLst>
            </p:cNvPr>
            <p:cNvSpPr/>
            <p:nvPr/>
          </p:nvSpPr>
          <p:spPr>
            <a:xfrm>
              <a:off x="8100405" y="5824620"/>
              <a:ext cx="115258" cy="123491"/>
            </a:xfrm>
            <a:custGeom>
              <a:avLst/>
              <a:gdLst>
                <a:gd name="connsiteX0" fmla="*/ 6429 w 120015"/>
                <a:gd name="connsiteY0" fmla="*/ 129874 h 128587"/>
                <a:gd name="connsiteX1" fmla="*/ 6429 w 120015"/>
                <a:gd name="connsiteY1" fmla="*/ 6429 h 128587"/>
                <a:gd name="connsiteX2" fmla="*/ 50149 w 120015"/>
                <a:gd name="connsiteY2" fmla="*/ 6429 h 128587"/>
                <a:gd name="connsiteX3" fmla="*/ 116157 w 120015"/>
                <a:gd name="connsiteY3" fmla="*/ 66437 h 128587"/>
                <a:gd name="connsiteX4" fmla="*/ 98155 w 120015"/>
                <a:gd name="connsiteY4" fmla="*/ 112729 h 128587"/>
                <a:gd name="connsiteX5" fmla="*/ 50149 w 120015"/>
                <a:gd name="connsiteY5" fmla="*/ 129874 h 128587"/>
                <a:gd name="connsiteX6" fmla="*/ 6429 w 120015"/>
                <a:gd name="connsiteY6" fmla="*/ 129874 h 128587"/>
                <a:gd name="connsiteX7" fmla="*/ 34719 w 120015"/>
                <a:gd name="connsiteY7" fmla="*/ 28718 h 128587"/>
                <a:gd name="connsiteX8" fmla="*/ 34719 w 120015"/>
                <a:gd name="connsiteY8" fmla="*/ 107585 h 128587"/>
                <a:gd name="connsiteX9" fmla="*/ 48435 w 120015"/>
                <a:gd name="connsiteY9" fmla="*/ 107585 h 128587"/>
                <a:gd name="connsiteX10" fmla="*/ 76724 w 120015"/>
                <a:gd name="connsiteY10" fmla="*/ 96441 h 128587"/>
                <a:gd name="connsiteX11" fmla="*/ 87011 w 120015"/>
                <a:gd name="connsiteY11" fmla="*/ 66437 h 128587"/>
                <a:gd name="connsiteX12" fmla="*/ 76724 w 120015"/>
                <a:gd name="connsiteY12" fmla="*/ 39005 h 128587"/>
                <a:gd name="connsiteX13" fmla="*/ 48435 w 120015"/>
                <a:gd name="connsiteY13" fmla="*/ 28718 h 128587"/>
                <a:gd name="connsiteX14" fmla="*/ 34719 w 120015"/>
                <a:gd name="connsiteY14" fmla="*/ 28718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015" h="128587">
                  <a:moveTo>
                    <a:pt x="6429" y="129874"/>
                  </a:moveTo>
                  <a:lnTo>
                    <a:pt x="6429" y="6429"/>
                  </a:lnTo>
                  <a:lnTo>
                    <a:pt x="50149" y="6429"/>
                  </a:lnTo>
                  <a:cubicBezTo>
                    <a:pt x="93869" y="6429"/>
                    <a:pt x="116157" y="26146"/>
                    <a:pt x="116157" y="66437"/>
                  </a:cubicBezTo>
                  <a:cubicBezTo>
                    <a:pt x="116157" y="86154"/>
                    <a:pt x="110157" y="100727"/>
                    <a:pt x="98155" y="112729"/>
                  </a:cubicBezTo>
                  <a:cubicBezTo>
                    <a:pt x="86154" y="123873"/>
                    <a:pt x="69866" y="129874"/>
                    <a:pt x="50149" y="129874"/>
                  </a:cubicBezTo>
                  <a:lnTo>
                    <a:pt x="6429" y="129874"/>
                  </a:lnTo>
                  <a:close/>
                  <a:moveTo>
                    <a:pt x="34719" y="28718"/>
                  </a:moveTo>
                  <a:lnTo>
                    <a:pt x="34719" y="107585"/>
                  </a:lnTo>
                  <a:lnTo>
                    <a:pt x="48435" y="107585"/>
                  </a:lnTo>
                  <a:cubicBezTo>
                    <a:pt x="60436" y="107585"/>
                    <a:pt x="69866" y="104156"/>
                    <a:pt x="76724" y="96441"/>
                  </a:cubicBezTo>
                  <a:cubicBezTo>
                    <a:pt x="83582" y="89583"/>
                    <a:pt x="87011" y="79296"/>
                    <a:pt x="87011" y="66437"/>
                  </a:cubicBezTo>
                  <a:cubicBezTo>
                    <a:pt x="87011" y="54435"/>
                    <a:pt x="83582" y="45006"/>
                    <a:pt x="76724" y="39005"/>
                  </a:cubicBezTo>
                  <a:cubicBezTo>
                    <a:pt x="69866" y="32147"/>
                    <a:pt x="60436" y="28718"/>
                    <a:pt x="48435" y="28718"/>
                  </a:cubicBezTo>
                  <a:lnTo>
                    <a:pt x="34719" y="28718"/>
                  </a:lnTo>
                  <a:close/>
                </a:path>
              </a:pathLst>
            </a:custGeom>
            <a:grpFill/>
            <a:ln w="9525" cap="flat">
              <a:noFill/>
              <a:prstDash val="solid"/>
              <a:miter/>
            </a:ln>
          </p:spPr>
          <p:txBody>
            <a:bodyPr rtlCol="0" anchor="ctr"/>
            <a:lstStyle/>
            <a:p>
              <a:endParaRPr lang="zh-CN" altLang="en-US"/>
            </a:p>
          </p:txBody>
        </p:sp>
        <p:sp>
          <p:nvSpPr>
            <p:cNvPr id="31" name="任意多边形: 形状 30">
              <a:extLst>
                <a:ext uri="{FF2B5EF4-FFF2-40B4-BE49-F238E27FC236}">
                  <a16:creationId xmlns:a16="http://schemas.microsoft.com/office/drawing/2014/main" id="{43358738-9C35-4F89-B5C6-944FE523AAA3}"/>
                </a:ext>
              </a:extLst>
            </p:cNvPr>
            <p:cNvSpPr/>
            <p:nvPr/>
          </p:nvSpPr>
          <p:spPr>
            <a:xfrm>
              <a:off x="8223896" y="5823796"/>
              <a:ext cx="107026" cy="131724"/>
            </a:xfrm>
            <a:custGeom>
              <a:avLst/>
              <a:gdLst>
                <a:gd name="connsiteX0" fmla="*/ 109299 w 111442"/>
                <a:gd name="connsiteY0" fmla="*/ 76724 h 137160"/>
                <a:gd name="connsiteX1" fmla="*/ 57007 w 111442"/>
                <a:gd name="connsiteY1" fmla="*/ 132445 h 137160"/>
                <a:gd name="connsiteX2" fmla="*/ 6429 w 111442"/>
                <a:gd name="connsiteY2" fmla="*/ 77581 h 137160"/>
                <a:gd name="connsiteX3" fmla="*/ 6429 w 111442"/>
                <a:gd name="connsiteY3" fmla="*/ 6429 h 137160"/>
                <a:gd name="connsiteX4" fmla="*/ 34719 w 111442"/>
                <a:gd name="connsiteY4" fmla="*/ 6429 h 137160"/>
                <a:gd name="connsiteX5" fmla="*/ 34719 w 111442"/>
                <a:gd name="connsiteY5" fmla="*/ 78438 h 137160"/>
                <a:gd name="connsiteX6" fmla="*/ 57864 w 111442"/>
                <a:gd name="connsiteY6" fmla="*/ 108442 h 137160"/>
                <a:gd name="connsiteX7" fmla="*/ 81010 w 111442"/>
                <a:gd name="connsiteY7" fmla="*/ 79296 h 137160"/>
                <a:gd name="connsiteX8" fmla="*/ 81010 w 111442"/>
                <a:gd name="connsiteY8" fmla="*/ 6429 h 137160"/>
                <a:gd name="connsiteX9" fmla="*/ 109299 w 111442"/>
                <a:gd name="connsiteY9" fmla="*/ 6429 h 137160"/>
                <a:gd name="connsiteX10" fmla="*/ 109299 w 111442"/>
                <a:gd name="connsiteY10" fmla="*/ 76724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442" h="137160">
                  <a:moveTo>
                    <a:pt x="109299" y="76724"/>
                  </a:moveTo>
                  <a:cubicBezTo>
                    <a:pt x="109299" y="113586"/>
                    <a:pt x="92154" y="132445"/>
                    <a:pt x="57007" y="132445"/>
                  </a:cubicBezTo>
                  <a:cubicBezTo>
                    <a:pt x="23574" y="132445"/>
                    <a:pt x="6429" y="114443"/>
                    <a:pt x="6429" y="77581"/>
                  </a:cubicBezTo>
                  <a:lnTo>
                    <a:pt x="6429" y="6429"/>
                  </a:lnTo>
                  <a:lnTo>
                    <a:pt x="34719" y="6429"/>
                  </a:lnTo>
                  <a:lnTo>
                    <a:pt x="34719" y="78438"/>
                  </a:lnTo>
                  <a:cubicBezTo>
                    <a:pt x="34719" y="98155"/>
                    <a:pt x="42434" y="108442"/>
                    <a:pt x="57864" y="108442"/>
                  </a:cubicBezTo>
                  <a:cubicBezTo>
                    <a:pt x="73295" y="108442"/>
                    <a:pt x="81010" y="99012"/>
                    <a:pt x="81010" y="79296"/>
                  </a:cubicBezTo>
                  <a:lnTo>
                    <a:pt x="81010" y="6429"/>
                  </a:lnTo>
                  <a:lnTo>
                    <a:pt x="109299" y="6429"/>
                  </a:lnTo>
                  <a:lnTo>
                    <a:pt x="109299" y="76724"/>
                  </a:lnTo>
                  <a:close/>
                </a:path>
              </a:pathLst>
            </a:custGeom>
            <a:grpFill/>
            <a:ln w="9525" cap="flat">
              <a:noFill/>
              <a:prstDash val="solid"/>
              <a:miter/>
            </a:ln>
          </p:spPr>
          <p:txBody>
            <a:bodyPr rtlCol="0" anchor="ctr"/>
            <a:lstStyle/>
            <a:p>
              <a:endParaRPr lang="zh-CN" altLang="en-US"/>
            </a:p>
          </p:txBody>
        </p:sp>
        <p:sp>
          <p:nvSpPr>
            <p:cNvPr id="32" name="任意多边形: 形状 31">
              <a:extLst>
                <a:ext uri="{FF2B5EF4-FFF2-40B4-BE49-F238E27FC236}">
                  <a16:creationId xmlns:a16="http://schemas.microsoft.com/office/drawing/2014/main" id="{67896518-3DE9-4955-B3C8-971B621BCE78}"/>
                </a:ext>
              </a:extLst>
            </p:cNvPr>
            <p:cNvSpPr/>
            <p:nvPr/>
          </p:nvSpPr>
          <p:spPr>
            <a:xfrm>
              <a:off x="8341624" y="5822150"/>
              <a:ext cx="98793" cy="131724"/>
            </a:xfrm>
            <a:custGeom>
              <a:avLst/>
              <a:gdLst>
                <a:gd name="connsiteX0" fmla="*/ 102441 w 102870"/>
                <a:gd name="connsiteY0" fmla="*/ 128159 h 137160"/>
                <a:gd name="connsiteX1" fmla="*/ 67294 w 102870"/>
                <a:gd name="connsiteY1" fmla="*/ 135017 h 137160"/>
                <a:gd name="connsiteX2" fmla="*/ 22717 w 102870"/>
                <a:gd name="connsiteY2" fmla="*/ 117872 h 137160"/>
                <a:gd name="connsiteX3" fmla="*/ 6429 w 102870"/>
                <a:gd name="connsiteY3" fmla="*/ 73295 h 137160"/>
                <a:gd name="connsiteX4" fmla="*/ 24432 w 102870"/>
                <a:gd name="connsiteY4" fmla="*/ 25289 h 137160"/>
                <a:gd name="connsiteX5" fmla="*/ 72438 w 102870"/>
                <a:gd name="connsiteY5" fmla="*/ 6429 h 137160"/>
                <a:gd name="connsiteX6" fmla="*/ 103299 w 102870"/>
                <a:gd name="connsiteY6" fmla="*/ 10716 h 137160"/>
                <a:gd name="connsiteX7" fmla="*/ 103299 w 102870"/>
                <a:gd name="connsiteY7" fmla="*/ 37290 h 137160"/>
                <a:gd name="connsiteX8" fmla="*/ 75009 w 102870"/>
                <a:gd name="connsiteY8" fmla="*/ 29575 h 137160"/>
                <a:gd name="connsiteX9" fmla="*/ 46720 w 102870"/>
                <a:gd name="connsiteY9" fmla="*/ 40719 h 137160"/>
                <a:gd name="connsiteX10" fmla="*/ 35576 w 102870"/>
                <a:gd name="connsiteY10" fmla="*/ 70723 h 137160"/>
                <a:gd name="connsiteX11" fmla="*/ 45863 w 102870"/>
                <a:gd name="connsiteY11" fmla="*/ 99012 h 137160"/>
                <a:gd name="connsiteX12" fmla="*/ 73295 w 102870"/>
                <a:gd name="connsiteY12" fmla="*/ 109299 h 137160"/>
                <a:gd name="connsiteX13" fmla="*/ 103299 w 102870"/>
                <a:gd name="connsiteY13" fmla="*/ 101584 h 137160"/>
                <a:gd name="connsiteX14" fmla="*/ 103299 w 102870"/>
                <a:gd name="connsiteY14" fmla="*/ 128159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870" h="137160">
                  <a:moveTo>
                    <a:pt x="102441" y="128159"/>
                  </a:moveTo>
                  <a:cubicBezTo>
                    <a:pt x="93012" y="132445"/>
                    <a:pt x="81867" y="135017"/>
                    <a:pt x="67294" y="135017"/>
                  </a:cubicBezTo>
                  <a:cubicBezTo>
                    <a:pt x="48435" y="135017"/>
                    <a:pt x="33004" y="129016"/>
                    <a:pt x="22717" y="117872"/>
                  </a:cubicBezTo>
                  <a:cubicBezTo>
                    <a:pt x="11573" y="106728"/>
                    <a:pt x="6429" y="92154"/>
                    <a:pt x="6429" y="73295"/>
                  </a:cubicBezTo>
                  <a:cubicBezTo>
                    <a:pt x="6429" y="53578"/>
                    <a:pt x="12430" y="37290"/>
                    <a:pt x="24432" y="25289"/>
                  </a:cubicBezTo>
                  <a:cubicBezTo>
                    <a:pt x="36433" y="13287"/>
                    <a:pt x="52721" y="6429"/>
                    <a:pt x="72438" y="6429"/>
                  </a:cubicBezTo>
                  <a:cubicBezTo>
                    <a:pt x="84439" y="6429"/>
                    <a:pt x="94726" y="8144"/>
                    <a:pt x="103299" y="10716"/>
                  </a:cubicBezTo>
                  <a:lnTo>
                    <a:pt x="103299" y="37290"/>
                  </a:lnTo>
                  <a:cubicBezTo>
                    <a:pt x="94726" y="32147"/>
                    <a:pt x="85296" y="29575"/>
                    <a:pt x="75009" y="29575"/>
                  </a:cubicBezTo>
                  <a:cubicBezTo>
                    <a:pt x="63008" y="29575"/>
                    <a:pt x="53578" y="33004"/>
                    <a:pt x="46720" y="40719"/>
                  </a:cubicBezTo>
                  <a:cubicBezTo>
                    <a:pt x="39862" y="48435"/>
                    <a:pt x="35576" y="57864"/>
                    <a:pt x="35576" y="70723"/>
                  </a:cubicBezTo>
                  <a:cubicBezTo>
                    <a:pt x="35576" y="82725"/>
                    <a:pt x="39005" y="92154"/>
                    <a:pt x="45863" y="99012"/>
                  </a:cubicBezTo>
                  <a:cubicBezTo>
                    <a:pt x="52721" y="105870"/>
                    <a:pt x="61293" y="109299"/>
                    <a:pt x="73295" y="109299"/>
                  </a:cubicBezTo>
                  <a:cubicBezTo>
                    <a:pt x="84439" y="109299"/>
                    <a:pt x="93869" y="106728"/>
                    <a:pt x="103299" y="101584"/>
                  </a:cubicBezTo>
                  <a:lnTo>
                    <a:pt x="103299" y="128159"/>
                  </a:lnTo>
                  <a:close/>
                </a:path>
              </a:pathLst>
            </a:custGeom>
            <a:grpFill/>
            <a:ln w="9525" cap="flat">
              <a:noFill/>
              <a:prstDash val="solid"/>
              <a:miter/>
            </a:ln>
          </p:spPr>
          <p:txBody>
            <a:bodyPr rtlCol="0" anchor="ctr"/>
            <a:lstStyle/>
            <a:p>
              <a:endParaRPr lang="zh-CN" altLang="en-US"/>
            </a:p>
          </p:txBody>
        </p:sp>
        <p:sp>
          <p:nvSpPr>
            <p:cNvPr id="33" name="任意多边形: 形状 32">
              <a:extLst>
                <a:ext uri="{FF2B5EF4-FFF2-40B4-BE49-F238E27FC236}">
                  <a16:creationId xmlns:a16="http://schemas.microsoft.com/office/drawing/2014/main" id="{F383AFBB-D185-4AD4-AF8D-45D701E06CF9}"/>
                </a:ext>
              </a:extLst>
            </p:cNvPr>
            <p:cNvSpPr/>
            <p:nvPr/>
          </p:nvSpPr>
          <p:spPr>
            <a:xfrm>
              <a:off x="8443710" y="5824620"/>
              <a:ext cx="123492" cy="123491"/>
            </a:xfrm>
            <a:custGeom>
              <a:avLst/>
              <a:gdLst>
                <a:gd name="connsiteX0" fmla="*/ 127302 w 128587"/>
                <a:gd name="connsiteY0" fmla="*/ 129874 h 128587"/>
                <a:gd name="connsiteX1" fmla="*/ 97298 w 128587"/>
                <a:gd name="connsiteY1" fmla="*/ 129874 h 128587"/>
                <a:gd name="connsiteX2" fmla="*/ 88725 w 128587"/>
                <a:gd name="connsiteY2" fmla="*/ 102441 h 128587"/>
                <a:gd name="connsiteX3" fmla="*/ 45006 w 128587"/>
                <a:gd name="connsiteY3" fmla="*/ 102441 h 128587"/>
                <a:gd name="connsiteX4" fmla="*/ 36433 w 128587"/>
                <a:gd name="connsiteY4" fmla="*/ 129874 h 128587"/>
                <a:gd name="connsiteX5" fmla="*/ 6429 w 128587"/>
                <a:gd name="connsiteY5" fmla="*/ 129874 h 128587"/>
                <a:gd name="connsiteX6" fmla="*/ 51864 w 128587"/>
                <a:gd name="connsiteY6" fmla="*/ 6429 h 128587"/>
                <a:gd name="connsiteX7" fmla="*/ 85296 w 128587"/>
                <a:gd name="connsiteY7" fmla="*/ 6429 h 128587"/>
                <a:gd name="connsiteX8" fmla="*/ 127302 w 128587"/>
                <a:gd name="connsiteY8" fmla="*/ 129874 h 128587"/>
                <a:gd name="connsiteX9" fmla="*/ 81010 w 128587"/>
                <a:gd name="connsiteY9" fmla="*/ 81010 h 128587"/>
                <a:gd name="connsiteX10" fmla="*/ 67294 w 128587"/>
                <a:gd name="connsiteY10" fmla="*/ 39005 h 128587"/>
                <a:gd name="connsiteX11" fmla="*/ 65580 w 128587"/>
                <a:gd name="connsiteY11" fmla="*/ 27861 h 128587"/>
                <a:gd name="connsiteX12" fmla="*/ 64722 w 128587"/>
                <a:gd name="connsiteY12" fmla="*/ 27861 h 128587"/>
                <a:gd name="connsiteX13" fmla="*/ 62151 w 128587"/>
                <a:gd name="connsiteY13" fmla="*/ 39005 h 128587"/>
                <a:gd name="connsiteX14" fmla="*/ 48435 w 128587"/>
                <a:gd name="connsiteY14" fmla="*/ 81010 h 128587"/>
                <a:gd name="connsiteX15" fmla="*/ 81010 w 128587"/>
                <a:gd name="connsiteY15" fmla="*/ 81010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587" h="128587">
                  <a:moveTo>
                    <a:pt x="127302" y="129874"/>
                  </a:moveTo>
                  <a:lnTo>
                    <a:pt x="97298" y="129874"/>
                  </a:lnTo>
                  <a:lnTo>
                    <a:pt x="88725" y="102441"/>
                  </a:lnTo>
                  <a:lnTo>
                    <a:pt x="45006" y="102441"/>
                  </a:lnTo>
                  <a:lnTo>
                    <a:pt x="36433" y="129874"/>
                  </a:lnTo>
                  <a:lnTo>
                    <a:pt x="6429" y="129874"/>
                  </a:lnTo>
                  <a:lnTo>
                    <a:pt x="51864" y="6429"/>
                  </a:lnTo>
                  <a:lnTo>
                    <a:pt x="85296" y="6429"/>
                  </a:lnTo>
                  <a:lnTo>
                    <a:pt x="127302" y="129874"/>
                  </a:lnTo>
                  <a:close/>
                  <a:moveTo>
                    <a:pt x="81010" y="81010"/>
                  </a:moveTo>
                  <a:lnTo>
                    <a:pt x="67294" y="39005"/>
                  </a:lnTo>
                  <a:cubicBezTo>
                    <a:pt x="66437" y="35576"/>
                    <a:pt x="65580" y="32147"/>
                    <a:pt x="65580" y="27861"/>
                  </a:cubicBezTo>
                  <a:lnTo>
                    <a:pt x="64722" y="27861"/>
                  </a:lnTo>
                  <a:cubicBezTo>
                    <a:pt x="64722" y="31290"/>
                    <a:pt x="63865" y="34719"/>
                    <a:pt x="62151" y="39005"/>
                  </a:cubicBezTo>
                  <a:lnTo>
                    <a:pt x="48435" y="81010"/>
                  </a:lnTo>
                  <a:lnTo>
                    <a:pt x="81010" y="81010"/>
                  </a:lnTo>
                  <a:close/>
                </a:path>
              </a:pathLst>
            </a:custGeom>
            <a:grpFill/>
            <a:ln w="9525" cap="flat">
              <a:noFill/>
              <a:prstDash val="solid"/>
              <a:miter/>
            </a:ln>
          </p:spPr>
          <p:txBody>
            <a:bodyPr rtlCol="0" anchor="ctr"/>
            <a:lstStyle/>
            <a:p>
              <a:endParaRPr lang="zh-CN" altLang="en-US"/>
            </a:p>
          </p:txBody>
        </p:sp>
        <p:sp>
          <p:nvSpPr>
            <p:cNvPr id="34" name="任意多边形: 形状 33">
              <a:extLst>
                <a:ext uri="{FF2B5EF4-FFF2-40B4-BE49-F238E27FC236}">
                  <a16:creationId xmlns:a16="http://schemas.microsoft.com/office/drawing/2014/main" id="{B779B4E4-4127-48D2-B924-993DE7666F9B}"/>
                </a:ext>
              </a:extLst>
            </p:cNvPr>
            <p:cNvSpPr/>
            <p:nvPr/>
          </p:nvSpPr>
          <p:spPr>
            <a:xfrm>
              <a:off x="8563084" y="5824620"/>
              <a:ext cx="107026" cy="123491"/>
            </a:xfrm>
            <a:custGeom>
              <a:avLst/>
              <a:gdLst>
                <a:gd name="connsiteX0" fmla="*/ 105013 w 111442"/>
                <a:gd name="connsiteY0" fmla="*/ 28718 h 128587"/>
                <a:gd name="connsiteX1" fmla="*/ 69866 w 111442"/>
                <a:gd name="connsiteY1" fmla="*/ 28718 h 128587"/>
                <a:gd name="connsiteX2" fmla="*/ 69866 w 111442"/>
                <a:gd name="connsiteY2" fmla="*/ 129874 h 128587"/>
                <a:gd name="connsiteX3" fmla="*/ 41577 w 111442"/>
                <a:gd name="connsiteY3" fmla="*/ 129874 h 128587"/>
                <a:gd name="connsiteX4" fmla="*/ 41577 w 111442"/>
                <a:gd name="connsiteY4" fmla="*/ 28718 h 128587"/>
                <a:gd name="connsiteX5" fmla="*/ 6429 w 111442"/>
                <a:gd name="connsiteY5" fmla="*/ 28718 h 128587"/>
                <a:gd name="connsiteX6" fmla="*/ 6429 w 111442"/>
                <a:gd name="connsiteY6" fmla="*/ 6429 h 128587"/>
                <a:gd name="connsiteX7" fmla="*/ 105013 w 111442"/>
                <a:gd name="connsiteY7" fmla="*/ 6429 h 128587"/>
                <a:gd name="connsiteX8" fmla="*/ 105013 w 111442"/>
                <a:gd name="connsiteY8" fmla="*/ 28718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442" h="128587">
                  <a:moveTo>
                    <a:pt x="105013" y="28718"/>
                  </a:moveTo>
                  <a:lnTo>
                    <a:pt x="69866" y="28718"/>
                  </a:lnTo>
                  <a:lnTo>
                    <a:pt x="69866" y="129874"/>
                  </a:lnTo>
                  <a:lnTo>
                    <a:pt x="41577" y="129874"/>
                  </a:lnTo>
                  <a:lnTo>
                    <a:pt x="41577" y="28718"/>
                  </a:lnTo>
                  <a:lnTo>
                    <a:pt x="6429" y="28718"/>
                  </a:lnTo>
                  <a:lnTo>
                    <a:pt x="6429" y="6429"/>
                  </a:lnTo>
                  <a:lnTo>
                    <a:pt x="105013" y="6429"/>
                  </a:lnTo>
                  <a:lnTo>
                    <a:pt x="105013" y="28718"/>
                  </a:lnTo>
                  <a:close/>
                </a:path>
              </a:pathLst>
            </a:custGeom>
            <a:grpFill/>
            <a:ln w="9525" cap="flat">
              <a:noFill/>
              <a:prstDash val="solid"/>
              <a:miter/>
            </a:ln>
          </p:spPr>
          <p:txBody>
            <a:bodyPr rtlCol="0" anchor="ctr"/>
            <a:lstStyle/>
            <a:p>
              <a:endParaRPr lang="zh-CN" altLang="en-US"/>
            </a:p>
          </p:txBody>
        </p:sp>
        <p:sp>
          <p:nvSpPr>
            <p:cNvPr id="35" name="任意多边形: 形状 34">
              <a:extLst>
                <a:ext uri="{FF2B5EF4-FFF2-40B4-BE49-F238E27FC236}">
                  <a16:creationId xmlns:a16="http://schemas.microsoft.com/office/drawing/2014/main" id="{7B5BAC55-BF97-4E61-8A06-C6C0BDFD7912}"/>
                </a:ext>
              </a:extLst>
            </p:cNvPr>
            <p:cNvSpPr/>
            <p:nvPr/>
          </p:nvSpPr>
          <p:spPr>
            <a:xfrm>
              <a:off x="8663524" y="5824620"/>
              <a:ext cx="57630" cy="123491"/>
            </a:xfrm>
            <a:custGeom>
              <a:avLst/>
              <a:gdLst>
                <a:gd name="connsiteX0" fmla="*/ 55293 w 60007"/>
                <a:gd name="connsiteY0" fmla="*/ 6429 h 128587"/>
                <a:gd name="connsiteX1" fmla="*/ 55293 w 60007"/>
                <a:gd name="connsiteY1" fmla="*/ 27861 h 128587"/>
                <a:gd name="connsiteX2" fmla="*/ 45006 w 60007"/>
                <a:gd name="connsiteY2" fmla="*/ 27861 h 128587"/>
                <a:gd name="connsiteX3" fmla="*/ 45006 w 60007"/>
                <a:gd name="connsiteY3" fmla="*/ 108442 h 128587"/>
                <a:gd name="connsiteX4" fmla="*/ 55293 w 60007"/>
                <a:gd name="connsiteY4" fmla="*/ 108442 h 128587"/>
                <a:gd name="connsiteX5" fmla="*/ 55293 w 60007"/>
                <a:gd name="connsiteY5" fmla="*/ 129874 h 128587"/>
                <a:gd name="connsiteX6" fmla="*/ 6429 w 60007"/>
                <a:gd name="connsiteY6" fmla="*/ 129874 h 128587"/>
                <a:gd name="connsiteX7" fmla="*/ 6429 w 60007"/>
                <a:gd name="connsiteY7" fmla="*/ 108442 h 128587"/>
                <a:gd name="connsiteX8" fmla="*/ 16716 w 60007"/>
                <a:gd name="connsiteY8" fmla="*/ 108442 h 128587"/>
                <a:gd name="connsiteX9" fmla="*/ 16716 w 60007"/>
                <a:gd name="connsiteY9" fmla="*/ 27861 h 128587"/>
                <a:gd name="connsiteX10" fmla="*/ 6429 w 60007"/>
                <a:gd name="connsiteY10" fmla="*/ 27861 h 128587"/>
                <a:gd name="connsiteX11" fmla="*/ 6429 w 60007"/>
                <a:gd name="connsiteY11" fmla="*/ 6429 h 128587"/>
                <a:gd name="connsiteX12" fmla="*/ 55293 w 60007"/>
                <a:gd name="connsiteY12" fmla="*/ 6429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007" h="128587">
                  <a:moveTo>
                    <a:pt x="55293" y="6429"/>
                  </a:moveTo>
                  <a:lnTo>
                    <a:pt x="55293" y="27861"/>
                  </a:lnTo>
                  <a:lnTo>
                    <a:pt x="45006" y="27861"/>
                  </a:lnTo>
                  <a:lnTo>
                    <a:pt x="45006" y="108442"/>
                  </a:lnTo>
                  <a:lnTo>
                    <a:pt x="55293" y="108442"/>
                  </a:lnTo>
                  <a:lnTo>
                    <a:pt x="55293" y="129874"/>
                  </a:lnTo>
                  <a:lnTo>
                    <a:pt x="6429" y="129874"/>
                  </a:lnTo>
                  <a:lnTo>
                    <a:pt x="6429" y="108442"/>
                  </a:lnTo>
                  <a:lnTo>
                    <a:pt x="16716" y="108442"/>
                  </a:lnTo>
                  <a:lnTo>
                    <a:pt x="16716" y="27861"/>
                  </a:lnTo>
                  <a:lnTo>
                    <a:pt x="6429" y="27861"/>
                  </a:lnTo>
                  <a:lnTo>
                    <a:pt x="6429" y="6429"/>
                  </a:lnTo>
                  <a:lnTo>
                    <a:pt x="55293" y="6429"/>
                  </a:lnTo>
                  <a:close/>
                </a:path>
              </a:pathLst>
            </a:custGeom>
            <a:grpFill/>
            <a:ln w="9525" cap="flat">
              <a:noFill/>
              <a:prstDash val="solid"/>
              <a:miter/>
            </a:ln>
          </p:spPr>
          <p:txBody>
            <a:bodyPr rtlCol="0" anchor="ctr"/>
            <a:lstStyle/>
            <a:p>
              <a:endParaRPr lang="zh-CN" altLang="en-US"/>
            </a:p>
          </p:txBody>
        </p:sp>
        <p:sp>
          <p:nvSpPr>
            <p:cNvPr id="36" name="任意多边形: 形状 35">
              <a:extLst>
                <a:ext uri="{FF2B5EF4-FFF2-40B4-BE49-F238E27FC236}">
                  <a16:creationId xmlns:a16="http://schemas.microsoft.com/office/drawing/2014/main" id="{24B840C3-4FF0-4F2F-94B9-7ECE149A37C7}"/>
                </a:ext>
              </a:extLst>
            </p:cNvPr>
            <p:cNvSpPr/>
            <p:nvPr/>
          </p:nvSpPr>
          <p:spPr>
            <a:xfrm>
              <a:off x="8719507" y="5822973"/>
              <a:ext cx="123492" cy="131724"/>
            </a:xfrm>
            <a:custGeom>
              <a:avLst/>
              <a:gdLst>
                <a:gd name="connsiteX0" fmla="*/ 67294 w 128587"/>
                <a:gd name="connsiteY0" fmla="*/ 134160 h 137160"/>
                <a:gd name="connsiteX1" fmla="*/ 23574 w 128587"/>
                <a:gd name="connsiteY1" fmla="*/ 117015 h 137160"/>
                <a:gd name="connsiteX2" fmla="*/ 6429 w 128587"/>
                <a:gd name="connsiteY2" fmla="*/ 71580 h 137160"/>
                <a:gd name="connsiteX3" fmla="*/ 23574 w 128587"/>
                <a:gd name="connsiteY3" fmla="*/ 24432 h 137160"/>
                <a:gd name="connsiteX4" fmla="*/ 69009 w 128587"/>
                <a:gd name="connsiteY4" fmla="*/ 6429 h 137160"/>
                <a:gd name="connsiteX5" fmla="*/ 111871 w 128587"/>
                <a:gd name="connsiteY5" fmla="*/ 23574 h 137160"/>
                <a:gd name="connsiteX6" fmla="*/ 128159 w 128587"/>
                <a:gd name="connsiteY6" fmla="*/ 69009 h 137160"/>
                <a:gd name="connsiteX7" fmla="*/ 111014 w 128587"/>
                <a:gd name="connsiteY7" fmla="*/ 116157 h 137160"/>
                <a:gd name="connsiteX8" fmla="*/ 67294 w 128587"/>
                <a:gd name="connsiteY8" fmla="*/ 134160 h 137160"/>
                <a:gd name="connsiteX9" fmla="*/ 68151 w 128587"/>
                <a:gd name="connsiteY9" fmla="*/ 29575 h 137160"/>
                <a:gd name="connsiteX10" fmla="*/ 45006 w 128587"/>
                <a:gd name="connsiteY10" fmla="*/ 40719 h 137160"/>
                <a:gd name="connsiteX11" fmla="*/ 36433 w 128587"/>
                <a:gd name="connsiteY11" fmla="*/ 69866 h 137160"/>
                <a:gd name="connsiteX12" fmla="*/ 45006 w 128587"/>
                <a:gd name="connsiteY12" fmla="*/ 99012 h 137160"/>
                <a:gd name="connsiteX13" fmla="*/ 67294 w 128587"/>
                <a:gd name="connsiteY13" fmla="*/ 109299 h 137160"/>
                <a:gd name="connsiteX14" fmla="*/ 90440 w 128587"/>
                <a:gd name="connsiteY14" fmla="*/ 99012 h 137160"/>
                <a:gd name="connsiteX15" fmla="*/ 99012 w 128587"/>
                <a:gd name="connsiteY15" fmla="*/ 69866 h 137160"/>
                <a:gd name="connsiteX16" fmla="*/ 90440 w 128587"/>
                <a:gd name="connsiteY16" fmla="*/ 39862 h 137160"/>
                <a:gd name="connsiteX17" fmla="*/ 68151 w 128587"/>
                <a:gd name="connsiteY17" fmla="*/ 29575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587" h="137160">
                  <a:moveTo>
                    <a:pt x="67294" y="134160"/>
                  </a:moveTo>
                  <a:cubicBezTo>
                    <a:pt x="49292" y="134160"/>
                    <a:pt x="34719" y="128159"/>
                    <a:pt x="23574" y="117015"/>
                  </a:cubicBezTo>
                  <a:cubicBezTo>
                    <a:pt x="12430" y="105870"/>
                    <a:pt x="6429" y="90440"/>
                    <a:pt x="6429" y="71580"/>
                  </a:cubicBezTo>
                  <a:cubicBezTo>
                    <a:pt x="6429" y="51864"/>
                    <a:pt x="12430" y="36433"/>
                    <a:pt x="23574" y="24432"/>
                  </a:cubicBezTo>
                  <a:cubicBezTo>
                    <a:pt x="34719" y="12430"/>
                    <a:pt x="50149" y="6429"/>
                    <a:pt x="69009" y="6429"/>
                  </a:cubicBezTo>
                  <a:cubicBezTo>
                    <a:pt x="87011" y="6429"/>
                    <a:pt x="100727" y="12430"/>
                    <a:pt x="111871" y="23574"/>
                  </a:cubicBezTo>
                  <a:cubicBezTo>
                    <a:pt x="123015" y="34719"/>
                    <a:pt x="128159" y="50149"/>
                    <a:pt x="128159" y="69009"/>
                  </a:cubicBezTo>
                  <a:cubicBezTo>
                    <a:pt x="128159" y="88725"/>
                    <a:pt x="122158" y="104156"/>
                    <a:pt x="111014" y="116157"/>
                  </a:cubicBezTo>
                  <a:cubicBezTo>
                    <a:pt x="99870" y="128159"/>
                    <a:pt x="85296" y="134160"/>
                    <a:pt x="67294" y="134160"/>
                  </a:cubicBezTo>
                  <a:close/>
                  <a:moveTo>
                    <a:pt x="68151" y="29575"/>
                  </a:moveTo>
                  <a:cubicBezTo>
                    <a:pt x="58722" y="29575"/>
                    <a:pt x="51006" y="33004"/>
                    <a:pt x="45006" y="40719"/>
                  </a:cubicBezTo>
                  <a:cubicBezTo>
                    <a:pt x="39005" y="48435"/>
                    <a:pt x="36433" y="57864"/>
                    <a:pt x="36433" y="69866"/>
                  </a:cubicBezTo>
                  <a:cubicBezTo>
                    <a:pt x="36433" y="81867"/>
                    <a:pt x="39005" y="92154"/>
                    <a:pt x="45006" y="99012"/>
                  </a:cubicBezTo>
                  <a:cubicBezTo>
                    <a:pt x="51006" y="105870"/>
                    <a:pt x="58722" y="109299"/>
                    <a:pt x="67294" y="109299"/>
                  </a:cubicBezTo>
                  <a:cubicBezTo>
                    <a:pt x="76724" y="109299"/>
                    <a:pt x="84439" y="105870"/>
                    <a:pt x="90440" y="99012"/>
                  </a:cubicBezTo>
                  <a:cubicBezTo>
                    <a:pt x="96441" y="92154"/>
                    <a:pt x="99012" y="82725"/>
                    <a:pt x="99012" y="69866"/>
                  </a:cubicBezTo>
                  <a:cubicBezTo>
                    <a:pt x="99012" y="57007"/>
                    <a:pt x="96441" y="46720"/>
                    <a:pt x="90440" y="39862"/>
                  </a:cubicBezTo>
                  <a:cubicBezTo>
                    <a:pt x="85296" y="33004"/>
                    <a:pt x="77581" y="29575"/>
                    <a:pt x="68151" y="29575"/>
                  </a:cubicBezTo>
                  <a:close/>
                </a:path>
              </a:pathLst>
            </a:custGeom>
            <a:grpFill/>
            <a:ln w="9525" cap="flat">
              <a:noFill/>
              <a:prstDash val="solid"/>
              <a:miter/>
            </a:ln>
          </p:spPr>
          <p:txBody>
            <a:bodyPr rtlCol="0" anchor="ctr"/>
            <a:lstStyle/>
            <a:p>
              <a:endParaRPr lang="zh-CN" altLang="en-US"/>
            </a:p>
          </p:txBody>
        </p:sp>
        <p:sp>
          <p:nvSpPr>
            <p:cNvPr id="37" name="任意多边形: 形状 36">
              <a:extLst>
                <a:ext uri="{FF2B5EF4-FFF2-40B4-BE49-F238E27FC236}">
                  <a16:creationId xmlns:a16="http://schemas.microsoft.com/office/drawing/2014/main" id="{1CDC1BB2-D748-4B72-99E0-4A7EC3C1C2EA}"/>
                </a:ext>
              </a:extLst>
            </p:cNvPr>
            <p:cNvSpPr/>
            <p:nvPr/>
          </p:nvSpPr>
          <p:spPr>
            <a:xfrm>
              <a:off x="8856170" y="5823796"/>
              <a:ext cx="115258" cy="131724"/>
            </a:xfrm>
            <a:custGeom>
              <a:avLst/>
              <a:gdLst>
                <a:gd name="connsiteX0" fmla="*/ 117872 w 120015"/>
                <a:gd name="connsiteY0" fmla="*/ 130731 h 137160"/>
                <a:gd name="connsiteX1" fmla="*/ 89583 w 120015"/>
                <a:gd name="connsiteY1" fmla="*/ 130731 h 137160"/>
                <a:gd name="connsiteX2" fmla="*/ 38148 w 120015"/>
                <a:gd name="connsiteY2" fmla="*/ 52721 h 137160"/>
                <a:gd name="connsiteX3" fmla="*/ 32147 w 120015"/>
                <a:gd name="connsiteY3" fmla="*/ 42434 h 137160"/>
                <a:gd name="connsiteX4" fmla="*/ 32147 w 120015"/>
                <a:gd name="connsiteY4" fmla="*/ 42434 h 137160"/>
                <a:gd name="connsiteX5" fmla="*/ 33004 w 120015"/>
                <a:gd name="connsiteY5" fmla="*/ 62151 h 137160"/>
                <a:gd name="connsiteX6" fmla="*/ 33004 w 120015"/>
                <a:gd name="connsiteY6" fmla="*/ 129873 h 137160"/>
                <a:gd name="connsiteX7" fmla="*/ 6429 w 120015"/>
                <a:gd name="connsiteY7" fmla="*/ 129873 h 137160"/>
                <a:gd name="connsiteX8" fmla="*/ 6429 w 120015"/>
                <a:gd name="connsiteY8" fmla="*/ 6429 h 137160"/>
                <a:gd name="connsiteX9" fmla="*/ 36433 w 120015"/>
                <a:gd name="connsiteY9" fmla="*/ 6429 h 137160"/>
                <a:gd name="connsiteX10" fmla="*/ 85296 w 120015"/>
                <a:gd name="connsiteY10" fmla="*/ 81867 h 137160"/>
                <a:gd name="connsiteX11" fmla="*/ 91297 w 120015"/>
                <a:gd name="connsiteY11" fmla="*/ 92154 h 137160"/>
                <a:gd name="connsiteX12" fmla="*/ 91297 w 120015"/>
                <a:gd name="connsiteY12" fmla="*/ 92154 h 137160"/>
                <a:gd name="connsiteX13" fmla="*/ 90440 w 120015"/>
                <a:gd name="connsiteY13" fmla="*/ 75009 h 137160"/>
                <a:gd name="connsiteX14" fmla="*/ 90440 w 120015"/>
                <a:gd name="connsiteY14" fmla="*/ 6429 h 137160"/>
                <a:gd name="connsiteX15" fmla="*/ 117015 w 120015"/>
                <a:gd name="connsiteY15" fmla="*/ 6429 h 137160"/>
                <a:gd name="connsiteX16" fmla="*/ 117015 w 120015"/>
                <a:gd name="connsiteY16" fmla="*/ 130731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015" h="137160">
                  <a:moveTo>
                    <a:pt x="117872" y="130731"/>
                  </a:moveTo>
                  <a:lnTo>
                    <a:pt x="89583" y="130731"/>
                  </a:lnTo>
                  <a:lnTo>
                    <a:pt x="38148" y="52721"/>
                  </a:lnTo>
                  <a:cubicBezTo>
                    <a:pt x="35576" y="48435"/>
                    <a:pt x="33004" y="45006"/>
                    <a:pt x="32147" y="42434"/>
                  </a:cubicBezTo>
                  <a:lnTo>
                    <a:pt x="32147" y="42434"/>
                  </a:lnTo>
                  <a:cubicBezTo>
                    <a:pt x="33004" y="46720"/>
                    <a:pt x="33004" y="53578"/>
                    <a:pt x="33004" y="62151"/>
                  </a:cubicBezTo>
                  <a:lnTo>
                    <a:pt x="33004" y="129873"/>
                  </a:lnTo>
                  <a:lnTo>
                    <a:pt x="6429" y="129873"/>
                  </a:lnTo>
                  <a:lnTo>
                    <a:pt x="6429" y="6429"/>
                  </a:lnTo>
                  <a:lnTo>
                    <a:pt x="36433" y="6429"/>
                  </a:lnTo>
                  <a:lnTo>
                    <a:pt x="85296" y="81867"/>
                  </a:lnTo>
                  <a:cubicBezTo>
                    <a:pt x="87868" y="85296"/>
                    <a:pt x="89583" y="88725"/>
                    <a:pt x="91297" y="92154"/>
                  </a:cubicBezTo>
                  <a:lnTo>
                    <a:pt x="91297" y="92154"/>
                  </a:lnTo>
                  <a:cubicBezTo>
                    <a:pt x="90440" y="89582"/>
                    <a:pt x="90440" y="83582"/>
                    <a:pt x="90440" y="75009"/>
                  </a:cubicBezTo>
                  <a:lnTo>
                    <a:pt x="90440" y="6429"/>
                  </a:lnTo>
                  <a:lnTo>
                    <a:pt x="117015" y="6429"/>
                  </a:lnTo>
                  <a:lnTo>
                    <a:pt x="117015" y="130731"/>
                  </a:lnTo>
                  <a:close/>
                </a:path>
              </a:pathLst>
            </a:custGeom>
            <a:grpFill/>
            <a:ln w="9525" cap="flat">
              <a:noFill/>
              <a:prstDash val="solid"/>
              <a:miter/>
            </a:ln>
          </p:spPr>
          <p:txBody>
            <a:bodyPr rtlCol="0" anchor="ctr"/>
            <a:lstStyle/>
            <a:p>
              <a:endParaRPr lang="zh-CN" altLang="en-US"/>
            </a:p>
          </p:txBody>
        </p:sp>
        <p:sp>
          <p:nvSpPr>
            <p:cNvPr id="38" name="任意多边形: 形状 37">
              <a:extLst>
                <a:ext uri="{FF2B5EF4-FFF2-40B4-BE49-F238E27FC236}">
                  <a16:creationId xmlns:a16="http://schemas.microsoft.com/office/drawing/2014/main" id="{8C2592E3-C0D7-4F90-AC14-3C72E9865BC8}"/>
                </a:ext>
              </a:extLst>
            </p:cNvPr>
            <p:cNvSpPr/>
            <p:nvPr/>
          </p:nvSpPr>
          <p:spPr>
            <a:xfrm>
              <a:off x="8361383" y="5979395"/>
              <a:ext cx="16465" cy="82327"/>
            </a:xfrm>
            <a:custGeom>
              <a:avLst/>
              <a:gdLst>
                <a:gd name="connsiteX0" fmla="*/ 11573 w 17145"/>
                <a:gd name="connsiteY0" fmla="*/ 16716 h 85725"/>
                <a:gd name="connsiteX1" fmla="*/ 8144 w 17145"/>
                <a:gd name="connsiteY1" fmla="*/ 15002 h 85725"/>
                <a:gd name="connsiteX2" fmla="*/ 6429 w 17145"/>
                <a:gd name="connsiteY2" fmla="*/ 11573 h 85725"/>
                <a:gd name="connsiteX3" fmla="*/ 8144 w 17145"/>
                <a:gd name="connsiteY3" fmla="*/ 8144 h 85725"/>
                <a:gd name="connsiteX4" fmla="*/ 11573 w 17145"/>
                <a:gd name="connsiteY4" fmla="*/ 6429 h 85725"/>
                <a:gd name="connsiteX5" fmla="*/ 15002 w 17145"/>
                <a:gd name="connsiteY5" fmla="*/ 8144 h 85725"/>
                <a:gd name="connsiteX6" fmla="*/ 16716 w 17145"/>
                <a:gd name="connsiteY6" fmla="*/ 11573 h 85725"/>
                <a:gd name="connsiteX7" fmla="*/ 15002 w 17145"/>
                <a:gd name="connsiteY7" fmla="*/ 15002 h 85725"/>
                <a:gd name="connsiteX8" fmla="*/ 11573 w 17145"/>
                <a:gd name="connsiteY8" fmla="*/ 16716 h 85725"/>
                <a:gd name="connsiteX9" fmla="*/ 15859 w 17145"/>
                <a:gd name="connsiteY9" fmla="*/ 80153 h 85725"/>
                <a:gd name="connsiteX10" fmla="*/ 8144 w 17145"/>
                <a:gd name="connsiteY10" fmla="*/ 80153 h 85725"/>
                <a:gd name="connsiteX11" fmla="*/ 8144 w 17145"/>
                <a:gd name="connsiteY11" fmla="*/ 29575 h 85725"/>
                <a:gd name="connsiteX12" fmla="*/ 15859 w 17145"/>
                <a:gd name="connsiteY12" fmla="*/ 29575 h 85725"/>
                <a:gd name="connsiteX13" fmla="*/ 15859 w 17145"/>
                <a:gd name="connsiteY13" fmla="*/ 8015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45" h="85725">
                  <a:moveTo>
                    <a:pt x="11573" y="16716"/>
                  </a:moveTo>
                  <a:cubicBezTo>
                    <a:pt x="9858" y="16716"/>
                    <a:pt x="9001" y="15859"/>
                    <a:pt x="8144" y="15002"/>
                  </a:cubicBezTo>
                  <a:cubicBezTo>
                    <a:pt x="7287" y="14145"/>
                    <a:pt x="6429" y="12430"/>
                    <a:pt x="6429" y="11573"/>
                  </a:cubicBezTo>
                  <a:cubicBezTo>
                    <a:pt x="6429" y="9858"/>
                    <a:pt x="7287" y="9001"/>
                    <a:pt x="8144" y="8144"/>
                  </a:cubicBezTo>
                  <a:cubicBezTo>
                    <a:pt x="9001" y="7287"/>
                    <a:pt x="10716" y="6429"/>
                    <a:pt x="11573" y="6429"/>
                  </a:cubicBezTo>
                  <a:cubicBezTo>
                    <a:pt x="13287" y="6429"/>
                    <a:pt x="14145" y="7287"/>
                    <a:pt x="15002" y="8144"/>
                  </a:cubicBezTo>
                  <a:cubicBezTo>
                    <a:pt x="15859" y="9001"/>
                    <a:pt x="16716" y="10716"/>
                    <a:pt x="16716" y="11573"/>
                  </a:cubicBezTo>
                  <a:cubicBezTo>
                    <a:pt x="16716" y="13287"/>
                    <a:pt x="15859" y="14145"/>
                    <a:pt x="15002" y="15002"/>
                  </a:cubicBezTo>
                  <a:cubicBezTo>
                    <a:pt x="15002" y="16716"/>
                    <a:pt x="13287" y="16716"/>
                    <a:pt x="11573" y="16716"/>
                  </a:cubicBezTo>
                  <a:close/>
                  <a:moveTo>
                    <a:pt x="15859" y="80153"/>
                  </a:moveTo>
                  <a:lnTo>
                    <a:pt x="8144" y="80153"/>
                  </a:lnTo>
                  <a:lnTo>
                    <a:pt x="8144" y="29575"/>
                  </a:lnTo>
                  <a:lnTo>
                    <a:pt x="15859" y="29575"/>
                  </a:lnTo>
                  <a:lnTo>
                    <a:pt x="15859" y="80153"/>
                  </a:lnTo>
                  <a:close/>
                </a:path>
              </a:pathLst>
            </a:custGeom>
            <a:grpFill/>
            <a:ln w="9525" cap="flat">
              <a:noFill/>
              <a:prstDash val="solid"/>
              <a:miter/>
            </a:ln>
          </p:spPr>
          <p:txBody>
            <a:bodyPr rtlCol="0" anchor="ctr"/>
            <a:lstStyle/>
            <a:p>
              <a:endParaRPr lang="zh-CN" altLang="en-US"/>
            </a:p>
          </p:txBody>
        </p:sp>
        <p:sp>
          <p:nvSpPr>
            <p:cNvPr id="39" name="任意多边形: 形状 38">
              <a:extLst>
                <a:ext uri="{FF2B5EF4-FFF2-40B4-BE49-F238E27FC236}">
                  <a16:creationId xmlns:a16="http://schemas.microsoft.com/office/drawing/2014/main" id="{FE9B3899-32AA-4C28-93F6-50EED5B13971}"/>
                </a:ext>
              </a:extLst>
            </p:cNvPr>
            <p:cNvSpPr/>
            <p:nvPr/>
          </p:nvSpPr>
          <p:spPr>
            <a:xfrm>
              <a:off x="8386904" y="5982688"/>
              <a:ext cx="65862" cy="74095"/>
            </a:xfrm>
            <a:custGeom>
              <a:avLst/>
              <a:gdLst>
                <a:gd name="connsiteX0" fmla="*/ 63865 w 68580"/>
                <a:gd name="connsiteY0" fmla="*/ 76724 h 77152"/>
                <a:gd name="connsiteX1" fmla="*/ 53578 w 68580"/>
                <a:gd name="connsiteY1" fmla="*/ 76724 h 77152"/>
                <a:gd name="connsiteX2" fmla="*/ 17574 w 68580"/>
                <a:gd name="connsiteY2" fmla="*/ 20145 h 77152"/>
                <a:gd name="connsiteX3" fmla="*/ 15002 w 68580"/>
                <a:gd name="connsiteY3" fmla="*/ 15859 h 77152"/>
                <a:gd name="connsiteX4" fmla="*/ 15002 w 68580"/>
                <a:gd name="connsiteY4" fmla="*/ 15859 h 77152"/>
                <a:gd name="connsiteX5" fmla="*/ 15002 w 68580"/>
                <a:gd name="connsiteY5" fmla="*/ 25289 h 77152"/>
                <a:gd name="connsiteX6" fmla="*/ 15002 w 68580"/>
                <a:gd name="connsiteY6" fmla="*/ 76724 h 77152"/>
                <a:gd name="connsiteX7" fmla="*/ 6429 w 68580"/>
                <a:gd name="connsiteY7" fmla="*/ 76724 h 77152"/>
                <a:gd name="connsiteX8" fmla="*/ 6429 w 68580"/>
                <a:gd name="connsiteY8" fmla="*/ 6429 h 77152"/>
                <a:gd name="connsiteX9" fmla="*/ 17574 w 68580"/>
                <a:gd name="connsiteY9" fmla="*/ 6429 h 77152"/>
                <a:gd name="connsiteX10" fmla="*/ 52721 w 68580"/>
                <a:gd name="connsiteY10" fmla="*/ 62151 h 77152"/>
                <a:gd name="connsiteX11" fmla="*/ 55293 w 68580"/>
                <a:gd name="connsiteY11" fmla="*/ 67294 h 77152"/>
                <a:gd name="connsiteX12" fmla="*/ 55293 w 68580"/>
                <a:gd name="connsiteY12" fmla="*/ 67294 h 77152"/>
                <a:gd name="connsiteX13" fmla="*/ 54435 w 68580"/>
                <a:gd name="connsiteY13" fmla="*/ 57007 h 77152"/>
                <a:gd name="connsiteX14" fmla="*/ 54435 w 68580"/>
                <a:gd name="connsiteY14" fmla="*/ 6429 h 77152"/>
                <a:gd name="connsiteX15" fmla="*/ 63008 w 68580"/>
                <a:gd name="connsiteY15" fmla="*/ 6429 h 77152"/>
                <a:gd name="connsiteX16" fmla="*/ 63008 w 68580"/>
                <a:gd name="connsiteY16" fmla="*/ 76724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580" h="77152">
                  <a:moveTo>
                    <a:pt x="63865" y="76724"/>
                  </a:moveTo>
                  <a:lnTo>
                    <a:pt x="53578" y="76724"/>
                  </a:lnTo>
                  <a:lnTo>
                    <a:pt x="17574" y="20145"/>
                  </a:lnTo>
                  <a:cubicBezTo>
                    <a:pt x="16716" y="18431"/>
                    <a:pt x="15859" y="17574"/>
                    <a:pt x="15002" y="15859"/>
                  </a:cubicBezTo>
                  <a:lnTo>
                    <a:pt x="15002" y="15859"/>
                  </a:lnTo>
                  <a:cubicBezTo>
                    <a:pt x="15002" y="17574"/>
                    <a:pt x="15002" y="21003"/>
                    <a:pt x="15002" y="25289"/>
                  </a:cubicBezTo>
                  <a:lnTo>
                    <a:pt x="15002" y="76724"/>
                  </a:lnTo>
                  <a:lnTo>
                    <a:pt x="6429" y="76724"/>
                  </a:lnTo>
                  <a:lnTo>
                    <a:pt x="6429" y="6429"/>
                  </a:lnTo>
                  <a:lnTo>
                    <a:pt x="17574" y="6429"/>
                  </a:lnTo>
                  <a:lnTo>
                    <a:pt x="52721" y="62151"/>
                  </a:lnTo>
                  <a:cubicBezTo>
                    <a:pt x="54435" y="64722"/>
                    <a:pt x="55293" y="66437"/>
                    <a:pt x="55293" y="67294"/>
                  </a:cubicBezTo>
                  <a:lnTo>
                    <a:pt x="55293" y="67294"/>
                  </a:lnTo>
                  <a:cubicBezTo>
                    <a:pt x="55293" y="65580"/>
                    <a:pt x="54435" y="62151"/>
                    <a:pt x="54435" y="57007"/>
                  </a:cubicBezTo>
                  <a:lnTo>
                    <a:pt x="54435" y="6429"/>
                  </a:lnTo>
                  <a:lnTo>
                    <a:pt x="63008" y="6429"/>
                  </a:lnTo>
                  <a:lnTo>
                    <a:pt x="63008" y="76724"/>
                  </a:lnTo>
                  <a:close/>
                </a:path>
              </a:pathLst>
            </a:custGeom>
            <a:grpFill/>
            <a:ln w="9525" cap="flat">
              <a:noFill/>
              <a:prstDash val="solid"/>
              <a:miter/>
            </a:ln>
          </p:spPr>
          <p:txBody>
            <a:bodyPr rtlCol="0" anchor="ctr"/>
            <a:lstStyle/>
            <a:p>
              <a:endParaRPr lang="zh-CN" altLang="en-US"/>
            </a:p>
          </p:txBody>
        </p:sp>
        <p:sp>
          <p:nvSpPr>
            <p:cNvPr id="40" name="任意多边形: 形状 39">
              <a:extLst>
                <a:ext uri="{FF2B5EF4-FFF2-40B4-BE49-F238E27FC236}">
                  <a16:creationId xmlns:a16="http://schemas.microsoft.com/office/drawing/2014/main" id="{AA755392-DD26-4698-B71E-217A1BD28968}"/>
                </a:ext>
              </a:extLst>
            </p:cNvPr>
            <p:cNvSpPr/>
            <p:nvPr/>
          </p:nvSpPr>
          <p:spPr>
            <a:xfrm>
              <a:off x="8459352" y="5982688"/>
              <a:ext cx="41164" cy="74095"/>
            </a:xfrm>
            <a:custGeom>
              <a:avLst/>
              <a:gdLst>
                <a:gd name="connsiteX0" fmla="*/ 42434 w 42862"/>
                <a:gd name="connsiteY0" fmla="*/ 13287 h 77152"/>
                <a:gd name="connsiteX1" fmla="*/ 15002 w 42862"/>
                <a:gd name="connsiteY1" fmla="*/ 13287 h 77152"/>
                <a:gd name="connsiteX2" fmla="*/ 15002 w 42862"/>
                <a:gd name="connsiteY2" fmla="*/ 38148 h 77152"/>
                <a:gd name="connsiteX3" fmla="*/ 40719 w 42862"/>
                <a:gd name="connsiteY3" fmla="*/ 38148 h 77152"/>
                <a:gd name="connsiteX4" fmla="*/ 40719 w 42862"/>
                <a:gd name="connsiteY4" fmla="*/ 45863 h 77152"/>
                <a:gd name="connsiteX5" fmla="*/ 15002 w 42862"/>
                <a:gd name="connsiteY5" fmla="*/ 45863 h 77152"/>
                <a:gd name="connsiteX6" fmla="*/ 15002 w 42862"/>
                <a:gd name="connsiteY6" fmla="*/ 77581 h 77152"/>
                <a:gd name="connsiteX7" fmla="*/ 6429 w 42862"/>
                <a:gd name="connsiteY7" fmla="*/ 77581 h 77152"/>
                <a:gd name="connsiteX8" fmla="*/ 6429 w 42862"/>
                <a:gd name="connsiteY8" fmla="*/ 6429 h 77152"/>
                <a:gd name="connsiteX9" fmla="*/ 42434 w 42862"/>
                <a:gd name="connsiteY9" fmla="*/ 6429 h 77152"/>
                <a:gd name="connsiteX10" fmla="*/ 42434 w 42862"/>
                <a:gd name="connsiteY10" fmla="*/ 13287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862" h="77152">
                  <a:moveTo>
                    <a:pt x="42434" y="13287"/>
                  </a:moveTo>
                  <a:lnTo>
                    <a:pt x="15002" y="13287"/>
                  </a:lnTo>
                  <a:lnTo>
                    <a:pt x="15002" y="38148"/>
                  </a:lnTo>
                  <a:lnTo>
                    <a:pt x="40719" y="38148"/>
                  </a:lnTo>
                  <a:lnTo>
                    <a:pt x="40719" y="45863"/>
                  </a:lnTo>
                  <a:lnTo>
                    <a:pt x="15002" y="45863"/>
                  </a:lnTo>
                  <a:lnTo>
                    <a:pt x="15002" y="77581"/>
                  </a:lnTo>
                  <a:lnTo>
                    <a:pt x="6429" y="77581"/>
                  </a:lnTo>
                  <a:lnTo>
                    <a:pt x="6429" y="6429"/>
                  </a:lnTo>
                  <a:lnTo>
                    <a:pt x="42434" y="6429"/>
                  </a:lnTo>
                  <a:lnTo>
                    <a:pt x="42434" y="13287"/>
                  </a:lnTo>
                  <a:close/>
                </a:path>
              </a:pathLst>
            </a:custGeom>
            <a:grpFill/>
            <a:ln w="9525" cap="flat">
              <a:noFill/>
              <a:prstDash val="solid"/>
              <a:miter/>
            </a:ln>
          </p:spPr>
          <p:txBody>
            <a:bodyPr rtlCol="0" anchor="ctr"/>
            <a:lstStyle/>
            <a:p>
              <a:endParaRPr lang="zh-CN" altLang="en-US"/>
            </a:p>
          </p:txBody>
        </p:sp>
        <p:sp>
          <p:nvSpPr>
            <p:cNvPr id="41" name="任意多边形: 形状 40">
              <a:extLst>
                <a:ext uri="{FF2B5EF4-FFF2-40B4-BE49-F238E27FC236}">
                  <a16:creationId xmlns:a16="http://schemas.microsoft.com/office/drawing/2014/main" id="{E8C91FDD-F9A6-4B0D-8C1C-05D2D1605968}"/>
                </a:ext>
              </a:extLst>
            </p:cNvPr>
            <p:cNvSpPr/>
            <p:nvPr/>
          </p:nvSpPr>
          <p:spPr>
            <a:xfrm>
              <a:off x="8502163" y="5980218"/>
              <a:ext cx="74095" cy="82327"/>
            </a:xfrm>
            <a:custGeom>
              <a:avLst/>
              <a:gdLst>
                <a:gd name="connsiteX0" fmla="*/ 39862 w 77152"/>
                <a:gd name="connsiteY0" fmla="*/ 80153 h 85725"/>
                <a:gd name="connsiteX1" fmla="*/ 15859 w 77152"/>
                <a:gd name="connsiteY1" fmla="*/ 69866 h 85725"/>
                <a:gd name="connsiteX2" fmla="*/ 6429 w 77152"/>
                <a:gd name="connsiteY2" fmla="*/ 44148 h 85725"/>
                <a:gd name="connsiteX3" fmla="*/ 15859 w 77152"/>
                <a:gd name="connsiteY3" fmla="*/ 16716 h 85725"/>
                <a:gd name="connsiteX4" fmla="*/ 40719 w 77152"/>
                <a:gd name="connsiteY4" fmla="*/ 6429 h 85725"/>
                <a:gd name="connsiteX5" fmla="*/ 64722 w 77152"/>
                <a:gd name="connsiteY5" fmla="*/ 16716 h 85725"/>
                <a:gd name="connsiteX6" fmla="*/ 73295 w 77152"/>
                <a:gd name="connsiteY6" fmla="*/ 42434 h 85725"/>
                <a:gd name="connsiteX7" fmla="*/ 63865 w 77152"/>
                <a:gd name="connsiteY7" fmla="*/ 69866 h 85725"/>
                <a:gd name="connsiteX8" fmla="*/ 39862 w 77152"/>
                <a:gd name="connsiteY8" fmla="*/ 80153 h 85725"/>
                <a:gd name="connsiteX9" fmla="*/ 40719 w 77152"/>
                <a:gd name="connsiteY9" fmla="*/ 15002 h 85725"/>
                <a:gd name="connsiteX10" fmla="*/ 22717 w 77152"/>
                <a:gd name="connsiteY10" fmla="*/ 22717 h 85725"/>
                <a:gd name="connsiteX11" fmla="*/ 15859 w 77152"/>
                <a:gd name="connsiteY11" fmla="*/ 44148 h 85725"/>
                <a:gd name="connsiteX12" fmla="*/ 22717 w 77152"/>
                <a:gd name="connsiteY12" fmla="*/ 65580 h 85725"/>
                <a:gd name="connsiteX13" fmla="*/ 40719 w 77152"/>
                <a:gd name="connsiteY13" fmla="*/ 73295 h 85725"/>
                <a:gd name="connsiteX14" fmla="*/ 58722 w 77152"/>
                <a:gd name="connsiteY14" fmla="*/ 65580 h 85725"/>
                <a:gd name="connsiteX15" fmla="*/ 65580 w 77152"/>
                <a:gd name="connsiteY15" fmla="*/ 44148 h 85725"/>
                <a:gd name="connsiteX16" fmla="*/ 58722 w 77152"/>
                <a:gd name="connsiteY16" fmla="*/ 22717 h 85725"/>
                <a:gd name="connsiteX17" fmla="*/ 40719 w 77152"/>
                <a:gd name="connsiteY17" fmla="*/ 15002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152" h="85725">
                  <a:moveTo>
                    <a:pt x="39862" y="80153"/>
                  </a:moveTo>
                  <a:cubicBezTo>
                    <a:pt x="29575" y="80153"/>
                    <a:pt x="21860" y="76724"/>
                    <a:pt x="15859" y="69866"/>
                  </a:cubicBezTo>
                  <a:cubicBezTo>
                    <a:pt x="9858" y="63008"/>
                    <a:pt x="6429" y="54435"/>
                    <a:pt x="6429" y="44148"/>
                  </a:cubicBezTo>
                  <a:cubicBezTo>
                    <a:pt x="6429" y="33004"/>
                    <a:pt x="9858" y="23574"/>
                    <a:pt x="15859" y="16716"/>
                  </a:cubicBezTo>
                  <a:cubicBezTo>
                    <a:pt x="21860" y="9858"/>
                    <a:pt x="30432" y="6429"/>
                    <a:pt x="40719" y="6429"/>
                  </a:cubicBezTo>
                  <a:cubicBezTo>
                    <a:pt x="50149" y="6429"/>
                    <a:pt x="58722" y="9858"/>
                    <a:pt x="64722" y="16716"/>
                  </a:cubicBezTo>
                  <a:cubicBezTo>
                    <a:pt x="70723" y="23574"/>
                    <a:pt x="73295" y="32147"/>
                    <a:pt x="73295" y="42434"/>
                  </a:cubicBezTo>
                  <a:cubicBezTo>
                    <a:pt x="73295" y="53578"/>
                    <a:pt x="69866" y="63008"/>
                    <a:pt x="63865" y="69866"/>
                  </a:cubicBezTo>
                  <a:cubicBezTo>
                    <a:pt x="58722" y="77581"/>
                    <a:pt x="50149" y="80153"/>
                    <a:pt x="39862" y="80153"/>
                  </a:cubicBezTo>
                  <a:close/>
                  <a:moveTo>
                    <a:pt x="40719" y="15002"/>
                  </a:moveTo>
                  <a:cubicBezTo>
                    <a:pt x="33004" y="15002"/>
                    <a:pt x="27003" y="17574"/>
                    <a:pt x="22717" y="22717"/>
                  </a:cubicBezTo>
                  <a:cubicBezTo>
                    <a:pt x="18431" y="27861"/>
                    <a:pt x="15859" y="34719"/>
                    <a:pt x="15859" y="44148"/>
                  </a:cubicBezTo>
                  <a:cubicBezTo>
                    <a:pt x="15859" y="52721"/>
                    <a:pt x="18431" y="59579"/>
                    <a:pt x="22717" y="65580"/>
                  </a:cubicBezTo>
                  <a:cubicBezTo>
                    <a:pt x="27003" y="70723"/>
                    <a:pt x="33004" y="73295"/>
                    <a:pt x="40719" y="73295"/>
                  </a:cubicBezTo>
                  <a:cubicBezTo>
                    <a:pt x="48435" y="73295"/>
                    <a:pt x="54435" y="70723"/>
                    <a:pt x="58722" y="65580"/>
                  </a:cubicBezTo>
                  <a:cubicBezTo>
                    <a:pt x="63008" y="60436"/>
                    <a:pt x="65580" y="53578"/>
                    <a:pt x="65580" y="44148"/>
                  </a:cubicBezTo>
                  <a:cubicBezTo>
                    <a:pt x="65580" y="34719"/>
                    <a:pt x="63008" y="27861"/>
                    <a:pt x="58722" y="22717"/>
                  </a:cubicBezTo>
                  <a:cubicBezTo>
                    <a:pt x="54435" y="17574"/>
                    <a:pt x="48435" y="15002"/>
                    <a:pt x="40719" y="15002"/>
                  </a:cubicBezTo>
                  <a:close/>
                </a:path>
              </a:pathLst>
            </a:custGeom>
            <a:grpFill/>
            <a:ln w="9525" cap="flat">
              <a:noFill/>
              <a:prstDash val="solid"/>
              <a:miter/>
            </a:ln>
          </p:spPr>
          <p:txBody>
            <a:bodyPr rtlCol="0" anchor="ctr"/>
            <a:lstStyle/>
            <a:p>
              <a:endParaRPr lang="zh-CN" altLang="en-US"/>
            </a:p>
          </p:txBody>
        </p:sp>
        <p:sp>
          <p:nvSpPr>
            <p:cNvPr id="42" name="任意多边形: 形状 41">
              <a:extLst>
                <a:ext uri="{FF2B5EF4-FFF2-40B4-BE49-F238E27FC236}">
                  <a16:creationId xmlns:a16="http://schemas.microsoft.com/office/drawing/2014/main" id="{3F14C04C-336D-4430-83CD-96C3E9CF5D21}"/>
                </a:ext>
              </a:extLst>
            </p:cNvPr>
            <p:cNvSpPr/>
            <p:nvPr/>
          </p:nvSpPr>
          <p:spPr>
            <a:xfrm>
              <a:off x="8575434" y="5981864"/>
              <a:ext cx="65862" cy="74095"/>
            </a:xfrm>
            <a:custGeom>
              <a:avLst/>
              <a:gdLst>
                <a:gd name="connsiteX0" fmla="*/ 64722 w 68580"/>
                <a:gd name="connsiteY0" fmla="*/ 72438 h 77152"/>
                <a:gd name="connsiteX1" fmla="*/ 40719 w 68580"/>
                <a:gd name="connsiteY1" fmla="*/ 78438 h 77152"/>
                <a:gd name="connsiteX2" fmla="*/ 15859 w 68580"/>
                <a:gd name="connsiteY2" fmla="*/ 69009 h 77152"/>
                <a:gd name="connsiteX3" fmla="*/ 6429 w 68580"/>
                <a:gd name="connsiteY3" fmla="*/ 43291 h 77152"/>
                <a:gd name="connsiteX4" fmla="*/ 16716 w 68580"/>
                <a:gd name="connsiteY4" fmla="*/ 16716 h 77152"/>
                <a:gd name="connsiteX5" fmla="*/ 43291 w 68580"/>
                <a:gd name="connsiteY5" fmla="*/ 6429 h 77152"/>
                <a:gd name="connsiteX6" fmla="*/ 63008 w 68580"/>
                <a:gd name="connsiteY6" fmla="*/ 9858 h 77152"/>
                <a:gd name="connsiteX7" fmla="*/ 63008 w 68580"/>
                <a:gd name="connsiteY7" fmla="*/ 19288 h 77152"/>
                <a:gd name="connsiteX8" fmla="*/ 42434 w 68580"/>
                <a:gd name="connsiteY8" fmla="*/ 14145 h 77152"/>
                <a:gd name="connsiteX9" fmla="*/ 22717 w 68580"/>
                <a:gd name="connsiteY9" fmla="*/ 22717 h 77152"/>
                <a:gd name="connsiteX10" fmla="*/ 15002 w 68580"/>
                <a:gd name="connsiteY10" fmla="*/ 44148 h 77152"/>
                <a:gd name="connsiteX11" fmla="*/ 21860 w 68580"/>
                <a:gd name="connsiteY11" fmla="*/ 65580 h 77152"/>
                <a:gd name="connsiteX12" fmla="*/ 40719 w 68580"/>
                <a:gd name="connsiteY12" fmla="*/ 73295 h 77152"/>
                <a:gd name="connsiteX13" fmla="*/ 55293 w 68580"/>
                <a:gd name="connsiteY13" fmla="*/ 69866 h 77152"/>
                <a:gd name="connsiteX14" fmla="*/ 55293 w 68580"/>
                <a:gd name="connsiteY14" fmla="*/ 50149 h 77152"/>
                <a:gd name="connsiteX15" fmla="*/ 39862 w 68580"/>
                <a:gd name="connsiteY15" fmla="*/ 50149 h 77152"/>
                <a:gd name="connsiteX16" fmla="*/ 39862 w 68580"/>
                <a:gd name="connsiteY16" fmla="*/ 42434 h 77152"/>
                <a:gd name="connsiteX17" fmla="*/ 63865 w 68580"/>
                <a:gd name="connsiteY17" fmla="*/ 42434 h 77152"/>
                <a:gd name="connsiteX18" fmla="*/ 63865 w 68580"/>
                <a:gd name="connsiteY18" fmla="*/ 72438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580" h="77152">
                  <a:moveTo>
                    <a:pt x="64722" y="72438"/>
                  </a:moveTo>
                  <a:cubicBezTo>
                    <a:pt x="57864" y="76724"/>
                    <a:pt x="49292" y="78438"/>
                    <a:pt x="40719" y="78438"/>
                  </a:cubicBezTo>
                  <a:cubicBezTo>
                    <a:pt x="30432" y="78438"/>
                    <a:pt x="22717" y="75009"/>
                    <a:pt x="15859" y="69009"/>
                  </a:cubicBezTo>
                  <a:cubicBezTo>
                    <a:pt x="9858" y="62151"/>
                    <a:pt x="6429" y="53578"/>
                    <a:pt x="6429" y="43291"/>
                  </a:cubicBezTo>
                  <a:cubicBezTo>
                    <a:pt x="6429" y="32147"/>
                    <a:pt x="9858" y="23574"/>
                    <a:pt x="16716" y="16716"/>
                  </a:cubicBezTo>
                  <a:cubicBezTo>
                    <a:pt x="23574" y="9858"/>
                    <a:pt x="32147" y="6429"/>
                    <a:pt x="43291" y="6429"/>
                  </a:cubicBezTo>
                  <a:cubicBezTo>
                    <a:pt x="51006" y="6429"/>
                    <a:pt x="57864" y="7287"/>
                    <a:pt x="63008" y="9858"/>
                  </a:cubicBezTo>
                  <a:lnTo>
                    <a:pt x="63008" y="19288"/>
                  </a:lnTo>
                  <a:cubicBezTo>
                    <a:pt x="57007" y="15859"/>
                    <a:pt x="50149" y="14145"/>
                    <a:pt x="42434" y="14145"/>
                  </a:cubicBezTo>
                  <a:cubicBezTo>
                    <a:pt x="34719" y="14145"/>
                    <a:pt x="27861" y="16716"/>
                    <a:pt x="22717" y="22717"/>
                  </a:cubicBezTo>
                  <a:cubicBezTo>
                    <a:pt x="17574" y="27861"/>
                    <a:pt x="15002" y="35576"/>
                    <a:pt x="15002" y="44148"/>
                  </a:cubicBezTo>
                  <a:cubicBezTo>
                    <a:pt x="15002" y="52721"/>
                    <a:pt x="17574" y="60436"/>
                    <a:pt x="21860" y="65580"/>
                  </a:cubicBezTo>
                  <a:cubicBezTo>
                    <a:pt x="26146" y="70723"/>
                    <a:pt x="33004" y="73295"/>
                    <a:pt x="40719" y="73295"/>
                  </a:cubicBezTo>
                  <a:cubicBezTo>
                    <a:pt x="45863" y="73295"/>
                    <a:pt x="51006" y="72438"/>
                    <a:pt x="55293" y="69866"/>
                  </a:cubicBezTo>
                  <a:lnTo>
                    <a:pt x="55293" y="50149"/>
                  </a:lnTo>
                  <a:lnTo>
                    <a:pt x="39862" y="50149"/>
                  </a:lnTo>
                  <a:lnTo>
                    <a:pt x="39862" y="42434"/>
                  </a:lnTo>
                  <a:lnTo>
                    <a:pt x="63865" y="42434"/>
                  </a:lnTo>
                  <a:lnTo>
                    <a:pt x="63865" y="72438"/>
                  </a:lnTo>
                  <a:close/>
                </a:path>
              </a:pathLst>
            </a:custGeom>
            <a:grpFill/>
            <a:ln w="9525" cap="flat">
              <a:noFill/>
              <a:prstDash val="solid"/>
              <a:miter/>
            </a:ln>
          </p:spPr>
          <p:txBody>
            <a:bodyPr rtlCol="0" anchor="ctr"/>
            <a:lstStyle/>
            <a:p>
              <a:endParaRPr lang="zh-CN" altLang="en-US"/>
            </a:p>
          </p:txBody>
        </p:sp>
        <p:sp>
          <p:nvSpPr>
            <p:cNvPr id="43" name="任意多边形: 形状 42">
              <a:extLst>
                <a:ext uri="{FF2B5EF4-FFF2-40B4-BE49-F238E27FC236}">
                  <a16:creationId xmlns:a16="http://schemas.microsoft.com/office/drawing/2014/main" id="{7C92C7CD-38C7-482B-A790-C3AB9A3220CE}"/>
                </a:ext>
              </a:extLst>
            </p:cNvPr>
            <p:cNvSpPr/>
            <p:nvPr/>
          </p:nvSpPr>
          <p:spPr>
            <a:xfrm>
              <a:off x="8645412" y="5982688"/>
              <a:ext cx="57630" cy="74095"/>
            </a:xfrm>
            <a:custGeom>
              <a:avLst/>
              <a:gdLst>
                <a:gd name="connsiteX0" fmla="*/ 58722 w 60007"/>
                <a:gd name="connsiteY0" fmla="*/ 76724 h 77152"/>
                <a:gd name="connsiteX1" fmla="*/ 48435 w 60007"/>
                <a:gd name="connsiteY1" fmla="*/ 76724 h 77152"/>
                <a:gd name="connsiteX2" fmla="*/ 36433 w 60007"/>
                <a:gd name="connsiteY2" fmla="*/ 57007 h 77152"/>
                <a:gd name="connsiteX3" fmla="*/ 33004 w 60007"/>
                <a:gd name="connsiteY3" fmla="*/ 51864 h 77152"/>
                <a:gd name="connsiteX4" fmla="*/ 29575 w 60007"/>
                <a:gd name="connsiteY4" fmla="*/ 48435 h 77152"/>
                <a:gd name="connsiteX5" fmla="*/ 26146 w 60007"/>
                <a:gd name="connsiteY5" fmla="*/ 46720 h 77152"/>
                <a:gd name="connsiteX6" fmla="*/ 21860 w 60007"/>
                <a:gd name="connsiteY6" fmla="*/ 45863 h 77152"/>
                <a:gd name="connsiteX7" fmla="*/ 15002 w 60007"/>
                <a:gd name="connsiteY7" fmla="*/ 45863 h 77152"/>
                <a:gd name="connsiteX8" fmla="*/ 15002 w 60007"/>
                <a:gd name="connsiteY8" fmla="*/ 75867 h 77152"/>
                <a:gd name="connsiteX9" fmla="*/ 6429 w 60007"/>
                <a:gd name="connsiteY9" fmla="*/ 75867 h 77152"/>
                <a:gd name="connsiteX10" fmla="*/ 6429 w 60007"/>
                <a:gd name="connsiteY10" fmla="*/ 6429 h 77152"/>
                <a:gd name="connsiteX11" fmla="*/ 27861 w 60007"/>
                <a:gd name="connsiteY11" fmla="*/ 6429 h 77152"/>
                <a:gd name="connsiteX12" fmla="*/ 36433 w 60007"/>
                <a:gd name="connsiteY12" fmla="*/ 7287 h 77152"/>
                <a:gd name="connsiteX13" fmla="*/ 43291 w 60007"/>
                <a:gd name="connsiteY13" fmla="*/ 10716 h 77152"/>
                <a:gd name="connsiteX14" fmla="*/ 47577 w 60007"/>
                <a:gd name="connsiteY14" fmla="*/ 16716 h 77152"/>
                <a:gd name="connsiteX15" fmla="*/ 49292 w 60007"/>
                <a:gd name="connsiteY15" fmla="*/ 25289 h 77152"/>
                <a:gd name="connsiteX16" fmla="*/ 48435 w 60007"/>
                <a:gd name="connsiteY16" fmla="*/ 32147 h 77152"/>
                <a:gd name="connsiteX17" fmla="*/ 45006 w 60007"/>
                <a:gd name="connsiteY17" fmla="*/ 37290 h 77152"/>
                <a:gd name="connsiteX18" fmla="*/ 39862 w 60007"/>
                <a:gd name="connsiteY18" fmla="*/ 41577 h 77152"/>
                <a:gd name="connsiteX19" fmla="*/ 33004 w 60007"/>
                <a:gd name="connsiteY19" fmla="*/ 44148 h 77152"/>
                <a:gd name="connsiteX20" fmla="*/ 33004 w 60007"/>
                <a:gd name="connsiteY20" fmla="*/ 44148 h 77152"/>
                <a:gd name="connsiteX21" fmla="*/ 36433 w 60007"/>
                <a:gd name="connsiteY21" fmla="*/ 45863 h 77152"/>
                <a:gd name="connsiteX22" fmla="*/ 39005 w 60007"/>
                <a:gd name="connsiteY22" fmla="*/ 48435 h 77152"/>
                <a:gd name="connsiteX23" fmla="*/ 41577 w 60007"/>
                <a:gd name="connsiteY23" fmla="*/ 51864 h 77152"/>
                <a:gd name="connsiteX24" fmla="*/ 44148 w 60007"/>
                <a:gd name="connsiteY24" fmla="*/ 56150 h 77152"/>
                <a:gd name="connsiteX25" fmla="*/ 58722 w 60007"/>
                <a:gd name="connsiteY25" fmla="*/ 76724 h 77152"/>
                <a:gd name="connsiteX26" fmla="*/ 16716 w 60007"/>
                <a:gd name="connsiteY26" fmla="*/ 13287 h 77152"/>
                <a:gd name="connsiteX27" fmla="*/ 16716 w 60007"/>
                <a:gd name="connsiteY27" fmla="*/ 39005 h 77152"/>
                <a:gd name="connsiteX28" fmla="*/ 27861 w 60007"/>
                <a:gd name="connsiteY28" fmla="*/ 39005 h 77152"/>
                <a:gd name="connsiteX29" fmla="*/ 33861 w 60007"/>
                <a:gd name="connsiteY29" fmla="*/ 38148 h 77152"/>
                <a:gd name="connsiteX30" fmla="*/ 38148 w 60007"/>
                <a:gd name="connsiteY30" fmla="*/ 35576 h 77152"/>
                <a:gd name="connsiteX31" fmla="*/ 41577 w 60007"/>
                <a:gd name="connsiteY31" fmla="*/ 31290 h 77152"/>
                <a:gd name="connsiteX32" fmla="*/ 42434 w 60007"/>
                <a:gd name="connsiteY32" fmla="*/ 25289 h 77152"/>
                <a:gd name="connsiteX33" fmla="*/ 39005 w 60007"/>
                <a:gd name="connsiteY33" fmla="*/ 16716 h 77152"/>
                <a:gd name="connsiteX34" fmla="*/ 28718 w 60007"/>
                <a:gd name="connsiteY34" fmla="*/ 13287 h 77152"/>
                <a:gd name="connsiteX35" fmla="*/ 16716 w 60007"/>
                <a:gd name="connsiteY35" fmla="*/ 13287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007" h="77152">
                  <a:moveTo>
                    <a:pt x="58722" y="76724"/>
                  </a:moveTo>
                  <a:lnTo>
                    <a:pt x="48435" y="76724"/>
                  </a:lnTo>
                  <a:lnTo>
                    <a:pt x="36433" y="57007"/>
                  </a:lnTo>
                  <a:cubicBezTo>
                    <a:pt x="35576" y="55293"/>
                    <a:pt x="33861" y="53578"/>
                    <a:pt x="33004" y="51864"/>
                  </a:cubicBezTo>
                  <a:cubicBezTo>
                    <a:pt x="32147" y="50149"/>
                    <a:pt x="31290" y="49292"/>
                    <a:pt x="29575" y="48435"/>
                  </a:cubicBezTo>
                  <a:cubicBezTo>
                    <a:pt x="28718" y="47577"/>
                    <a:pt x="27003" y="46720"/>
                    <a:pt x="26146" y="46720"/>
                  </a:cubicBezTo>
                  <a:cubicBezTo>
                    <a:pt x="25289" y="46720"/>
                    <a:pt x="23574" y="45863"/>
                    <a:pt x="21860" y="45863"/>
                  </a:cubicBezTo>
                  <a:lnTo>
                    <a:pt x="15002" y="45863"/>
                  </a:lnTo>
                  <a:lnTo>
                    <a:pt x="15002" y="75867"/>
                  </a:lnTo>
                  <a:lnTo>
                    <a:pt x="6429" y="75867"/>
                  </a:lnTo>
                  <a:lnTo>
                    <a:pt x="6429" y="6429"/>
                  </a:lnTo>
                  <a:lnTo>
                    <a:pt x="27861" y="6429"/>
                  </a:lnTo>
                  <a:cubicBezTo>
                    <a:pt x="31290" y="6429"/>
                    <a:pt x="33861" y="6429"/>
                    <a:pt x="36433" y="7287"/>
                  </a:cubicBezTo>
                  <a:cubicBezTo>
                    <a:pt x="39005" y="8144"/>
                    <a:pt x="41577" y="9001"/>
                    <a:pt x="43291" y="10716"/>
                  </a:cubicBezTo>
                  <a:cubicBezTo>
                    <a:pt x="45006" y="12430"/>
                    <a:pt x="46720" y="14145"/>
                    <a:pt x="47577" y="16716"/>
                  </a:cubicBezTo>
                  <a:cubicBezTo>
                    <a:pt x="48435" y="19288"/>
                    <a:pt x="49292" y="21860"/>
                    <a:pt x="49292" y="25289"/>
                  </a:cubicBezTo>
                  <a:cubicBezTo>
                    <a:pt x="49292" y="27861"/>
                    <a:pt x="49292" y="30432"/>
                    <a:pt x="48435" y="32147"/>
                  </a:cubicBezTo>
                  <a:cubicBezTo>
                    <a:pt x="47577" y="33861"/>
                    <a:pt x="46720" y="36433"/>
                    <a:pt x="45006" y="37290"/>
                  </a:cubicBezTo>
                  <a:cubicBezTo>
                    <a:pt x="43291" y="39005"/>
                    <a:pt x="41577" y="39862"/>
                    <a:pt x="39862" y="41577"/>
                  </a:cubicBezTo>
                  <a:cubicBezTo>
                    <a:pt x="38148" y="42434"/>
                    <a:pt x="35576" y="43291"/>
                    <a:pt x="33004" y="44148"/>
                  </a:cubicBezTo>
                  <a:lnTo>
                    <a:pt x="33004" y="44148"/>
                  </a:lnTo>
                  <a:cubicBezTo>
                    <a:pt x="33861" y="45006"/>
                    <a:pt x="35576" y="45006"/>
                    <a:pt x="36433" y="45863"/>
                  </a:cubicBezTo>
                  <a:cubicBezTo>
                    <a:pt x="37290" y="46720"/>
                    <a:pt x="38148" y="47577"/>
                    <a:pt x="39005" y="48435"/>
                  </a:cubicBezTo>
                  <a:cubicBezTo>
                    <a:pt x="39862" y="49292"/>
                    <a:pt x="40719" y="50149"/>
                    <a:pt x="41577" y="51864"/>
                  </a:cubicBezTo>
                  <a:cubicBezTo>
                    <a:pt x="42434" y="52721"/>
                    <a:pt x="43291" y="54435"/>
                    <a:pt x="44148" y="56150"/>
                  </a:cubicBezTo>
                  <a:lnTo>
                    <a:pt x="58722" y="76724"/>
                  </a:lnTo>
                  <a:close/>
                  <a:moveTo>
                    <a:pt x="16716" y="13287"/>
                  </a:moveTo>
                  <a:lnTo>
                    <a:pt x="16716" y="39005"/>
                  </a:lnTo>
                  <a:lnTo>
                    <a:pt x="27861" y="39005"/>
                  </a:lnTo>
                  <a:cubicBezTo>
                    <a:pt x="29575" y="39005"/>
                    <a:pt x="32147" y="39005"/>
                    <a:pt x="33861" y="38148"/>
                  </a:cubicBezTo>
                  <a:cubicBezTo>
                    <a:pt x="35576" y="37290"/>
                    <a:pt x="37290" y="36433"/>
                    <a:pt x="38148" y="35576"/>
                  </a:cubicBezTo>
                  <a:cubicBezTo>
                    <a:pt x="39005" y="34719"/>
                    <a:pt x="40719" y="33004"/>
                    <a:pt x="41577" y="31290"/>
                  </a:cubicBezTo>
                  <a:cubicBezTo>
                    <a:pt x="42434" y="29575"/>
                    <a:pt x="42434" y="27861"/>
                    <a:pt x="42434" y="25289"/>
                  </a:cubicBezTo>
                  <a:cubicBezTo>
                    <a:pt x="42434" y="21860"/>
                    <a:pt x="41577" y="18431"/>
                    <a:pt x="39005" y="16716"/>
                  </a:cubicBezTo>
                  <a:cubicBezTo>
                    <a:pt x="36433" y="15002"/>
                    <a:pt x="33004" y="13287"/>
                    <a:pt x="28718" y="13287"/>
                  </a:cubicBezTo>
                  <a:lnTo>
                    <a:pt x="16716" y="13287"/>
                  </a:lnTo>
                  <a:close/>
                </a:path>
              </a:pathLst>
            </a:custGeom>
            <a:grpFill/>
            <a:ln w="9525" cap="flat">
              <a:noFill/>
              <a:prstDash val="solid"/>
              <a:miter/>
            </a:ln>
          </p:spPr>
          <p:txBody>
            <a:bodyPr rtlCol="0" anchor="ctr"/>
            <a:lstStyle/>
            <a:p>
              <a:endParaRPr lang="zh-CN" altLang="en-US"/>
            </a:p>
          </p:txBody>
        </p:sp>
        <p:sp>
          <p:nvSpPr>
            <p:cNvPr id="44" name="任意多边形: 形状 43">
              <a:extLst>
                <a:ext uri="{FF2B5EF4-FFF2-40B4-BE49-F238E27FC236}">
                  <a16:creationId xmlns:a16="http://schemas.microsoft.com/office/drawing/2014/main" id="{2D0D7E64-0ED9-46B8-B590-665B3730FF95}"/>
                </a:ext>
              </a:extLst>
            </p:cNvPr>
            <p:cNvSpPr/>
            <p:nvPr/>
          </p:nvSpPr>
          <p:spPr>
            <a:xfrm>
              <a:off x="8696455" y="5981864"/>
              <a:ext cx="65862" cy="74095"/>
            </a:xfrm>
            <a:custGeom>
              <a:avLst/>
              <a:gdLst>
                <a:gd name="connsiteX0" fmla="*/ 69866 w 68580"/>
                <a:gd name="connsiteY0" fmla="*/ 77581 h 77152"/>
                <a:gd name="connsiteX1" fmla="*/ 60436 w 68580"/>
                <a:gd name="connsiteY1" fmla="*/ 77581 h 77152"/>
                <a:gd name="connsiteX2" fmla="*/ 52721 w 68580"/>
                <a:gd name="connsiteY2" fmla="*/ 57864 h 77152"/>
                <a:gd name="connsiteX3" fmla="*/ 22717 w 68580"/>
                <a:gd name="connsiteY3" fmla="*/ 57864 h 77152"/>
                <a:gd name="connsiteX4" fmla="*/ 15859 w 68580"/>
                <a:gd name="connsiteY4" fmla="*/ 77581 h 77152"/>
                <a:gd name="connsiteX5" fmla="*/ 6429 w 68580"/>
                <a:gd name="connsiteY5" fmla="*/ 77581 h 77152"/>
                <a:gd name="connsiteX6" fmla="*/ 33861 w 68580"/>
                <a:gd name="connsiteY6" fmla="*/ 6429 h 77152"/>
                <a:gd name="connsiteX7" fmla="*/ 42434 w 68580"/>
                <a:gd name="connsiteY7" fmla="*/ 6429 h 77152"/>
                <a:gd name="connsiteX8" fmla="*/ 69866 w 68580"/>
                <a:gd name="connsiteY8" fmla="*/ 77581 h 77152"/>
                <a:gd name="connsiteX9" fmla="*/ 51006 w 68580"/>
                <a:gd name="connsiteY9" fmla="*/ 50149 h 77152"/>
                <a:gd name="connsiteX10" fmla="*/ 39862 w 68580"/>
                <a:gd name="connsiteY10" fmla="*/ 20145 h 77152"/>
                <a:gd name="connsiteX11" fmla="*/ 39005 w 68580"/>
                <a:gd name="connsiteY11" fmla="*/ 15002 h 77152"/>
                <a:gd name="connsiteX12" fmla="*/ 39005 w 68580"/>
                <a:gd name="connsiteY12" fmla="*/ 15002 h 77152"/>
                <a:gd name="connsiteX13" fmla="*/ 38148 w 68580"/>
                <a:gd name="connsiteY13" fmla="*/ 20145 h 77152"/>
                <a:gd name="connsiteX14" fmla="*/ 27003 w 68580"/>
                <a:gd name="connsiteY14" fmla="*/ 50149 h 77152"/>
                <a:gd name="connsiteX15" fmla="*/ 51006 w 68580"/>
                <a:gd name="connsiteY15" fmla="*/ 50149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580" h="77152">
                  <a:moveTo>
                    <a:pt x="69866" y="77581"/>
                  </a:moveTo>
                  <a:lnTo>
                    <a:pt x="60436" y="77581"/>
                  </a:lnTo>
                  <a:lnTo>
                    <a:pt x="52721" y="57864"/>
                  </a:lnTo>
                  <a:lnTo>
                    <a:pt x="22717" y="57864"/>
                  </a:lnTo>
                  <a:lnTo>
                    <a:pt x="15859" y="77581"/>
                  </a:lnTo>
                  <a:lnTo>
                    <a:pt x="6429" y="77581"/>
                  </a:lnTo>
                  <a:lnTo>
                    <a:pt x="33861" y="6429"/>
                  </a:lnTo>
                  <a:lnTo>
                    <a:pt x="42434" y="6429"/>
                  </a:lnTo>
                  <a:lnTo>
                    <a:pt x="69866" y="77581"/>
                  </a:lnTo>
                  <a:close/>
                  <a:moveTo>
                    <a:pt x="51006" y="50149"/>
                  </a:moveTo>
                  <a:lnTo>
                    <a:pt x="39862" y="20145"/>
                  </a:lnTo>
                  <a:cubicBezTo>
                    <a:pt x="39862" y="19288"/>
                    <a:pt x="39005" y="17574"/>
                    <a:pt x="39005" y="15002"/>
                  </a:cubicBezTo>
                  <a:lnTo>
                    <a:pt x="39005" y="15002"/>
                  </a:lnTo>
                  <a:cubicBezTo>
                    <a:pt x="39005" y="16716"/>
                    <a:pt x="38148" y="18431"/>
                    <a:pt x="38148" y="20145"/>
                  </a:cubicBezTo>
                  <a:lnTo>
                    <a:pt x="27003" y="50149"/>
                  </a:lnTo>
                  <a:lnTo>
                    <a:pt x="51006" y="50149"/>
                  </a:lnTo>
                  <a:close/>
                </a:path>
              </a:pathLst>
            </a:custGeom>
            <a:grpFill/>
            <a:ln w="9525" cap="flat">
              <a:noFill/>
              <a:prstDash val="solid"/>
              <a:miter/>
            </a:ln>
          </p:spPr>
          <p:txBody>
            <a:bodyPr rtlCol="0" anchor="ctr"/>
            <a:lstStyle/>
            <a:p>
              <a:endParaRPr lang="zh-CN" altLang="en-US"/>
            </a:p>
          </p:txBody>
        </p:sp>
        <p:sp>
          <p:nvSpPr>
            <p:cNvPr id="45" name="任意多边形: 形状 44">
              <a:extLst>
                <a:ext uri="{FF2B5EF4-FFF2-40B4-BE49-F238E27FC236}">
                  <a16:creationId xmlns:a16="http://schemas.microsoft.com/office/drawing/2014/main" id="{18921762-8AEC-4CBD-8704-3E2B5FF31D69}"/>
                </a:ext>
              </a:extLst>
            </p:cNvPr>
            <p:cNvSpPr/>
            <p:nvPr/>
          </p:nvSpPr>
          <p:spPr>
            <a:xfrm>
              <a:off x="8767256" y="5982688"/>
              <a:ext cx="49396" cy="74095"/>
            </a:xfrm>
            <a:custGeom>
              <a:avLst/>
              <a:gdLst>
                <a:gd name="connsiteX0" fmla="*/ 15002 w 51435"/>
                <a:gd name="connsiteY0" fmla="*/ 50149 h 77152"/>
                <a:gd name="connsiteX1" fmla="*/ 15002 w 51435"/>
                <a:gd name="connsiteY1" fmla="*/ 76724 h 77152"/>
                <a:gd name="connsiteX2" fmla="*/ 6429 w 51435"/>
                <a:gd name="connsiteY2" fmla="*/ 76724 h 77152"/>
                <a:gd name="connsiteX3" fmla="*/ 6429 w 51435"/>
                <a:gd name="connsiteY3" fmla="*/ 6429 h 77152"/>
                <a:gd name="connsiteX4" fmla="*/ 26146 w 51435"/>
                <a:gd name="connsiteY4" fmla="*/ 6429 h 77152"/>
                <a:gd name="connsiteX5" fmla="*/ 44148 w 51435"/>
                <a:gd name="connsiteY5" fmla="*/ 11573 h 77152"/>
                <a:gd name="connsiteX6" fmla="*/ 50149 w 51435"/>
                <a:gd name="connsiteY6" fmla="*/ 27003 h 77152"/>
                <a:gd name="connsiteX7" fmla="*/ 43291 w 51435"/>
                <a:gd name="connsiteY7" fmla="*/ 43291 h 77152"/>
                <a:gd name="connsiteX8" fmla="*/ 24432 w 51435"/>
                <a:gd name="connsiteY8" fmla="*/ 49292 h 77152"/>
                <a:gd name="connsiteX9" fmla="*/ 15002 w 51435"/>
                <a:gd name="connsiteY9" fmla="*/ 49292 h 77152"/>
                <a:gd name="connsiteX10" fmla="*/ 15002 w 51435"/>
                <a:gd name="connsiteY10" fmla="*/ 13287 h 77152"/>
                <a:gd name="connsiteX11" fmla="*/ 15002 w 51435"/>
                <a:gd name="connsiteY11" fmla="*/ 42434 h 77152"/>
                <a:gd name="connsiteX12" fmla="*/ 23574 w 51435"/>
                <a:gd name="connsiteY12" fmla="*/ 42434 h 77152"/>
                <a:gd name="connsiteX13" fmla="*/ 36433 w 51435"/>
                <a:gd name="connsiteY13" fmla="*/ 38148 h 77152"/>
                <a:gd name="connsiteX14" fmla="*/ 40719 w 51435"/>
                <a:gd name="connsiteY14" fmla="*/ 27003 h 77152"/>
                <a:gd name="connsiteX15" fmla="*/ 24432 w 51435"/>
                <a:gd name="connsiteY15" fmla="*/ 13287 h 77152"/>
                <a:gd name="connsiteX16" fmla="*/ 15002 w 51435"/>
                <a:gd name="connsiteY16" fmla="*/ 13287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435" h="77152">
                  <a:moveTo>
                    <a:pt x="15002" y="50149"/>
                  </a:moveTo>
                  <a:lnTo>
                    <a:pt x="15002" y="76724"/>
                  </a:lnTo>
                  <a:lnTo>
                    <a:pt x="6429" y="76724"/>
                  </a:lnTo>
                  <a:lnTo>
                    <a:pt x="6429" y="6429"/>
                  </a:lnTo>
                  <a:lnTo>
                    <a:pt x="26146" y="6429"/>
                  </a:lnTo>
                  <a:cubicBezTo>
                    <a:pt x="33861" y="6429"/>
                    <a:pt x="39862" y="8144"/>
                    <a:pt x="44148" y="11573"/>
                  </a:cubicBezTo>
                  <a:cubicBezTo>
                    <a:pt x="48435" y="15002"/>
                    <a:pt x="50149" y="20145"/>
                    <a:pt x="50149" y="27003"/>
                  </a:cubicBezTo>
                  <a:cubicBezTo>
                    <a:pt x="50149" y="33861"/>
                    <a:pt x="47577" y="39005"/>
                    <a:pt x="43291" y="43291"/>
                  </a:cubicBezTo>
                  <a:cubicBezTo>
                    <a:pt x="39005" y="47577"/>
                    <a:pt x="32147" y="49292"/>
                    <a:pt x="24432" y="49292"/>
                  </a:cubicBezTo>
                  <a:lnTo>
                    <a:pt x="15002" y="49292"/>
                  </a:lnTo>
                  <a:close/>
                  <a:moveTo>
                    <a:pt x="15002" y="13287"/>
                  </a:moveTo>
                  <a:lnTo>
                    <a:pt x="15002" y="42434"/>
                  </a:lnTo>
                  <a:lnTo>
                    <a:pt x="23574" y="42434"/>
                  </a:lnTo>
                  <a:cubicBezTo>
                    <a:pt x="29575" y="42434"/>
                    <a:pt x="33861" y="40719"/>
                    <a:pt x="36433" y="38148"/>
                  </a:cubicBezTo>
                  <a:cubicBezTo>
                    <a:pt x="39862" y="35576"/>
                    <a:pt x="40719" y="32147"/>
                    <a:pt x="40719" y="27003"/>
                  </a:cubicBezTo>
                  <a:cubicBezTo>
                    <a:pt x="40719" y="17574"/>
                    <a:pt x="35576" y="13287"/>
                    <a:pt x="24432" y="13287"/>
                  </a:cubicBezTo>
                  <a:lnTo>
                    <a:pt x="15002" y="13287"/>
                  </a:lnTo>
                  <a:close/>
                </a:path>
              </a:pathLst>
            </a:custGeom>
            <a:grpFill/>
            <a:ln w="9525" cap="flat">
              <a:noFill/>
              <a:prstDash val="solid"/>
              <a:miter/>
            </a:ln>
          </p:spPr>
          <p:txBody>
            <a:bodyPr rtlCol="0" anchor="ctr"/>
            <a:lstStyle/>
            <a:p>
              <a:endParaRPr lang="zh-CN" altLang="en-US"/>
            </a:p>
          </p:txBody>
        </p:sp>
        <p:sp>
          <p:nvSpPr>
            <p:cNvPr id="46" name="任意多边形: 形状 45">
              <a:extLst>
                <a:ext uri="{FF2B5EF4-FFF2-40B4-BE49-F238E27FC236}">
                  <a16:creationId xmlns:a16="http://schemas.microsoft.com/office/drawing/2014/main" id="{8855C260-C5D9-4913-94ED-887E46B9C86A}"/>
                </a:ext>
              </a:extLst>
            </p:cNvPr>
            <p:cNvSpPr/>
            <p:nvPr/>
          </p:nvSpPr>
          <p:spPr>
            <a:xfrm>
              <a:off x="8820770" y="5982688"/>
              <a:ext cx="57630" cy="74095"/>
            </a:xfrm>
            <a:custGeom>
              <a:avLst/>
              <a:gdLst>
                <a:gd name="connsiteX0" fmla="*/ 60436 w 60007"/>
                <a:gd name="connsiteY0" fmla="*/ 76724 h 77152"/>
                <a:gd name="connsiteX1" fmla="*/ 51864 w 60007"/>
                <a:gd name="connsiteY1" fmla="*/ 76724 h 77152"/>
                <a:gd name="connsiteX2" fmla="*/ 51864 w 60007"/>
                <a:gd name="connsiteY2" fmla="*/ 44148 h 77152"/>
                <a:gd name="connsiteX3" fmla="*/ 15002 w 60007"/>
                <a:gd name="connsiteY3" fmla="*/ 44148 h 77152"/>
                <a:gd name="connsiteX4" fmla="*/ 15002 w 60007"/>
                <a:gd name="connsiteY4" fmla="*/ 76724 h 77152"/>
                <a:gd name="connsiteX5" fmla="*/ 6429 w 60007"/>
                <a:gd name="connsiteY5" fmla="*/ 76724 h 77152"/>
                <a:gd name="connsiteX6" fmla="*/ 6429 w 60007"/>
                <a:gd name="connsiteY6" fmla="*/ 6429 h 77152"/>
                <a:gd name="connsiteX7" fmla="*/ 15002 w 60007"/>
                <a:gd name="connsiteY7" fmla="*/ 6429 h 77152"/>
                <a:gd name="connsiteX8" fmla="*/ 15002 w 60007"/>
                <a:gd name="connsiteY8" fmla="*/ 37290 h 77152"/>
                <a:gd name="connsiteX9" fmla="*/ 51864 w 60007"/>
                <a:gd name="connsiteY9" fmla="*/ 37290 h 77152"/>
                <a:gd name="connsiteX10" fmla="*/ 51864 w 60007"/>
                <a:gd name="connsiteY10" fmla="*/ 6429 h 77152"/>
                <a:gd name="connsiteX11" fmla="*/ 60436 w 60007"/>
                <a:gd name="connsiteY11" fmla="*/ 6429 h 77152"/>
                <a:gd name="connsiteX12" fmla="*/ 60436 w 60007"/>
                <a:gd name="connsiteY12" fmla="*/ 76724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007" h="77152">
                  <a:moveTo>
                    <a:pt x="60436" y="76724"/>
                  </a:moveTo>
                  <a:lnTo>
                    <a:pt x="51864" y="76724"/>
                  </a:lnTo>
                  <a:lnTo>
                    <a:pt x="51864" y="44148"/>
                  </a:lnTo>
                  <a:lnTo>
                    <a:pt x="15002" y="44148"/>
                  </a:lnTo>
                  <a:lnTo>
                    <a:pt x="15002" y="76724"/>
                  </a:lnTo>
                  <a:lnTo>
                    <a:pt x="6429" y="76724"/>
                  </a:lnTo>
                  <a:lnTo>
                    <a:pt x="6429" y="6429"/>
                  </a:lnTo>
                  <a:lnTo>
                    <a:pt x="15002" y="6429"/>
                  </a:lnTo>
                  <a:lnTo>
                    <a:pt x="15002" y="37290"/>
                  </a:lnTo>
                  <a:lnTo>
                    <a:pt x="51864" y="37290"/>
                  </a:lnTo>
                  <a:lnTo>
                    <a:pt x="51864" y="6429"/>
                  </a:lnTo>
                  <a:lnTo>
                    <a:pt x="60436" y="6429"/>
                  </a:lnTo>
                  <a:lnTo>
                    <a:pt x="60436" y="76724"/>
                  </a:lnTo>
                  <a:close/>
                </a:path>
              </a:pathLst>
            </a:custGeom>
            <a:grpFill/>
            <a:ln w="9525" cap="flat">
              <a:noFill/>
              <a:prstDash val="solid"/>
              <a:miter/>
            </a:ln>
          </p:spPr>
          <p:txBody>
            <a:bodyPr rtlCol="0" anchor="ctr"/>
            <a:lstStyle/>
            <a:p>
              <a:endParaRPr lang="zh-CN" altLang="en-US"/>
            </a:p>
          </p:txBody>
        </p:sp>
        <p:sp>
          <p:nvSpPr>
            <p:cNvPr id="47" name="任意多边形: 形状 46">
              <a:extLst>
                <a:ext uri="{FF2B5EF4-FFF2-40B4-BE49-F238E27FC236}">
                  <a16:creationId xmlns:a16="http://schemas.microsoft.com/office/drawing/2014/main" id="{8FF05E3C-059F-4D3A-93CD-2D6C2A3287A2}"/>
                </a:ext>
              </a:extLst>
            </p:cNvPr>
            <p:cNvSpPr/>
            <p:nvPr/>
          </p:nvSpPr>
          <p:spPr>
            <a:xfrm>
              <a:off x="8884162" y="5982688"/>
              <a:ext cx="32931" cy="74095"/>
            </a:xfrm>
            <a:custGeom>
              <a:avLst/>
              <a:gdLst>
                <a:gd name="connsiteX0" fmla="*/ 28718 w 34290"/>
                <a:gd name="connsiteY0" fmla="*/ 6429 h 77152"/>
                <a:gd name="connsiteX1" fmla="*/ 28718 w 34290"/>
                <a:gd name="connsiteY1" fmla="*/ 13287 h 77152"/>
                <a:gd name="connsiteX2" fmla="*/ 21860 w 34290"/>
                <a:gd name="connsiteY2" fmla="*/ 13287 h 77152"/>
                <a:gd name="connsiteX3" fmla="*/ 21860 w 34290"/>
                <a:gd name="connsiteY3" fmla="*/ 69866 h 77152"/>
                <a:gd name="connsiteX4" fmla="*/ 28718 w 34290"/>
                <a:gd name="connsiteY4" fmla="*/ 69866 h 77152"/>
                <a:gd name="connsiteX5" fmla="*/ 28718 w 34290"/>
                <a:gd name="connsiteY5" fmla="*/ 76724 h 77152"/>
                <a:gd name="connsiteX6" fmla="*/ 6429 w 34290"/>
                <a:gd name="connsiteY6" fmla="*/ 76724 h 77152"/>
                <a:gd name="connsiteX7" fmla="*/ 6429 w 34290"/>
                <a:gd name="connsiteY7" fmla="*/ 69866 h 77152"/>
                <a:gd name="connsiteX8" fmla="*/ 13287 w 34290"/>
                <a:gd name="connsiteY8" fmla="*/ 69866 h 77152"/>
                <a:gd name="connsiteX9" fmla="*/ 13287 w 34290"/>
                <a:gd name="connsiteY9" fmla="*/ 13287 h 77152"/>
                <a:gd name="connsiteX10" fmla="*/ 6429 w 34290"/>
                <a:gd name="connsiteY10" fmla="*/ 13287 h 77152"/>
                <a:gd name="connsiteX11" fmla="*/ 6429 w 34290"/>
                <a:gd name="connsiteY11" fmla="*/ 6429 h 77152"/>
                <a:gd name="connsiteX12" fmla="*/ 28718 w 34290"/>
                <a:gd name="connsiteY12" fmla="*/ 6429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290" h="77152">
                  <a:moveTo>
                    <a:pt x="28718" y="6429"/>
                  </a:moveTo>
                  <a:lnTo>
                    <a:pt x="28718" y="13287"/>
                  </a:lnTo>
                  <a:lnTo>
                    <a:pt x="21860" y="13287"/>
                  </a:lnTo>
                  <a:lnTo>
                    <a:pt x="21860" y="69866"/>
                  </a:lnTo>
                  <a:lnTo>
                    <a:pt x="28718" y="69866"/>
                  </a:lnTo>
                  <a:lnTo>
                    <a:pt x="28718" y="76724"/>
                  </a:lnTo>
                  <a:lnTo>
                    <a:pt x="6429" y="76724"/>
                  </a:lnTo>
                  <a:lnTo>
                    <a:pt x="6429" y="69866"/>
                  </a:lnTo>
                  <a:lnTo>
                    <a:pt x="13287" y="69866"/>
                  </a:lnTo>
                  <a:lnTo>
                    <a:pt x="13287" y="13287"/>
                  </a:lnTo>
                  <a:lnTo>
                    <a:pt x="6429" y="13287"/>
                  </a:lnTo>
                  <a:lnTo>
                    <a:pt x="6429" y="6429"/>
                  </a:lnTo>
                  <a:lnTo>
                    <a:pt x="28718" y="6429"/>
                  </a:lnTo>
                  <a:close/>
                </a:path>
              </a:pathLst>
            </a:custGeom>
            <a:grpFill/>
            <a:ln w="9525" cap="flat">
              <a:noFill/>
              <a:prstDash val="solid"/>
              <a:miter/>
            </a:ln>
          </p:spPr>
          <p:txBody>
            <a:bodyPr rtlCol="0" anchor="ctr"/>
            <a:lstStyle/>
            <a:p>
              <a:endParaRPr lang="zh-CN" altLang="en-US"/>
            </a:p>
          </p:txBody>
        </p:sp>
        <p:sp>
          <p:nvSpPr>
            <p:cNvPr id="48" name="任意多边形: 形状 47">
              <a:extLst>
                <a:ext uri="{FF2B5EF4-FFF2-40B4-BE49-F238E27FC236}">
                  <a16:creationId xmlns:a16="http://schemas.microsoft.com/office/drawing/2014/main" id="{4B7FF2D8-BF3F-437E-A2A6-AB6A65A06214}"/>
                </a:ext>
              </a:extLst>
            </p:cNvPr>
            <p:cNvSpPr/>
            <p:nvPr/>
          </p:nvSpPr>
          <p:spPr>
            <a:xfrm>
              <a:off x="8912152" y="5981864"/>
              <a:ext cx="57630" cy="82327"/>
            </a:xfrm>
            <a:custGeom>
              <a:avLst/>
              <a:gdLst>
                <a:gd name="connsiteX0" fmla="*/ 59579 w 60007"/>
                <a:gd name="connsiteY0" fmla="*/ 75009 h 85725"/>
                <a:gd name="connsiteX1" fmla="*/ 39862 w 60007"/>
                <a:gd name="connsiteY1" fmla="*/ 79296 h 85725"/>
                <a:gd name="connsiteX2" fmla="*/ 15859 w 60007"/>
                <a:gd name="connsiteY2" fmla="*/ 69866 h 85725"/>
                <a:gd name="connsiteX3" fmla="*/ 6429 w 60007"/>
                <a:gd name="connsiteY3" fmla="*/ 44148 h 85725"/>
                <a:gd name="connsiteX4" fmla="*/ 16716 w 60007"/>
                <a:gd name="connsiteY4" fmla="*/ 16716 h 85725"/>
                <a:gd name="connsiteX5" fmla="*/ 42434 w 60007"/>
                <a:gd name="connsiteY5" fmla="*/ 6429 h 85725"/>
                <a:gd name="connsiteX6" fmla="*/ 58722 w 60007"/>
                <a:gd name="connsiteY6" fmla="*/ 9001 h 85725"/>
                <a:gd name="connsiteX7" fmla="*/ 58722 w 60007"/>
                <a:gd name="connsiteY7" fmla="*/ 17574 h 85725"/>
                <a:gd name="connsiteX8" fmla="*/ 41577 w 60007"/>
                <a:gd name="connsiteY8" fmla="*/ 13288 h 85725"/>
                <a:gd name="connsiteX9" fmla="*/ 21860 w 60007"/>
                <a:gd name="connsiteY9" fmla="*/ 21860 h 85725"/>
                <a:gd name="connsiteX10" fmla="*/ 14145 w 60007"/>
                <a:gd name="connsiteY10" fmla="*/ 43291 h 85725"/>
                <a:gd name="connsiteX11" fmla="*/ 21003 w 60007"/>
                <a:gd name="connsiteY11" fmla="*/ 63865 h 85725"/>
                <a:gd name="connsiteX12" fmla="*/ 39862 w 60007"/>
                <a:gd name="connsiteY12" fmla="*/ 71580 h 85725"/>
                <a:gd name="connsiteX13" fmla="*/ 58722 w 60007"/>
                <a:gd name="connsiteY13" fmla="*/ 66437 h 85725"/>
                <a:gd name="connsiteX14" fmla="*/ 58722 w 60007"/>
                <a:gd name="connsiteY14" fmla="*/ 7500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007" h="85725">
                  <a:moveTo>
                    <a:pt x="59579" y="75009"/>
                  </a:moveTo>
                  <a:cubicBezTo>
                    <a:pt x="54435" y="77581"/>
                    <a:pt x="47577" y="79296"/>
                    <a:pt x="39862" y="79296"/>
                  </a:cubicBezTo>
                  <a:cubicBezTo>
                    <a:pt x="29575" y="79296"/>
                    <a:pt x="21860" y="75867"/>
                    <a:pt x="15859" y="69866"/>
                  </a:cubicBezTo>
                  <a:cubicBezTo>
                    <a:pt x="9858" y="63008"/>
                    <a:pt x="6429" y="55293"/>
                    <a:pt x="6429" y="44148"/>
                  </a:cubicBezTo>
                  <a:cubicBezTo>
                    <a:pt x="6429" y="33004"/>
                    <a:pt x="9858" y="23574"/>
                    <a:pt x="16716" y="16716"/>
                  </a:cubicBezTo>
                  <a:cubicBezTo>
                    <a:pt x="23574" y="9858"/>
                    <a:pt x="32147" y="6429"/>
                    <a:pt x="42434" y="6429"/>
                  </a:cubicBezTo>
                  <a:cubicBezTo>
                    <a:pt x="49292" y="6429"/>
                    <a:pt x="54435" y="7287"/>
                    <a:pt x="58722" y="9001"/>
                  </a:cubicBezTo>
                  <a:lnTo>
                    <a:pt x="58722" y="17574"/>
                  </a:lnTo>
                  <a:cubicBezTo>
                    <a:pt x="53578" y="15002"/>
                    <a:pt x="48435" y="13288"/>
                    <a:pt x="41577" y="13288"/>
                  </a:cubicBezTo>
                  <a:cubicBezTo>
                    <a:pt x="33861" y="13288"/>
                    <a:pt x="27003" y="15859"/>
                    <a:pt x="21860" y="21860"/>
                  </a:cubicBezTo>
                  <a:cubicBezTo>
                    <a:pt x="16716" y="27003"/>
                    <a:pt x="14145" y="34719"/>
                    <a:pt x="14145" y="43291"/>
                  </a:cubicBezTo>
                  <a:cubicBezTo>
                    <a:pt x="14145" y="51864"/>
                    <a:pt x="16716" y="58722"/>
                    <a:pt x="21003" y="63865"/>
                  </a:cubicBezTo>
                  <a:cubicBezTo>
                    <a:pt x="25289" y="69009"/>
                    <a:pt x="32147" y="71580"/>
                    <a:pt x="39862" y="71580"/>
                  </a:cubicBezTo>
                  <a:cubicBezTo>
                    <a:pt x="46720" y="71580"/>
                    <a:pt x="52721" y="69866"/>
                    <a:pt x="58722" y="66437"/>
                  </a:cubicBezTo>
                  <a:lnTo>
                    <a:pt x="58722" y="75009"/>
                  </a:lnTo>
                  <a:close/>
                </a:path>
              </a:pathLst>
            </a:custGeom>
            <a:grpFill/>
            <a:ln w="9525" cap="flat">
              <a:noFill/>
              <a:prstDash val="solid"/>
              <a:miter/>
            </a:ln>
          </p:spPr>
          <p:txBody>
            <a:bodyPr rtlCol="0" anchor="ctr"/>
            <a:lstStyle/>
            <a:p>
              <a:endParaRPr lang="zh-CN" altLang="en-US"/>
            </a:p>
          </p:txBody>
        </p:sp>
        <p:sp>
          <p:nvSpPr>
            <p:cNvPr id="49" name="任意多边形: 形状 48">
              <a:extLst>
                <a:ext uri="{FF2B5EF4-FFF2-40B4-BE49-F238E27FC236}">
                  <a16:creationId xmlns:a16="http://schemas.microsoft.com/office/drawing/2014/main" id="{5C9C40C0-05A3-4A02-93D1-F64D05DFDEBE}"/>
                </a:ext>
              </a:extLst>
            </p:cNvPr>
            <p:cNvSpPr/>
            <p:nvPr/>
          </p:nvSpPr>
          <p:spPr>
            <a:xfrm>
              <a:off x="9055403" y="5809800"/>
              <a:ext cx="181120" cy="246982"/>
            </a:xfrm>
            <a:custGeom>
              <a:avLst/>
              <a:gdLst>
                <a:gd name="connsiteX0" fmla="*/ 93012 w 188595"/>
                <a:gd name="connsiteY0" fmla="*/ 257604 h 257175"/>
                <a:gd name="connsiteX1" fmla="*/ 6429 w 188595"/>
                <a:gd name="connsiteY1" fmla="*/ 135874 h 257175"/>
                <a:gd name="connsiteX2" fmla="*/ 29575 w 188595"/>
                <a:gd name="connsiteY2" fmla="*/ 39862 h 257175"/>
                <a:gd name="connsiteX3" fmla="*/ 97298 w 188595"/>
                <a:gd name="connsiteY3" fmla="*/ 6429 h 257175"/>
                <a:gd name="connsiteX4" fmla="*/ 182166 w 188595"/>
                <a:gd name="connsiteY4" fmla="*/ 129873 h 257175"/>
                <a:gd name="connsiteX5" fmla="*/ 159020 w 188595"/>
                <a:gd name="connsiteY5" fmla="*/ 224171 h 257175"/>
                <a:gd name="connsiteX6" fmla="*/ 93012 w 188595"/>
                <a:gd name="connsiteY6" fmla="*/ 257604 h 257175"/>
                <a:gd name="connsiteX7" fmla="*/ 95583 w 188595"/>
                <a:gd name="connsiteY7" fmla="*/ 47577 h 257175"/>
                <a:gd name="connsiteX8" fmla="*/ 60436 w 188595"/>
                <a:gd name="connsiteY8" fmla="*/ 135017 h 257175"/>
                <a:gd name="connsiteX9" fmla="*/ 94726 w 188595"/>
                <a:gd name="connsiteY9" fmla="*/ 217313 h 257175"/>
                <a:gd name="connsiteX10" fmla="*/ 128159 w 188595"/>
                <a:gd name="connsiteY10" fmla="*/ 132445 h 257175"/>
                <a:gd name="connsiteX11" fmla="*/ 95583 w 188595"/>
                <a:gd name="connsiteY11" fmla="*/ 4757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8595" h="257175">
                  <a:moveTo>
                    <a:pt x="93012" y="257604"/>
                  </a:moveTo>
                  <a:cubicBezTo>
                    <a:pt x="35576" y="257604"/>
                    <a:pt x="6429" y="217313"/>
                    <a:pt x="6429" y="135874"/>
                  </a:cubicBezTo>
                  <a:cubicBezTo>
                    <a:pt x="6429" y="93869"/>
                    <a:pt x="14145" y="61293"/>
                    <a:pt x="29575" y="39862"/>
                  </a:cubicBezTo>
                  <a:cubicBezTo>
                    <a:pt x="45006" y="17574"/>
                    <a:pt x="68151" y="6429"/>
                    <a:pt x="97298" y="6429"/>
                  </a:cubicBezTo>
                  <a:cubicBezTo>
                    <a:pt x="153876" y="6429"/>
                    <a:pt x="182166" y="47577"/>
                    <a:pt x="182166" y="129873"/>
                  </a:cubicBezTo>
                  <a:cubicBezTo>
                    <a:pt x="182166" y="171021"/>
                    <a:pt x="174450" y="202740"/>
                    <a:pt x="159020" y="224171"/>
                  </a:cubicBezTo>
                  <a:cubicBezTo>
                    <a:pt x="144447" y="247317"/>
                    <a:pt x="122158" y="257604"/>
                    <a:pt x="93012" y="257604"/>
                  </a:cubicBezTo>
                  <a:close/>
                  <a:moveTo>
                    <a:pt x="95583" y="47577"/>
                  </a:moveTo>
                  <a:cubicBezTo>
                    <a:pt x="72438" y="47577"/>
                    <a:pt x="60436" y="76724"/>
                    <a:pt x="60436" y="135017"/>
                  </a:cubicBezTo>
                  <a:cubicBezTo>
                    <a:pt x="60436" y="189881"/>
                    <a:pt x="71580" y="217313"/>
                    <a:pt x="94726" y="217313"/>
                  </a:cubicBezTo>
                  <a:cubicBezTo>
                    <a:pt x="117015" y="217313"/>
                    <a:pt x="128159" y="189024"/>
                    <a:pt x="128159" y="132445"/>
                  </a:cubicBezTo>
                  <a:cubicBezTo>
                    <a:pt x="128159" y="75867"/>
                    <a:pt x="117015" y="47577"/>
                    <a:pt x="95583" y="47577"/>
                  </a:cubicBezTo>
                  <a:close/>
                </a:path>
              </a:pathLst>
            </a:custGeom>
            <a:grpFill/>
            <a:ln w="9525" cap="flat">
              <a:noFill/>
              <a:prstDash val="solid"/>
              <a:miter/>
            </a:ln>
          </p:spPr>
          <p:txBody>
            <a:bodyPr rtlCol="0" anchor="ctr"/>
            <a:lstStyle/>
            <a:p>
              <a:endParaRPr lang="zh-CN" altLang="en-US"/>
            </a:p>
          </p:txBody>
        </p:sp>
        <p:sp>
          <p:nvSpPr>
            <p:cNvPr id="51" name="任意多边形: 形状 50">
              <a:extLst>
                <a:ext uri="{FF2B5EF4-FFF2-40B4-BE49-F238E27FC236}">
                  <a16:creationId xmlns:a16="http://schemas.microsoft.com/office/drawing/2014/main" id="{2F218E71-2BFF-434C-A0C1-719FFB78654C}"/>
                </a:ext>
              </a:extLst>
            </p:cNvPr>
            <p:cNvSpPr/>
            <p:nvPr/>
          </p:nvSpPr>
          <p:spPr>
            <a:xfrm>
              <a:off x="9084217" y="5303487"/>
              <a:ext cx="279913" cy="337542"/>
            </a:xfrm>
            <a:custGeom>
              <a:avLst/>
              <a:gdLst>
                <a:gd name="connsiteX0" fmla="*/ 150447 w 291465"/>
                <a:gd name="connsiteY0" fmla="*/ 6429 h 351472"/>
                <a:gd name="connsiteX1" fmla="*/ 6429 w 291465"/>
                <a:gd name="connsiteY1" fmla="*/ 150447 h 351472"/>
                <a:gd name="connsiteX2" fmla="*/ 43291 w 291465"/>
                <a:gd name="connsiteY2" fmla="*/ 246459 h 351472"/>
                <a:gd name="connsiteX3" fmla="*/ 43291 w 291465"/>
                <a:gd name="connsiteY3" fmla="*/ 246459 h 351472"/>
                <a:gd name="connsiteX4" fmla="*/ 44148 w 291465"/>
                <a:gd name="connsiteY4" fmla="*/ 247317 h 351472"/>
                <a:gd name="connsiteX5" fmla="*/ 50149 w 291465"/>
                <a:gd name="connsiteY5" fmla="*/ 254175 h 351472"/>
                <a:gd name="connsiteX6" fmla="*/ 83582 w 291465"/>
                <a:gd name="connsiteY6" fmla="*/ 295323 h 351472"/>
                <a:gd name="connsiteX7" fmla="*/ 124730 w 291465"/>
                <a:gd name="connsiteY7" fmla="*/ 352758 h 351472"/>
                <a:gd name="connsiteX8" fmla="*/ 146161 w 291465"/>
                <a:gd name="connsiteY8" fmla="*/ 352758 h 351472"/>
                <a:gd name="connsiteX9" fmla="*/ 153019 w 291465"/>
                <a:gd name="connsiteY9" fmla="*/ 352758 h 351472"/>
                <a:gd name="connsiteX10" fmla="*/ 174450 w 291465"/>
                <a:gd name="connsiteY10" fmla="*/ 352758 h 351472"/>
                <a:gd name="connsiteX11" fmla="*/ 215598 w 291465"/>
                <a:gd name="connsiteY11" fmla="*/ 295323 h 351472"/>
                <a:gd name="connsiteX12" fmla="*/ 247317 w 291465"/>
                <a:gd name="connsiteY12" fmla="*/ 255032 h 351472"/>
                <a:gd name="connsiteX13" fmla="*/ 291894 w 291465"/>
                <a:gd name="connsiteY13" fmla="*/ 151305 h 351472"/>
                <a:gd name="connsiteX14" fmla="*/ 150447 w 291465"/>
                <a:gd name="connsiteY14" fmla="*/ 6429 h 351472"/>
                <a:gd name="connsiteX15" fmla="*/ 203597 w 291465"/>
                <a:gd name="connsiteY15" fmla="*/ 213884 h 351472"/>
                <a:gd name="connsiteX16" fmla="*/ 186452 w 291465"/>
                <a:gd name="connsiteY16" fmla="*/ 237030 h 351472"/>
                <a:gd name="connsiteX17" fmla="*/ 164163 w 291465"/>
                <a:gd name="connsiteY17" fmla="*/ 270462 h 351472"/>
                <a:gd name="connsiteX18" fmla="*/ 152162 w 291465"/>
                <a:gd name="connsiteY18" fmla="*/ 270462 h 351472"/>
                <a:gd name="connsiteX19" fmla="*/ 147876 w 291465"/>
                <a:gd name="connsiteY19" fmla="*/ 270462 h 351472"/>
                <a:gd name="connsiteX20" fmla="*/ 135874 w 291465"/>
                <a:gd name="connsiteY20" fmla="*/ 270462 h 351472"/>
                <a:gd name="connsiteX21" fmla="*/ 113586 w 291465"/>
                <a:gd name="connsiteY21" fmla="*/ 237030 h 351472"/>
                <a:gd name="connsiteX22" fmla="*/ 95583 w 291465"/>
                <a:gd name="connsiteY22" fmla="*/ 213027 h 351472"/>
                <a:gd name="connsiteX23" fmla="*/ 92154 w 291465"/>
                <a:gd name="connsiteY23" fmla="*/ 209598 h 351472"/>
                <a:gd name="connsiteX24" fmla="*/ 92154 w 291465"/>
                <a:gd name="connsiteY24" fmla="*/ 209598 h 351472"/>
                <a:gd name="connsiteX25" fmla="*/ 92154 w 291465"/>
                <a:gd name="connsiteY25" fmla="*/ 209598 h 351472"/>
                <a:gd name="connsiteX26" fmla="*/ 72438 w 291465"/>
                <a:gd name="connsiteY26" fmla="*/ 154734 h 351472"/>
                <a:gd name="connsiteX27" fmla="*/ 150447 w 291465"/>
                <a:gd name="connsiteY27" fmla="*/ 72438 h 351472"/>
                <a:gd name="connsiteX28" fmla="*/ 228457 w 291465"/>
                <a:gd name="connsiteY28" fmla="*/ 154734 h 351472"/>
                <a:gd name="connsiteX29" fmla="*/ 203597 w 291465"/>
                <a:gd name="connsiteY29" fmla="*/ 213884 h 351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1465" h="351472">
                  <a:moveTo>
                    <a:pt x="150447" y="6429"/>
                  </a:moveTo>
                  <a:cubicBezTo>
                    <a:pt x="70723" y="6429"/>
                    <a:pt x="6429" y="70723"/>
                    <a:pt x="6429" y="150447"/>
                  </a:cubicBezTo>
                  <a:cubicBezTo>
                    <a:pt x="6429" y="187309"/>
                    <a:pt x="20145" y="220742"/>
                    <a:pt x="43291" y="246459"/>
                  </a:cubicBezTo>
                  <a:lnTo>
                    <a:pt x="43291" y="246459"/>
                  </a:lnTo>
                  <a:cubicBezTo>
                    <a:pt x="43291" y="246459"/>
                    <a:pt x="43291" y="246459"/>
                    <a:pt x="44148" y="247317"/>
                  </a:cubicBezTo>
                  <a:cubicBezTo>
                    <a:pt x="45863" y="249888"/>
                    <a:pt x="48435" y="251603"/>
                    <a:pt x="50149" y="254175"/>
                  </a:cubicBezTo>
                  <a:cubicBezTo>
                    <a:pt x="58722" y="263604"/>
                    <a:pt x="73295" y="279892"/>
                    <a:pt x="83582" y="295323"/>
                  </a:cubicBezTo>
                  <a:cubicBezTo>
                    <a:pt x="98155" y="319326"/>
                    <a:pt x="91297" y="352758"/>
                    <a:pt x="124730" y="352758"/>
                  </a:cubicBezTo>
                  <a:lnTo>
                    <a:pt x="146161" y="352758"/>
                  </a:lnTo>
                  <a:lnTo>
                    <a:pt x="153019" y="352758"/>
                  </a:lnTo>
                  <a:lnTo>
                    <a:pt x="174450" y="352758"/>
                  </a:lnTo>
                  <a:cubicBezTo>
                    <a:pt x="208740" y="352758"/>
                    <a:pt x="201025" y="319326"/>
                    <a:pt x="215598" y="295323"/>
                  </a:cubicBezTo>
                  <a:cubicBezTo>
                    <a:pt x="225028" y="279892"/>
                    <a:pt x="238744" y="264462"/>
                    <a:pt x="247317" y="255032"/>
                  </a:cubicBezTo>
                  <a:cubicBezTo>
                    <a:pt x="274749" y="228457"/>
                    <a:pt x="291894" y="191595"/>
                    <a:pt x="291894" y="151305"/>
                  </a:cubicBezTo>
                  <a:cubicBezTo>
                    <a:pt x="294465" y="70723"/>
                    <a:pt x="230172" y="6429"/>
                    <a:pt x="150447" y="6429"/>
                  </a:cubicBezTo>
                  <a:close/>
                  <a:moveTo>
                    <a:pt x="203597" y="213884"/>
                  </a:moveTo>
                  <a:cubicBezTo>
                    <a:pt x="199311" y="219027"/>
                    <a:pt x="191595" y="228457"/>
                    <a:pt x="186452" y="237030"/>
                  </a:cubicBezTo>
                  <a:cubicBezTo>
                    <a:pt x="178737" y="250746"/>
                    <a:pt x="182166" y="270462"/>
                    <a:pt x="164163" y="270462"/>
                  </a:cubicBezTo>
                  <a:lnTo>
                    <a:pt x="152162" y="270462"/>
                  </a:lnTo>
                  <a:lnTo>
                    <a:pt x="147876" y="270462"/>
                  </a:lnTo>
                  <a:lnTo>
                    <a:pt x="135874" y="270462"/>
                  </a:lnTo>
                  <a:cubicBezTo>
                    <a:pt x="117015" y="270462"/>
                    <a:pt x="121301" y="250746"/>
                    <a:pt x="113586" y="237030"/>
                  </a:cubicBezTo>
                  <a:cubicBezTo>
                    <a:pt x="108442" y="227600"/>
                    <a:pt x="99870" y="218170"/>
                    <a:pt x="95583" y="213027"/>
                  </a:cubicBezTo>
                  <a:cubicBezTo>
                    <a:pt x="94726" y="212169"/>
                    <a:pt x="93012" y="210455"/>
                    <a:pt x="92154" y="209598"/>
                  </a:cubicBezTo>
                  <a:cubicBezTo>
                    <a:pt x="92154" y="209598"/>
                    <a:pt x="92154" y="209598"/>
                    <a:pt x="92154" y="209598"/>
                  </a:cubicBezTo>
                  <a:lnTo>
                    <a:pt x="92154" y="209598"/>
                  </a:lnTo>
                  <a:cubicBezTo>
                    <a:pt x="80153" y="195024"/>
                    <a:pt x="72438" y="175308"/>
                    <a:pt x="72438" y="154734"/>
                  </a:cubicBezTo>
                  <a:cubicBezTo>
                    <a:pt x="72438" y="109299"/>
                    <a:pt x="107585" y="72438"/>
                    <a:pt x="150447" y="72438"/>
                  </a:cubicBezTo>
                  <a:cubicBezTo>
                    <a:pt x="193310" y="72438"/>
                    <a:pt x="228457" y="109299"/>
                    <a:pt x="228457" y="154734"/>
                  </a:cubicBezTo>
                  <a:cubicBezTo>
                    <a:pt x="228457" y="177879"/>
                    <a:pt x="219027" y="198453"/>
                    <a:pt x="203597" y="213884"/>
                  </a:cubicBezTo>
                  <a:close/>
                </a:path>
              </a:pathLst>
            </a:custGeom>
            <a:grpFill/>
            <a:ln w="9525" cap="flat">
              <a:noFill/>
              <a:prstDash val="solid"/>
              <a:miter/>
            </a:ln>
          </p:spPr>
          <p:txBody>
            <a:bodyPr rtlCol="0" anchor="ctr"/>
            <a:lstStyle/>
            <a:p>
              <a:endParaRPr lang="zh-CN" altLang="en-US"/>
            </a:p>
          </p:txBody>
        </p:sp>
        <p:sp>
          <p:nvSpPr>
            <p:cNvPr id="55" name="任意多边形: 形状 54">
              <a:extLst>
                <a:ext uri="{FF2B5EF4-FFF2-40B4-BE49-F238E27FC236}">
                  <a16:creationId xmlns:a16="http://schemas.microsoft.com/office/drawing/2014/main" id="{E2DDCD33-C60B-4E77-A691-CFB5C994A3E4}"/>
                </a:ext>
              </a:extLst>
            </p:cNvPr>
            <p:cNvSpPr/>
            <p:nvPr/>
          </p:nvSpPr>
          <p:spPr>
            <a:xfrm>
              <a:off x="7987617" y="6114412"/>
              <a:ext cx="1399565"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grpFill/>
            <a:ln w="9525" cap="flat">
              <a:noFill/>
              <a:prstDash val="solid"/>
              <a:miter/>
            </a:ln>
          </p:spPr>
          <p:txBody>
            <a:bodyPr rtlCol="0" anchor="ctr"/>
            <a:lstStyle/>
            <a:p>
              <a:endParaRPr lang="zh-CN" altLang="en-US"/>
            </a:p>
          </p:txBody>
        </p:sp>
        <p:sp>
          <p:nvSpPr>
            <p:cNvPr id="56" name="任意多边形: 形状 55">
              <a:extLst>
                <a:ext uri="{FF2B5EF4-FFF2-40B4-BE49-F238E27FC236}">
                  <a16:creationId xmlns:a16="http://schemas.microsoft.com/office/drawing/2014/main" id="{09DDAB59-DBE3-4327-A44D-77AA27A98802}"/>
                </a:ext>
              </a:extLst>
            </p:cNvPr>
            <p:cNvSpPr/>
            <p:nvPr/>
          </p:nvSpPr>
          <p:spPr>
            <a:xfrm>
              <a:off x="7987617" y="6279066"/>
              <a:ext cx="1399565"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grpFill/>
            <a:ln w="9525" cap="flat">
              <a:noFill/>
              <a:prstDash val="solid"/>
              <a:miter/>
            </a:ln>
          </p:spPr>
          <p:txBody>
            <a:bodyPr rtlCol="0" anchor="ctr"/>
            <a:lstStyle/>
            <a:p>
              <a:endParaRPr lang="zh-CN" altLang="en-US"/>
            </a:p>
          </p:txBody>
        </p:sp>
        <p:sp>
          <p:nvSpPr>
            <p:cNvPr id="57" name="任意多边形: 形状 56">
              <a:extLst>
                <a:ext uri="{FF2B5EF4-FFF2-40B4-BE49-F238E27FC236}">
                  <a16:creationId xmlns:a16="http://schemas.microsoft.com/office/drawing/2014/main" id="{7EB28134-C1B6-4F92-B9D3-95905613F977}"/>
                </a:ext>
              </a:extLst>
            </p:cNvPr>
            <p:cNvSpPr/>
            <p:nvPr/>
          </p:nvSpPr>
          <p:spPr>
            <a:xfrm>
              <a:off x="7987617" y="6443721"/>
              <a:ext cx="1399565"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grpFill/>
            <a:ln w="9525" cap="flat">
              <a:noFill/>
              <a:prstDash val="solid"/>
              <a:miter/>
            </a:ln>
          </p:spPr>
          <p:txBody>
            <a:bodyPr rtlCol="0" anchor="ctr"/>
            <a:lstStyle/>
            <a:p>
              <a:endParaRPr lang="zh-CN" altLang="en-US"/>
            </a:p>
          </p:txBody>
        </p:sp>
        <p:sp>
          <p:nvSpPr>
            <p:cNvPr id="58" name="任意多边形: 形状 57">
              <a:extLst>
                <a:ext uri="{FF2B5EF4-FFF2-40B4-BE49-F238E27FC236}">
                  <a16:creationId xmlns:a16="http://schemas.microsoft.com/office/drawing/2014/main" id="{314C61AA-C9DF-4D0A-92EF-F37F808C29BC}"/>
                </a:ext>
              </a:extLst>
            </p:cNvPr>
            <p:cNvSpPr/>
            <p:nvPr/>
          </p:nvSpPr>
          <p:spPr>
            <a:xfrm>
              <a:off x="7987617" y="6608376"/>
              <a:ext cx="1399565"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grpFill/>
            <a:ln w="9525" cap="flat">
              <a:noFill/>
              <a:prstDash val="solid"/>
              <a:miter/>
            </a:ln>
          </p:spPr>
          <p:txBody>
            <a:bodyPr rtlCol="0" anchor="ctr"/>
            <a:lstStyle/>
            <a:p>
              <a:endParaRPr lang="zh-CN" altLang="en-US"/>
            </a:p>
          </p:txBody>
        </p:sp>
        <p:sp>
          <p:nvSpPr>
            <p:cNvPr id="59" name="任意多边形: 形状 58">
              <a:extLst>
                <a:ext uri="{FF2B5EF4-FFF2-40B4-BE49-F238E27FC236}">
                  <a16:creationId xmlns:a16="http://schemas.microsoft.com/office/drawing/2014/main" id="{070C0DB8-2AF5-489F-B7EB-F406FEFC8C97}"/>
                </a:ext>
              </a:extLst>
            </p:cNvPr>
            <p:cNvSpPr/>
            <p:nvPr/>
          </p:nvSpPr>
          <p:spPr>
            <a:xfrm>
              <a:off x="8555675" y="6773030"/>
              <a:ext cx="831507" cy="24699"/>
            </a:xfrm>
            <a:custGeom>
              <a:avLst/>
              <a:gdLst>
                <a:gd name="connsiteX0" fmla="*/ 6429 w 865822"/>
                <a:gd name="connsiteY0" fmla="*/ 6429 h 25717"/>
                <a:gd name="connsiteX1" fmla="*/ 863679 w 865822"/>
                <a:gd name="connsiteY1" fmla="*/ 6429 h 25717"/>
                <a:gd name="connsiteX2" fmla="*/ 863679 w 865822"/>
                <a:gd name="connsiteY2" fmla="*/ 23574 h 25717"/>
                <a:gd name="connsiteX3" fmla="*/ 6429 w 865822"/>
                <a:gd name="connsiteY3" fmla="*/ 23574 h 25717"/>
              </a:gdLst>
              <a:ahLst/>
              <a:cxnLst>
                <a:cxn ang="0">
                  <a:pos x="connsiteX0" y="connsiteY0"/>
                </a:cxn>
                <a:cxn ang="0">
                  <a:pos x="connsiteX1" y="connsiteY1"/>
                </a:cxn>
                <a:cxn ang="0">
                  <a:pos x="connsiteX2" y="connsiteY2"/>
                </a:cxn>
                <a:cxn ang="0">
                  <a:pos x="connsiteX3" y="connsiteY3"/>
                </a:cxn>
              </a:cxnLst>
              <a:rect l="l" t="t" r="r" b="b"/>
              <a:pathLst>
                <a:path w="865822" h="25717">
                  <a:moveTo>
                    <a:pt x="6429" y="6429"/>
                  </a:moveTo>
                  <a:lnTo>
                    <a:pt x="863679" y="6429"/>
                  </a:lnTo>
                  <a:lnTo>
                    <a:pt x="863679" y="23574"/>
                  </a:lnTo>
                  <a:lnTo>
                    <a:pt x="6429" y="23574"/>
                  </a:lnTo>
                  <a:close/>
                </a:path>
              </a:pathLst>
            </a:custGeom>
            <a:grpFill/>
            <a:ln w="9525" cap="flat">
              <a:noFill/>
              <a:prstDash val="solid"/>
              <a:miter/>
            </a:ln>
          </p:spPr>
          <p:txBody>
            <a:bodyPr rtlCol="0" anchor="ctr"/>
            <a:lstStyle/>
            <a:p>
              <a:endParaRPr lang="zh-CN" altLang="en-US"/>
            </a:p>
          </p:txBody>
        </p:sp>
        <p:sp>
          <p:nvSpPr>
            <p:cNvPr id="129" name="任意多边形: 形状 81">
              <a:extLst>
                <a:ext uri="{FF2B5EF4-FFF2-40B4-BE49-F238E27FC236}">
                  <a16:creationId xmlns:a16="http://schemas.microsoft.com/office/drawing/2014/main" id="{29B34AA6-599A-4D86-8109-60B8ACB213AB}"/>
                </a:ext>
              </a:extLst>
            </p:cNvPr>
            <p:cNvSpPr/>
            <p:nvPr userDrawn="1"/>
          </p:nvSpPr>
          <p:spPr>
            <a:xfrm>
              <a:off x="9270277" y="5808977"/>
              <a:ext cx="172888" cy="255215"/>
            </a:xfrm>
            <a:custGeom>
              <a:avLst/>
              <a:gdLst>
                <a:gd name="connsiteX0" fmla="*/ 68151 w 180022"/>
                <a:gd name="connsiteY0" fmla="*/ 219027 h 265747"/>
                <a:gd name="connsiteX1" fmla="*/ 177022 w 180022"/>
                <a:gd name="connsiteY1" fmla="*/ 219027 h 265747"/>
                <a:gd name="connsiteX2" fmla="*/ 177022 w 180022"/>
                <a:gd name="connsiteY2" fmla="*/ 266176 h 265747"/>
                <a:gd name="connsiteX3" fmla="*/ 6429 w 180022"/>
                <a:gd name="connsiteY3" fmla="*/ 266176 h 265747"/>
                <a:gd name="connsiteX4" fmla="*/ 6429 w 180022"/>
                <a:gd name="connsiteY4" fmla="*/ 247317 h 265747"/>
                <a:gd name="connsiteX5" fmla="*/ 13288 w 180022"/>
                <a:gd name="connsiteY5" fmla="*/ 212169 h 265747"/>
                <a:gd name="connsiteX6" fmla="*/ 29575 w 180022"/>
                <a:gd name="connsiteY6" fmla="*/ 183880 h 265747"/>
                <a:gd name="connsiteX7" fmla="*/ 51864 w 180022"/>
                <a:gd name="connsiteY7" fmla="*/ 161592 h 265747"/>
                <a:gd name="connsiteX8" fmla="*/ 74152 w 180022"/>
                <a:gd name="connsiteY8" fmla="*/ 144447 h 265747"/>
                <a:gd name="connsiteX9" fmla="*/ 93869 w 180022"/>
                <a:gd name="connsiteY9" fmla="*/ 129016 h 265747"/>
                <a:gd name="connsiteX10" fmla="*/ 108442 w 180022"/>
                <a:gd name="connsiteY10" fmla="*/ 114443 h 265747"/>
                <a:gd name="connsiteX11" fmla="*/ 117015 w 180022"/>
                <a:gd name="connsiteY11" fmla="*/ 99870 h 265747"/>
                <a:gd name="connsiteX12" fmla="*/ 119586 w 180022"/>
                <a:gd name="connsiteY12" fmla="*/ 84439 h 265747"/>
                <a:gd name="connsiteX13" fmla="*/ 110157 w 180022"/>
                <a:gd name="connsiteY13" fmla="*/ 59579 h 265747"/>
                <a:gd name="connsiteX14" fmla="*/ 81868 w 180022"/>
                <a:gd name="connsiteY14" fmla="*/ 51006 h 265747"/>
                <a:gd name="connsiteX15" fmla="*/ 18431 w 180022"/>
                <a:gd name="connsiteY15" fmla="*/ 77581 h 265747"/>
                <a:gd name="connsiteX16" fmla="*/ 18431 w 180022"/>
                <a:gd name="connsiteY16" fmla="*/ 27861 h 265747"/>
                <a:gd name="connsiteX17" fmla="*/ 93869 w 180022"/>
                <a:gd name="connsiteY17" fmla="*/ 6429 h 265747"/>
                <a:gd name="connsiteX18" fmla="*/ 129017 w 180022"/>
                <a:gd name="connsiteY18" fmla="*/ 11573 h 265747"/>
                <a:gd name="connsiteX19" fmla="*/ 155591 w 180022"/>
                <a:gd name="connsiteY19" fmla="*/ 26146 h 265747"/>
                <a:gd name="connsiteX20" fmla="*/ 171879 w 180022"/>
                <a:gd name="connsiteY20" fmla="*/ 49292 h 265747"/>
                <a:gd name="connsiteX21" fmla="*/ 177879 w 180022"/>
                <a:gd name="connsiteY21" fmla="*/ 79296 h 265747"/>
                <a:gd name="connsiteX22" fmla="*/ 172736 w 180022"/>
                <a:gd name="connsiteY22" fmla="*/ 111014 h 265747"/>
                <a:gd name="connsiteX23" fmla="*/ 158163 w 180022"/>
                <a:gd name="connsiteY23" fmla="*/ 135874 h 265747"/>
                <a:gd name="connsiteX24" fmla="*/ 137589 w 180022"/>
                <a:gd name="connsiteY24" fmla="*/ 156448 h 265747"/>
                <a:gd name="connsiteX25" fmla="*/ 112729 w 180022"/>
                <a:gd name="connsiteY25" fmla="*/ 174450 h 265747"/>
                <a:gd name="connsiteX26" fmla="*/ 96441 w 180022"/>
                <a:gd name="connsiteY26" fmla="*/ 186452 h 265747"/>
                <a:gd name="connsiteX27" fmla="*/ 82725 w 180022"/>
                <a:gd name="connsiteY27" fmla="*/ 198453 h 265747"/>
                <a:gd name="connsiteX28" fmla="*/ 73295 w 180022"/>
                <a:gd name="connsiteY28" fmla="*/ 209598 h 265747"/>
                <a:gd name="connsiteX29" fmla="*/ 68151 w 180022"/>
                <a:gd name="connsiteY29" fmla="*/ 219027 h 26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0022" h="265747">
                  <a:moveTo>
                    <a:pt x="68151" y="219027"/>
                  </a:moveTo>
                  <a:lnTo>
                    <a:pt x="177022" y="219027"/>
                  </a:lnTo>
                  <a:lnTo>
                    <a:pt x="177022" y="266176"/>
                  </a:lnTo>
                  <a:lnTo>
                    <a:pt x="6429" y="266176"/>
                  </a:lnTo>
                  <a:lnTo>
                    <a:pt x="6429" y="247317"/>
                  </a:lnTo>
                  <a:cubicBezTo>
                    <a:pt x="6429" y="234458"/>
                    <a:pt x="9002" y="222456"/>
                    <a:pt x="13288" y="212169"/>
                  </a:cubicBezTo>
                  <a:cubicBezTo>
                    <a:pt x="17574" y="201882"/>
                    <a:pt x="23574" y="192453"/>
                    <a:pt x="29575" y="183880"/>
                  </a:cubicBezTo>
                  <a:cubicBezTo>
                    <a:pt x="36433" y="175308"/>
                    <a:pt x="43292" y="168450"/>
                    <a:pt x="51864" y="161592"/>
                  </a:cubicBezTo>
                  <a:cubicBezTo>
                    <a:pt x="59579" y="155591"/>
                    <a:pt x="67294" y="149590"/>
                    <a:pt x="74152" y="144447"/>
                  </a:cubicBezTo>
                  <a:cubicBezTo>
                    <a:pt x="81868" y="139303"/>
                    <a:pt x="87868" y="134160"/>
                    <a:pt x="93869" y="129016"/>
                  </a:cubicBezTo>
                  <a:cubicBezTo>
                    <a:pt x="99870" y="123873"/>
                    <a:pt x="104156" y="119586"/>
                    <a:pt x="108442" y="114443"/>
                  </a:cubicBezTo>
                  <a:cubicBezTo>
                    <a:pt x="112729" y="109299"/>
                    <a:pt x="115300" y="105013"/>
                    <a:pt x="117015" y="99870"/>
                  </a:cubicBezTo>
                  <a:cubicBezTo>
                    <a:pt x="118729" y="94726"/>
                    <a:pt x="119586" y="89583"/>
                    <a:pt x="119586" y="84439"/>
                  </a:cubicBezTo>
                  <a:cubicBezTo>
                    <a:pt x="119586" y="73295"/>
                    <a:pt x="116158" y="65580"/>
                    <a:pt x="110157" y="59579"/>
                  </a:cubicBezTo>
                  <a:cubicBezTo>
                    <a:pt x="104156" y="53578"/>
                    <a:pt x="94727" y="51006"/>
                    <a:pt x="81868" y="51006"/>
                  </a:cubicBezTo>
                  <a:cubicBezTo>
                    <a:pt x="59579" y="51006"/>
                    <a:pt x="39005" y="59579"/>
                    <a:pt x="18431" y="77581"/>
                  </a:cubicBezTo>
                  <a:lnTo>
                    <a:pt x="18431" y="27861"/>
                  </a:lnTo>
                  <a:cubicBezTo>
                    <a:pt x="40719" y="13287"/>
                    <a:pt x="65580" y="6429"/>
                    <a:pt x="93869" y="6429"/>
                  </a:cubicBezTo>
                  <a:cubicBezTo>
                    <a:pt x="106728" y="6429"/>
                    <a:pt x="118729" y="8144"/>
                    <a:pt x="129017" y="11573"/>
                  </a:cubicBezTo>
                  <a:cubicBezTo>
                    <a:pt x="139303" y="15002"/>
                    <a:pt x="147876" y="20145"/>
                    <a:pt x="155591" y="26146"/>
                  </a:cubicBezTo>
                  <a:cubicBezTo>
                    <a:pt x="162449" y="32147"/>
                    <a:pt x="168450" y="39862"/>
                    <a:pt x="171879" y="49292"/>
                  </a:cubicBezTo>
                  <a:cubicBezTo>
                    <a:pt x="175308" y="57864"/>
                    <a:pt x="177879" y="68151"/>
                    <a:pt x="177879" y="79296"/>
                  </a:cubicBezTo>
                  <a:cubicBezTo>
                    <a:pt x="177879" y="91297"/>
                    <a:pt x="176165" y="101584"/>
                    <a:pt x="172736" y="111014"/>
                  </a:cubicBezTo>
                  <a:cubicBezTo>
                    <a:pt x="169307" y="120444"/>
                    <a:pt x="164164" y="128159"/>
                    <a:pt x="158163" y="135874"/>
                  </a:cubicBezTo>
                  <a:cubicBezTo>
                    <a:pt x="152162" y="143589"/>
                    <a:pt x="145304" y="150447"/>
                    <a:pt x="137589" y="156448"/>
                  </a:cubicBezTo>
                  <a:cubicBezTo>
                    <a:pt x="129874" y="162449"/>
                    <a:pt x="121301" y="168450"/>
                    <a:pt x="112729" y="174450"/>
                  </a:cubicBezTo>
                  <a:cubicBezTo>
                    <a:pt x="106728" y="178737"/>
                    <a:pt x="101584" y="182166"/>
                    <a:pt x="96441" y="186452"/>
                  </a:cubicBezTo>
                  <a:cubicBezTo>
                    <a:pt x="91297" y="190738"/>
                    <a:pt x="86154" y="194167"/>
                    <a:pt x="82725" y="198453"/>
                  </a:cubicBezTo>
                  <a:cubicBezTo>
                    <a:pt x="78439" y="202740"/>
                    <a:pt x="75867" y="206169"/>
                    <a:pt x="73295" y="209598"/>
                  </a:cubicBezTo>
                  <a:cubicBezTo>
                    <a:pt x="69866" y="212169"/>
                    <a:pt x="68151" y="216456"/>
                    <a:pt x="68151" y="219027"/>
                  </a:cubicBezTo>
                  <a:close/>
                </a:path>
              </a:pathLst>
            </a:custGeom>
            <a:grpFill/>
            <a:ln w="9525" cap="flat">
              <a:noFill/>
              <a:prstDash val="solid"/>
              <a:miter/>
            </a:ln>
          </p:spPr>
          <p:txBody>
            <a:bodyPr rtlCol="0" anchor="ctr"/>
            <a:lstStyle/>
            <a:p>
              <a:pPr lvl="0"/>
              <a:endParaRPr lang="zh-CN" altLang="en-US" dirty="0"/>
            </a:p>
          </p:txBody>
        </p:sp>
        <p:sp>
          <p:nvSpPr>
            <p:cNvPr id="52" name="任意多边形: 形状 51">
              <a:extLst>
                <a:ext uri="{FF2B5EF4-FFF2-40B4-BE49-F238E27FC236}">
                  <a16:creationId xmlns:a16="http://schemas.microsoft.com/office/drawing/2014/main" id="{67866A4A-6839-4E0C-BCED-DA56D0C87506}"/>
                </a:ext>
              </a:extLst>
            </p:cNvPr>
            <p:cNvSpPr/>
            <p:nvPr userDrawn="1"/>
          </p:nvSpPr>
          <p:spPr>
            <a:xfrm>
              <a:off x="9175600" y="5638481"/>
              <a:ext cx="98793" cy="32931"/>
            </a:xfrm>
            <a:custGeom>
              <a:avLst/>
              <a:gdLst>
                <a:gd name="connsiteX0" fmla="*/ 103299 w 102870"/>
                <a:gd name="connsiteY0" fmla="*/ 17656 h 34290"/>
                <a:gd name="connsiteX1" fmla="*/ 92154 w 102870"/>
                <a:gd name="connsiteY1" fmla="*/ 28800 h 34290"/>
                <a:gd name="connsiteX2" fmla="*/ 16716 w 102870"/>
                <a:gd name="connsiteY2" fmla="*/ 28800 h 34290"/>
                <a:gd name="connsiteX3" fmla="*/ 6429 w 102870"/>
                <a:gd name="connsiteY3" fmla="*/ 17656 h 34290"/>
                <a:gd name="connsiteX4" fmla="*/ 6429 w 102870"/>
                <a:gd name="connsiteY4" fmla="*/ 17656 h 34290"/>
                <a:gd name="connsiteX5" fmla="*/ 16716 w 102870"/>
                <a:gd name="connsiteY5" fmla="*/ 6511 h 34290"/>
                <a:gd name="connsiteX6" fmla="*/ 92154 w 102870"/>
                <a:gd name="connsiteY6" fmla="*/ 6511 h 34290"/>
                <a:gd name="connsiteX7" fmla="*/ 103299 w 102870"/>
                <a:gd name="connsiteY7" fmla="*/ 17656 h 34290"/>
                <a:gd name="connsiteX8" fmla="*/ 103299 w 102870"/>
                <a:gd name="connsiteY8" fmla="*/ 17656 h 3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870" h="34290">
                  <a:moveTo>
                    <a:pt x="103299" y="17656"/>
                  </a:moveTo>
                  <a:cubicBezTo>
                    <a:pt x="103299" y="22799"/>
                    <a:pt x="98155" y="28800"/>
                    <a:pt x="92154" y="28800"/>
                  </a:cubicBezTo>
                  <a:lnTo>
                    <a:pt x="16716" y="28800"/>
                  </a:lnTo>
                  <a:cubicBezTo>
                    <a:pt x="10716" y="28800"/>
                    <a:pt x="6429" y="22799"/>
                    <a:pt x="6429" y="17656"/>
                  </a:cubicBezTo>
                  <a:lnTo>
                    <a:pt x="6429" y="17656"/>
                  </a:lnTo>
                  <a:cubicBezTo>
                    <a:pt x="6429" y="12512"/>
                    <a:pt x="10716" y="6511"/>
                    <a:pt x="16716" y="6511"/>
                  </a:cubicBezTo>
                  <a:lnTo>
                    <a:pt x="92154" y="6511"/>
                  </a:lnTo>
                  <a:cubicBezTo>
                    <a:pt x="98155" y="5654"/>
                    <a:pt x="103299" y="11655"/>
                    <a:pt x="103299" y="17656"/>
                  </a:cubicBezTo>
                  <a:lnTo>
                    <a:pt x="103299" y="17656"/>
                  </a:lnTo>
                  <a:close/>
                </a:path>
              </a:pathLst>
            </a:custGeom>
            <a:grpFill/>
            <a:ln w="9525" cap="flat">
              <a:noFill/>
              <a:prstDash val="solid"/>
              <a:miter/>
            </a:ln>
          </p:spPr>
          <p:txBody>
            <a:bodyPr rtlCol="0" anchor="ctr"/>
            <a:lstStyle/>
            <a:p>
              <a:endParaRPr lang="zh-CN" altLang="en-US"/>
            </a:p>
          </p:txBody>
        </p:sp>
        <p:sp>
          <p:nvSpPr>
            <p:cNvPr id="53" name="任意多边形: 形状 52">
              <a:extLst>
                <a:ext uri="{FF2B5EF4-FFF2-40B4-BE49-F238E27FC236}">
                  <a16:creationId xmlns:a16="http://schemas.microsoft.com/office/drawing/2014/main" id="{5D7586DB-42C6-4A68-8A5A-FD57166019D4}"/>
                </a:ext>
              </a:extLst>
            </p:cNvPr>
            <p:cNvSpPr/>
            <p:nvPr userDrawn="1"/>
          </p:nvSpPr>
          <p:spPr>
            <a:xfrm>
              <a:off x="9175600" y="5664081"/>
              <a:ext cx="98793" cy="24699"/>
            </a:xfrm>
            <a:custGeom>
              <a:avLst/>
              <a:gdLst>
                <a:gd name="connsiteX0" fmla="*/ 103299 w 102870"/>
                <a:gd name="connsiteY0" fmla="*/ 17574 h 25717"/>
                <a:gd name="connsiteX1" fmla="*/ 92154 w 102870"/>
                <a:gd name="connsiteY1" fmla="*/ 27003 h 25717"/>
                <a:gd name="connsiteX2" fmla="*/ 16716 w 102870"/>
                <a:gd name="connsiteY2" fmla="*/ 27003 h 25717"/>
                <a:gd name="connsiteX3" fmla="*/ 6429 w 102870"/>
                <a:gd name="connsiteY3" fmla="*/ 17574 h 25717"/>
                <a:gd name="connsiteX4" fmla="*/ 6429 w 102870"/>
                <a:gd name="connsiteY4" fmla="*/ 17574 h 25717"/>
                <a:gd name="connsiteX5" fmla="*/ 16716 w 102870"/>
                <a:gd name="connsiteY5" fmla="*/ 6429 h 25717"/>
                <a:gd name="connsiteX6" fmla="*/ 92154 w 102870"/>
                <a:gd name="connsiteY6" fmla="*/ 6429 h 25717"/>
                <a:gd name="connsiteX7" fmla="*/ 103299 w 102870"/>
                <a:gd name="connsiteY7" fmla="*/ 17574 h 25717"/>
                <a:gd name="connsiteX8" fmla="*/ 103299 w 102870"/>
                <a:gd name="connsiteY8" fmla="*/ 17574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870" h="25717">
                  <a:moveTo>
                    <a:pt x="103299" y="17574"/>
                  </a:moveTo>
                  <a:cubicBezTo>
                    <a:pt x="103299" y="22717"/>
                    <a:pt x="98155" y="27003"/>
                    <a:pt x="92154" y="27003"/>
                  </a:cubicBezTo>
                  <a:lnTo>
                    <a:pt x="16716" y="27003"/>
                  </a:lnTo>
                  <a:cubicBezTo>
                    <a:pt x="10716" y="27003"/>
                    <a:pt x="6429" y="22717"/>
                    <a:pt x="6429" y="17574"/>
                  </a:cubicBezTo>
                  <a:lnTo>
                    <a:pt x="6429" y="17574"/>
                  </a:lnTo>
                  <a:cubicBezTo>
                    <a:pt x="6429" y="12430"/>
                    <a:pt x="10716" y="6429"/>
                    <a:pt x="16716" y="6429"/>
                  </a:cubicBezTo>
                  <a:lnTo>
                    <a:pt x="92154" y="6429"/>
                  </a:lnTo>
                  <a:cubicBezTo>
                    <a:pt x="98155" y="6429"/>
                    <a:pt x="103299" y="11573"/>
                    <a:pt x="103299" y="17574"/>
                  </a:cubicBezTo>
                  <a:lnTo>
                    <a:pt x="103299" y="17574"/>
                  </a:lnTo>
                  <a:close/>
                </a:path>
              </a:pathLst>
            </a:custGeom>
            <a:grpFill/>
            <a:ln w="9525" cap="flat">
              <a:noFill/>
              <a:prstDash val="solid"/>
              <a:miter/>
            </a:ln>
          </p:spPr>
          <p:txBody>
            <a:bodyPr rtlCol="0" anchor="ctr"/>
            <a:lstStyle/>
            <a:p>
              <a:endParaRPr lang="zh-CN" altLang="en-US"/>
            </a:p>
          </p:txBody>
        </p:sp>
        <p:sp>
          <p:nvSpPr>
            <p:cNvPr id="54" name="任意多边形: 形状 53">
              <a:extLst>
                <a:ext uri="{FF2B5EF4-FFF2-40B4-BE49-F238E27FC236}">
                  <a16:creationId xmlns:a16="http://schemas.microsoft.com/office/drawing/2014/main" id="{62EA94AE-9C91-43AC-BB9A-9802E0A52B85}"/>
                </a:ext>
              </a:extLst>
            </p:cNvPr>
            <p:cNvSpPr/>
            <p:nvPr userDrawn="1"/>
          </p:nvSpPr>
          <p:spPr>
            <a:xfrm>
              <a:off x="9198652" y="5667322"/>
              <a:ext cx="57630" cy="49396"/>
            </a:xfrm>
            <a:custGeom>
              <a:avLst/>
              <a:gdLst>
                <a:gd name="connsiteX0" fmla="*/ 54435 w 60007"/>
                <a:gd name="connsiteY0" fmla="*/ 26200 h 51435"/>
                <a:gd name="connsiteX1" fmla="*/ 30432 w 60007"/>
                <a:gd name="connsiteY1" fmla="*/ 45917 h 51435"/>
                <a:gd name="connsiteX2" fmla="*/ 6429 w 60007"/>
                <a:gd name="connsiteY2" fmla="*/ 26200 h 51435"/>
                <a:gd name="connsiteX3" fmla="*/ 30432 w 60007"/>
                <a:gd name="connsiteY3" fmla="*/ 6484 h 51435"/>
                <a:gd name="connsiteX4" fmla="*/ 54435 w 60007"/>
                <a:gd name="connsiteY4" fmla="*/ 26200 h 51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51435">
                  <a:moveTo>
                    <a:pt x="54435" y="26200"/>
                  </a:moveTo>
                  <a:cubicBezTo>
                    <a:pt x="54435" y="37345"/>
                    <a:pt x="44148" y="45917"/>
                    <a:pt x="30432" y="45917"/>
                  </a:cubicBezTo>
                  <a:cubicBezTo>
                    <a:pt x="17574" y="45917"/>
                    <a:pt x="6429" y="37345"/>
                    <a:pt x="6429" y="26200"/>
                  </a:cubicBezTo>
                  <a:cubicBezTo>
                    <a:pt x="6429" y="15056"/>
                    <a:pt x="16716" y="6484"/>
                    <a:pt x="30432" y="6484"/>
                  </a:cubicBezTo>
                  <a:cubicBezTo>
                    <a:pt x="44148" y="5626"/>
                    <a:pt x="54435" y="15056"/>
                    <a:pt x="54435" y="26200"/>
                  </a:cubicBezTo>
                  <a:close/>
                </a:path>
              </a:pathLst>
            </a:custGeom>
            <a:grpFill/>
            <a:ln w="9525" cap="flat">
              <a:noFill/>
              <a:prstDash val="solid"/>
              <a:miter/>
            </a:ln>
          </p:spPr>
          <p:txBody>
            <a:bodyPr rtlCol="0" anchor="ctr"/>
            <a:lstStyle/>
            <a:p>
              <a:endParaRPr lang="zh-CN" altLang="en-US"/>
            </a:p>
          </p:txBody>
        </p:sp>
      </p:grpSp>
      <p:sp>
        <p:nvSpPr>
          <p:cNvPr id="6" name="等腰三角形 5">
            <a:extLst>
              <a:ext uri="{FF2B5EF4-FFF2-40B4-BE49-F238E27FC236}">
                <a16:creationId xmlns:a16="http://schemas.microsoft.com/office/drawing/2014/main" id="{87D770F8-C010-47B5-A08D-BC4F1BA6FF34}"/>
              </a:ext>
            </a:extLst>
          </p:cNvPr>
          <p:cNvSpPr/>
          <p:nvPr userDrawn="1"/>
        </p:nvSpPr>
        <p:spPr>
          <a:xfrm>
            <a:off x="10237425" y="5622437"/>
            <a:ext cx="1281475" cy="1235563"/>
          </a:xfrm>
          <a:prstGeom prst="triangle">
            <a:avLst/>
          </a:prstGeom>
          <a:gradFill>
            <a:gsLst>
              <a:gs pos="100000">
                <a:schemeClr val="accent1">
                  <a:lumMod val="5000"/>
                  <a:lumOff val="95000"/>
                  <a:alpha val="0"/>
                </a:schemeClr>
              </a:gs>
              <a:gs pos="19000">
                <a:srgbClr val="00FCD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任意多边形: 形状 6">
            <a:extLst>
              <a:ext uri="{FF2B5EF4-FFF2-40B4-BE49-F238E27FC236}">
                <a16:creationId xmlns:a16="http://schemas.microsoft.com/office/drawing/2014/main" id="{3808A3BA-A167-407D-9D29-68FD32182FDC}"/>
              </a:ext>
            </a:extLst>
          </p:cNvPr>
          <p:cNvSpPr/>
          <p:nvPr userDrawn="1"/>
        </p:nvSpPr>
        <p:spPr>
          <a:xfrm>
            <a:off x="5374161" y="584252"/>
            <a:ext cx="6003949" cy="5578494"/>
          </a:xfrm>
          <a:custGeom>
            <a:avLst/>
            <a:gdLst>
              <a:gd name="connsiteX0" fmla="*/ 3807697 w 6251734"/>
              <a:gd name="connsiteY0" fmla="*/ 5598000 h 5808721"/>
              <a:gd name="connsiteX1" fmla="*/ 3792649 w 6251734"/>
              <a:gd name="connsiteY1" fmla="*/ 5610966 h 5808721"/>
              <a:gd name="connsiteX2" fmla="*/ 3724407 w 6251734"/>
              <a:gd name="connsiteY2" fmla="*/ 5654281 h 5808721"/>
              <a:gd name="connsiteX3" fmla="*/ 3737518 w 6251734"/>
              <a:gd name="connsiteY3" fmla="*/ 5683584 h 5808721"/>
              <a:gd name="connsiteX4" fmla="*/ 3807904 w 6251734"/>
              <a:gd name="connsiteY4" fmla="*/ 5741855 h 5808721"/>
              <a:gd name="connsiteX5" fmla="*/ 3878291 w 6251734"/>
              <a:gd name="connsiteY5" fmla="*/ 5683584 h 5808721"/>
              <a:gd name="connsiteX6" fmla="*/ 3891370 w 6251734"/>
              <a:gd name="connsiteY6" fmla="*/ 5654352 h 5808721"/>
              <a:gd name="connsiteX7" fmla="*/ 3821929 w 6251734"/>
              <a:gd name="connsiteY7" fmla="*/ 5610228 h 5808721"/>
              <a:gd name="connsiteX8" fmla="*/ 3827101 w 6251734"/>
              <a:gd name="connsiteY8" fmla="*/ 5549255 h 5808721"/>
              <a:gd name="connsiteX9" fmla="*/ 3807904 w 6251734"/>
              <a:gd name="connsiteY9" fmla="*/ 5550689 h 5808721"/>
              <a:gd name="connsiteX10" fmla="*/ 3788212 w 6251734"/>
              <a:gd name="connsiteY10" fmla="*/ 5549599 h 5808721"/>
              <a:gd name="connsiteX11" fmla="*/ 3807470 w 6251734"/>
              <a:gd name="connsiteY11" fmla="*/ 5566172 h 5808721"/>
              <a:gd name="connsiteX12" fmla="*/ 3694058 w 6251734"/>
              <a:gd name="connsiteY12" fmla="*/ 5544387 h 5808721"/>
              <a:gd name="connsiteX13" fmla="*/ 3703452 w 6251734"/>
              <a:gd name="connsiteY13" fmla="*/ 5591293 h 5808721"/>
              <a:gd name="connsiteX14" fmla="*/ 3714172 w 6251734"/>
              <a:gd name="connsiteY14" fmla="*/ 5626491 h 5808721"/>
              <a:gd name="connsiteX15" fmla="*/ 3722717 w 6251734"/>
              <a:gd name="connsiteY15" fmla="*/ 5622628 h 5808721"/>
              <a:gd name="connsiteX16" fmla="*/ 3788068 w 6251734"/>
              <a:gd name="connsiteY16" fmla="*/ 5581136 h 5808721"/>
              <a:gd name="connsiteX17" fmla="*/ 3748826 w 6251734"/>
              <a:gd name="connsiteY17" fmla="*/ 5547419 h 5808721"/>
              <a:gd name="connsiteX18" fmla="*/ 3922198 w 6251734"/>
              <a:gd name="connsiteY18" fmla="*/ 5542152 h 5808721"/>
              <a:gd name="connsiteX19" fmla="*/ 3867799 w 6251734"/>
              <a:gd name="connsiteY19" fmla="*/ 5546215 h 5808721"/>
              <a:gd name="connsiteX20" fmla="*/ 3827145 w 6251734"/>
              <a:gd name="connsiteY20" fmla="*/ 5581244 h 5808721"/>
              <a:gd name="connsiteX21" fmla="*/ 3901775 w 6251734"/>
              <a:gd name="connsiteY21" fmla="*/ 5626039 h 5808721"/>
              <a:gd name="connsiteX22" fmla="*/ 3912357 w 6251734"/>
              <a:gd name="connsiteY22" fmla="*/ 5591293 h 5808721"/>
              <a:gd name="connsiteX23" fmla="*/ 3568695 w 6251734"/>
              <a:gd name="connsiteY23" fmla="*/ 5521810 h 5808721"/>
              <a:gd name="connsiteX24" fmla="*/ 3557706 w 6251734"/>
              <a:gd name="connsiteY24" fmla="*/ 5550648 h 5808721"/>
              <a:gd name="connsiteX25" fmla="*/ 3566160 w 6251734"/>
              <a:gd name="connsiteY25" fmla="*/ 5641559 h 5808721"/>
              <a:gd name="connsiteX26" fmla="*/ 3672538 w 6251734"/>
              <a:gd name="connsiteY26" fmla="*/ 5645312 h 5808721"/>
              <a:gd name="connsiteX27" fmla="*/ 3686711 w 6251734"/>
              <a:gd name="connsiteY27" fmla="*/ 5638905 h 5808721"/>
              <a:gd name="connsiteX28" fmla="*/ 3683653 w 6251734"/>
              <a:gd name="connsiteY28" fmla="*/ 5628857 h 5808721"/>
              <a:gd name="connsiteX29" fmla="*/ 3669753 w 6251734"/>
              <a:gd name="connsiteY29" fmla="*/ 5559542 h 5808721"/>
              <a:gd name="connsiteX30" fmla="*/ 3668350 w 6251734"/>
              <a:gd name="connsiteY30" fmla="*/ 5540767 h 5808721"/>
              <a:gd name="connsiteX31" fmla="*/ 3579717 w 6251734"/>
              <a:gd name="connsiteY31" fmla="*/ 5525147 h 5808721"/>
              <a:gd name="connsiteX32" fmla="*/ 4046585 w 6251734"/>
              <a:gd name="connsiteY32" fmla="*/ 5520939 h 5808721"/>
              <a:gd name="connsiteX33" fmla="*/ 3966777 w 6251734"/>
              <a:gd name="connsiteY33" fmla="*/ 5538822 h 5808721"/>
              <a:gd name="connsiteX34" fmla="*/ 3947602 w 6251734"/>
              <a:gd name="connsiteY34" fmla="*/ 5540254 h 5808721"/>
              <a:gd name="connsiteX35" fmla="*/ 3946176 w 6251734"/>
              <a:gd name="connsiteY35" fmla="*/ 5559542 h 5808721"/>
              <a:gd name="connsiteX36" fmla="*/ 3932381 w 6251734"/>
              <a:gd name="connsiteY36" fmla="*/ 5628857 h 5808721"/>
              <a:gd name="connsiteX37" fmla="*/ 3929132 w 6251734"/>
              <a:gd name="connsiteY37" fmla="*/ 5639587 h 5808721"/>
              <a:gd name="connsiteX38" fmla="*/ 3958740 w 6251734"/>
              <a:gd name="connsiteY38" fmla="*/ 5650869 h 5808721"/>
              <a:gd name="connsiteX39" fmla="*/ 4049650 w 6251734"/>
              <a:gd name="connsiteY39" fmla="*/ 5642415 h 5808721"/>
              <a:gd name="connsiteX40" fmla="*/ 4058104 w 6251734"/>
              <a:gd name="connsiteY40" fmla="*/ 5551128 h 5808721"/>
              <a:gd name="connsiteX41" fmla="*/ 3688846 w 6251734"/>
              <a:gd name="connsiteY41" fmla="*/ 5493292 h 5808721"/>
              <a:gd name="connsiteX42" fmla="*/ 3690677 w 6251734"/>
              <a:gd name="connsiteY42" fmla="*/ 5517905 h 5808721"/>
              <a:gd name="connsiteX43" fmla="*/ 3706306 w 6251734"/>
              <a:gd name="connsiteY43" fmla="*/ 5520689 h 5808721"/>
              <a:gd name="connsiteX44" fmla="*/ 3718556 w 6251734"/>
              <a:gd name="connsiteY44" fmla="*/ 5521412 h 5808721"/>
              <a:gd name="connsiteX45" fmla="*/ 3700748 w 6251734"/>
              <a:gd name="connsiteY45" fmla="*/ 5506112 h 5808721"/>
              <a:gd name="connsiteX46" fmla="*/ 3927084 w 6251734"/>
              <a:gd name="connsiteY46" fmla="*/ 5491676 h 5808721"/>
              <a:gd name="connsiteX47" fmla="*/ 3913348 w 6251734"/>
              <a:gd name="connsiteY47" fmla="*/ 5506970 h 5808721"/>
              <a:gd name="connsiteX48" fmla="*/ 3898270 w 6251734"/>
              <a:gd name="connsiteY48" fmla="*/ 5519961 h 5808721"/>
              <a:gd name="connsiteX49" fmla="*/ 3925127 w 6251734"/>
              <a:gd name="connsiteY49" fmla="*/ 5517962 h 5808721"/>
              <a:gd name="connsiteX50" fmla="*/ 2666906 w 6251734"/>
              <a:gd name="connsiteY50" fmla="*/ 5428104 h 5808721"/>
              <a:gd name="connsiteX51" fmla="*/ 2906936 w 6251734"/>
              <a:gd name="connsiteY51" fmla="*/ 5566121 h 5808721"/>
              <a:gd name="connsiteX52" fmla="*/ 2986661 w 6251734"/>
              <a:gd name="connsiteY52" fmla="*/ 5428961 h 5808721"/>
              <a:gd name="connsiteX53" fmla="*/ 2421698 w 6251734"/>
              <a:gd name="connsiteY53" fmla="*/ 5427947 h 5808721"/>
              <a:gd name="connsiteX54" fmla="*/ 2911499 w 6251734"/>
              <a:gd name="connsiteY54" fmla="*/ 5711122 h 5808721"/>
              <a:gd name="connsiteX55" fmla="*/ 2873313 w 6251734"/>
              <a:gd name="connsiteY55" fmla="*/ 5777171 h 5808721"/>
              <a:gd name="connsiteX56" fmla="*/ 2383512 w 6251734"/>
              <a:gd name="connsiteY56" fmla="*/ 5493996 h 5808721"/>
              <a:gd name="connsiteX57" fmla="*/ 3626020 w 6251734"/>
              <a:gd name="connsiteY57" fmla="*/ 5422235 h 5808721"/>
              <a:gd name="connsiteX58" fmla="*/ 3598818 w 6251734"/>
              <a:gd name="connsiteY58" fmla="*/ 5461243 h 5808721"/>
              <a:gd name="connsiteX59" fmla="*/ 3581388 w 6251734"/>
              <a:gd name="connsiteY59" fmla="*/ 5494011 h 5808721"/>
              <a:gd name="connsiteX60" fmla="*/ 3616801 w 6251734"/>
              <a:gd name="connsiteY60" fmla="*/ 5504746 h 5808721"/>
              <a:gd name="connsiteX61" fmla="*/ 3666318 w 6251734"/>
              <a:gd name="connsiteY61" fmla="*/ 5513566 h 5808721"/>
              <a:gd name="connsiteX62" fmla="*/ 3662700 w 6251734"/>
              <a:gd name="connsiteY62" fmla="*/ 5465131 h 5808721"/>
              <a:gd name="connsiteX63" fmla="*/ 3644732 w 6251734"/>
              <a:gd name="connsiteY63" fmla="*/ 5445778 h 5808721"/>
              <a:gd name="connsiteX64" fmla="*/ 3990100 w 6251734"/>
              <a:gd name="connsiteY64" fmla="*/ 5421513 h 5808721"/>
              <a:gd name="connsiteX65" fmla="*/ 3953357 w 6251734"/>
              <a:gd name="connsiteY65" fmla="*/ 5462423 h 5808721"/>
              <a:gd name="connsiteX66" fmla="*/ 3949475 w 6251734"/>
              <a:gd name="connsiteY66" fmla="*/ 5514925 h 5808721"/>
              <a:gd name="connsiteX67" fmla="*/ 4025703 w 6251734"/>
              <a:gd name="connsiteY67" fmla="*/ 5497859 h 5808721"/>
              <a:gd name="connsiteX68" fmla="*/ 4034309 w 6251734"/>
              <a:gd name="connsiteY68" fmla="*/ 5494362 h 5808721"/>
              <a:gd name="connsiteX69" fmla="*/ 4016993 w 6251734"/>
              <a:gd name="connsiteY69" fmla="*/ 5461874 h 5808721"/>
              <a:gd name="connsiteX70" fmla="*/ 3956426 w 6251734"/>
              <a:gd name="connsiteY70" fmla="*/ 5380419 h 5808721"/>
              <a:gd name="connsiteX71" fmla="*/ 3957923 w 6251734"/>
              <a:gd name="connsiteY71" fmla="*/ 5400670 h 5808721"/>
              <a:gd name="connsiteX72" fmla="*/ 3956295 w 6251734"/>
              <a:gd name="connsiteY72" fmla="*/ 5422687 h 5808721"/>
              <a:gd name="connsiteX73" fmla="*/ 3964989 w 6251734"/>
              <a:gd name="connsiteY73" fmla="*/ 5412959 h 5808721"/>
              <a:gd name="connsiteX74" fmla="*/ 3973699 w 6251734"/>
              <a:gd name="connsiteY74" fmla="*/ 5400468 h 5808721"/>
              <a:gd name="connsiteX75" fmla="*/ 3659650 w 6251734"/>
              <a:gd name="connsiteY75" fmla="*/ 5376790 h 5808721"/>
              <a:gd name="connsiteX76" fmla="*/ 3650822 w 6251734"/>
              <a:gd name="connsiteY76" fmla="*/ 5386669 h 5808721"/>
              <a:gd name="connsiteX77" fmla="*/ 3641492 w 6251734"/>
              <a:gd name="connsiteY77" fmla="*/ 5400048 h 5808721"/>
              <a:gd name="connsiteX78" fmla="*/ 3659392 w 6251734"/>
              <a:gd name="connsiteY78" fmla="*/ 5420848 h 5808721"/>
              <a:gd name="connsiteX79" fmla="*/ 3657885 w 6251734"/>
              <a:gd name="connsiteY79" fmla="*/ 5400670 h 5808721"/>
              <a:gd name="connsiteX80" fmla="*/ 2450878 w 6251734"/>
              <a:gd name="connsiteY80" fmla="*/ 5356093 h 5808721"/>
              <a:gd name="connsiteX81" fmla="*/ 3103247 w 6251734"/>
              <a:gd name="connsiteY81" fmla="*/ 5381811 h 5808721"/>
              <a:gd name="connsiteX82" fmla="*/ 2950656 w 6251734"/>
              <a:gd name="connsiteY82" fmla="*/ 5644988 h 5808721"/>
              <a:gd name="connsiteX83" fmla="*/ 3808763 w 6251734"/>
              <a:gd name="connsiteY83" fmla="*/ 5338091 h 5808721"/>
              <a:gd name="connsiteX84" fmla="*/ 3871342 w 6251734"/>
              <a:gd name="connsiteY84" fmla="*/ 5400671 h 5808721"/>
              <a:gd name="connsiteX85" fmla="*/ 3808763 w 6251734"/>
              <a:gd name="connsiteY85" fmla="*/ 5463250 h 5808721"/>
              <a:gd name="connsiteX86" fmla="*/ 3746183 w 6251734"/>
              <a:gd name="connsiteY86" fmla="*/ 5400671 h 5808721"/>
              <a:gd name="connsiteX87" fmla="*/ 3808763 w 6251734"/>
              <a:gd name="connsiteY87" fmla="*/ 5338091 h 5808721"/>
              <a:gd name="connsiteX88" fmla="*/ 3553198 w 6251734"/>
              <a:gd name="connsiteY88" fmla="*/ 5318476 h 5808721"/>
              <a:gd name="connsiteX89" fmla="*/ 3524133 w 6251734"/>
              <a:gd name="connsiteY89" fmla="*/ 5330284 h 5808721"/>
              <a:gd name="connsiteX90" fmla="*/ 3465862 w 6251734"/>
              <a:gd name="connsiteY90" fmla="*/ 5400670 h 5808721"/>
              <a:gd name="connsiteX91" fmla="*/ 3524359 w 6251734"/>
              <a:gd name="connsiteY91" fmla="*/ 5470831 h 5808721"/>
              <a:gd name="connsiteX92" fmla="*/ 3552494 w 6251734"/>
              <a:gd name="connsiteY92" fmla="*/ 5483326 h 5808721"/>
              <a:gd name="connsiteX93" fmla="*/ 3557534 w 6251734"/>
              <a:gd name="connsiteY93" fmla="*/ 5473887 h 5808721"/>
              <a:gd name="connsiteX94" fmla="*/ 3608797 w 6251734"/>
              <a:gd name="connsiteY94" fmla="*/ 5400567 h 5808721"/>
              <a:gd name="connsiteX95" fmla="*/ 3596753 w 6251734"/>
              <a:gd name="connsiteY95" fmla="*/ 5385414 h 5808721"/>
              <a:gd name="connsiteX96" fmla="*/ 3557534 w 6251734"/>
              <a:gd name="connsiteY96" fmla="*/ 5326597 h 5808721"/>
              <a:gd name="connsiteX97" fmla="*/ 4062445 w 6251734"/>
              <a:gd name="connsiteY97" fmla="*/ 5317336 h 5808721"/>
              <a:gd name="connsiteX98" fmla="*/ 4057165 w 6251734"/>
              <a:gd name="connsiteY98" fmla="*/ 5327229 h 5808721"/>
              <a:gd name="connsiteX99" fmla="*/ 4006091 w 6251734"/>
              <a:gd name="connsiteY99" fmla="*/ 5400156 h 5808721"/>
              <a:gd name="connsiteX100" fmla="*/ 4017343 w 6251734"/>
              <a:gd name="connsiteY100" fmla="*/ 5414333 h 5808721"/>
              <a:gd name="connsiteX101" fmla="*/ 4056562 w 6251734"/>
              <a:gd name="connsiteY101" fmla="*/ 5473256 h 5808721"/>
              <a:gd name="connsiteX102" fmla="*/ 4061849 w 6251734"/>
              <a:gd name="connsiteY102" fmla="*/ 5483174 h 5808721"/>
              <a:gd name="connsiteX103" fmla="*/ 4091676 w 6251734"/>
              <a:gd name="connsiteY103" fmla="*/ 5471057 h 5808721"/>
              <a:gd name="connsiteX104" fmla="*/ 4149947 w 6251734"/>
              <a:gd name="connsiteY104" fmla="*/ 5400670 h 5808721"/>
              <a:gd name="connsiteX105" fmla="*/ 4091450 w 6251734"/>
              <a:gd name="connsiteY105" fmla="*/ 5330284 h 5808721"/>
              <a:gd name="connsiteX106" fmla="*/ 3949551 w 6251734"/>
              <a:gd name="connsiteY106" fmla="*/ 5287441 h 5808721"/>
              <a:gd name="connsiteX107" fmla="*/ 3953173 w 6251734"/>
              <a:gd name="connsiteY107" fmla="*/ 5336435 h 5808721"/>
              <a:gd name="connsiteX108" fmla="*/ 3969364 w 6251734"/>
              <a:gd name="connsiteY108" fmla="*/ 5353884 h 5808721"/>
              <a:gd name="connsiteX109" fmla="*/ 3988964 w 6251734"/>
              <a:gd name="connsiteY109" fmla="*/ 5378578 h 5808721"/>
              <a:gd name="connsiteX110" fmla="*/ 4016993 w 6251734"/>
              <a:gd name="connsiteY110" fmla="*/ 5338385 h 5808721"/>
              <a:gd name="connsiteX111" fmla="*/ 4033793 w 6251734"/>
              <a:gd name="connsiteY111" fmla="*/ 5306800 h 5808721"/>
              <a:gd name="connsiteX112" fmla="*/ 3999007 w 6251734"/>
              <a:gd name="connsiteY112" fmla="*/ 5296218 h 5808721"/>
              <a:gd name="connsiteX113" fmla="*/ 3666333 w 6251734"/>
              <a:gd name="connsiteY113" fmla="*/ 5286416 h 5808721"/>
              <a:gd name="connsiteX114" fmla="*/ 3590106 w 6251734"/>
              <a:gd name="connsiteY114" fmla="*/ 5303482 h 5808721"/>
              <a:gd name="connsiteX115" fmla="*/ 3581629 w 6251734"/>
              <a:gd name="connsiteY115" fmla="*/ 5306926 h 5808721"/>
              <a:gd name="connsiteX116" fmla="*/ 3598818 w 6251734"/>
              <a:gd name="connsiteY116" fmla="*/ 5339241 h 5808721"/>
              <a:gd name="connsiteX117" fmla="*/ 3625164 w 6251734"/>
              <a:gd name="connsiteY117" fmla="*/ 5378866 h 5808721"/>
              <a:gd name="connsiteX118" fmla="*/ 3662590 w 6251734"/>
              <a:gd name="connsiteY118" fmla="*/ 5337028 h 5808721"/>
              <a:gd name="connsiteX119" fmla="*/ 1925384 w 6251734"/>
              <a:gd name="connsiteY119" fmla="*/ 5284084 h 5808721"/>
              <a:gd name="connsiteX120" fmla="*/ 1867091 w 6251734"/>
              <a:gd name="connsiteY120" fmla="*/ 5343235 h 5808721"/>
              <a:gd name="connsiteX121" fmla="*/ 1925384 w 6251734"/>
              <a:gd name="connsiteY121" fmla="*/ 5402385 h 5808721"/>
              <a:gd name="connsiteX122" fmla="*/ 1983677 w 6251734"/>
              <a:gd name="connsiteY122" fmla="*/ 5343235 h 5808721"/>
              <a:gd name="connsiteX123" fmla="*/ 1925384 w 6251734"/>
              <a:gd name="connsiteY123" fmla="*/ 5284084 h 5808721"/>
              <a:gd name="connsiteX124" fmla="*/ 3715682 w 6251734"/>
              <a:gd name="connsiteY124" fmla="*/ 5281518 h 5808721"/>
              <a:gd name="connsiteX125" fmla="*/ 3690553 w 6251734"/>
              <a:gd name="connsiteY125" fmla="*/ 5283388 h 5808721"/>
              <a:gd name="connsiteX126" fmla="*/ 3688737 w 6251734"/>
              <a:gd name="connsiteY126" fmla="*/ 5307799 h 5808721"/>
              <a:gd name="connsiteX127" fmla="*/ 3700748 w 6251734"/>
              <a:gd name="connsiteY127" fmla="*/ 5294372 h 5808721"/>
              <a:gd name="connsiteX128" fmla="*/ 3897255 w 6251734"/>
              <a:gd name="connsiteY128" fmla="*/ 5279649 h 5808721"/>
              <a:gd name="connsiteX129" fmla="*/ 3913348 w 6251734"/>
              <a:gd name="connsiteY129" fmla="*/ 5293515 h 5808721"/>
              <a:gd name="connsiteX130" fmla="*/ 3927113 w 6251734"/>
              <a:gd name="connsiteY130" fmla="*/ 5308350 h 5808721"/>
              <a:gd name="connsiteX131" fmla="*/ 3925236 w 6251734"/>
              <a:gd name="connsiteY131" fmla="*/ 5283126 h 5808721"/>
              <a:gd name="connsiteX132" fmla="*/ 3909502 w 6251734"/>
              <a:gd name="connsiteY132" fmla="*/ 5280333 h 5808721"/>
              <a:gd name="connsiteX133" fmla="*/ 3807904 w 6251734"/>
              <a:gd name="connsiteY133" fmla="*/ 5274654 h 5808721"/>
              <a:gd name="connsiteX134" fmla="*/ 3756063 w 6251734"/>
              <a:gd name="connsiteY134" fmla="*/ 5278512 h 5808721"/>
              <a:gd name="connsiteX135" fmla="*/ 3718751 w 6251734"/>
              <a:gd name="connsiteY135" fmla="*/ 5310660 h 5808721"/>
              <a:gd name="connsiteX136" fmla="*/ 3685778 w 6251734"/>
              <a:gd name="connsiteY136" fmla="*/ 5347555 h 5808721"/>
              <a:gd name="connsiteX137" fmla="*/ 3681889 w 6251734"/>
              <a:gd name="connsiteY137" fmla="*/ 5399812 h 5808721"/>
              <a:gd name="connsiteX138" fmla="*/ 3685732 w 6251734"/>
              <a:gd name="connsiteY138" fmla="*/ 5451455 h 5808721"/>
              <a:gd name="connsiteX139" fmla="*/ 3718751 w 6251734"/>
              <a:gd name="connsiteY139" fmla="*/ 5489824 h 5808721"/>
              <a:gd name="connsiteX140" fmla="*/ 3758175 w 6251734"/>
              <a:gd name="connsiteY140" fmla="*/ 5523751 h 5808721"/>
              <a:gd name="connsiteX141" fmla="*/ 3807904 w 6251734"/>
              <a:gd name="connsiteY141" fmla="*/ 5526686 h 5808721"/>
              <a:gd name="connsiteX142" fmla="*/ 3857581 w 6251734"/>
              <a:gd name="connsiteY142" fmla="*/ 5522989 h 5808721"/>
              <a:gd name="connsiteX143" fmla="*/ 3897060 w 6251734"/>
              <a:gd name="connsiteY143" fmla="*/ 5488968 h 5808721"/>
              <a:gd name="connsiteX144" fmla="*/ 3930031 w 6251734"/>
              <a:gd name="connsiteY144" fmla="*/ 5452075 h 5808721"/>
              <a:gd name="connsiteX145" fmla="*/ 3933920 w 6251734"/>
              <a:gd name="connsiteY145" fmla="*/ 5399812 h 5808721"/>
              <a:gd name="connsiteX146" fmla="*/ 3930213 w 6251734"/>
              <a:gd name="connsiteY146" fmla="*/ 5349995 h 5808721"/>
              <a:gd name="connsiteX147" fmla="*/ 3897060 w 6251734"/>
              <a:gd name="connsiteY147" fmla="*/ 5311517 h 5808721"/>
              <a:gd name="connsiteX148" fmla="*/ 3857442 w 6251734"/>
              <a:gd name="connsiteY148" fmla="*/ 5277423 h 5808721"/>
              <a:gd name="connsiteX149" fmla="*/ 3807355 w 6251734"/>
              <a:gd name="connsiteY149" fmla="*/ 5234320 h 5808721"/>
              <a:gd name="connsiteX150" fmla="*/ 3786569 w 6251734"/>
              <a:gd name="connsiteY150" fmla="*/ 5252229 h 5808721"/>
              <a:gd name="connsiteX151" fmla="*/ 3807904 w 6251734"/>
              <a:gd name="connsiteY151" fmla="*/ 5250651 h 5808721"/>
              <a:gd name="connsiteX152" fmla="*/ 3827599 w 6251734"/>
              <a:gd name="connsiteY152" fmla="*/ 5251741 h 5808721"/>
              <a:gd name="connsiteX153" fmla="*/ 1827657 w 6251734"/>
              <a:gd name="connsiteY153" fmla="*/ 5200074 h 5808721"/>
              <a:gd name="connsiteX154" fmla="*/ 1773650 w 6251734"/>
              <a:gd name="connsiteY154" fmla="*/ 5254938 h 5808721"/>
              <a:gd name="connsiteX155" fmla="*/ 1827657 w 6251734"/>
              <a:gd name="connsiteY155" fmla="*/ 5309802 h 5808721"/>
              <a:gd name="connsiteX156" fmla="*/ 1881664 w 6251734"/>
              <a:gd name="connsiteY156" fmla="*/ 5254938 h 5808721"/>
              <a:gd name="connsiteX157" fmla="*/ 1827657 w 6251734"/>
              <a:gd name="connsiteY157" fmla="*/ 5200074 h 5808721"/>
              <a:gd name="connsiteX158" fmla="*/ 3713592 w 6251734"/>
              <a:gd name="connsiteY158" fmla="*/ 5175036 h 5808721"/>
              <a:gd name="connsiteX159" fmla="*/ 3703452 w 6251734"/>
              <a:gd name="connsiteY159" fmla="*/ 5208333 h 5808721"/>
              <a:gd name="connsiteX160" fmla="*/ 3693280 w 6251734"/>
              <a:gd name="connsiteY160" fmla="*/ 5259127 h 5808721"/>
              <a:gd name="connsiteX161" fmla="*/ 3746245 w 6251734"/>
              <a:gd name="connsiteY161" fmla="*/ 5255210 h 5808721"/>
              <a:gd name="connsiteX162" fmla="*/ 3787708 w 6251734"/>
              <a:gd name="connsiteY162" fmla="*/ 5219522 h 5808721"/>
              <a:gd name="connsiteX163" fmla="*/ 3901951 w 6251734"/>
              <a:gd name="connsiteY163" fmla="*/ 5174164 h 5808721"/>
              <a:gd name="connsiteX164" fmla="*/ 3827088 w 6251734"/>
              <a:gd name="connsiteY164" fmla="*/ 5219192 h 5808721"/>
              <a:gd name="connsiteX165" fmla="*/ 3867424 w 6251734"/>
              <a:gd name="connsiteY165" fmla="*/ 5253946 h 5808721"/>
              <a:gd name="connsiteX166" fmla="*/ 3922098 w 6251734"/>
              <a:gd name="connsiteY166" fmla="*/ 5256973 h 5808721"/>
              <a:gd name="connsiteX167" fmla="*/ 3912357 w 6251734"/>
              <a:gd name="connsiteY167" fmla="*/ 5208333 h 5808721"/>
              <a:gd name="connsiteX168" fmla="*/ 4932831 w 6251734"/>
              <a:gd name="connsiteY168" fmla="*/ 5171785 h 5808721"/>
              <a:gd name="connsiteX169" fmla="*/ 4857179 w 6251734"/>
              <a:gd name="connsiteY169" fmla="*/ 5190645 h 5808721"/>
              <a:gd name="connsiteX170" fmla="*/ 4836605 w 6251734"/>
              <a:gd name="connsiteY170" fmla="*/ 5332091 h 5808721"/>
              <a:gd name="connsiteX171" fmla="*/ 4978051 w 6251734"/>
              <a:gd name="connsiteY171" fmla="*/ 5353523 h 5808721"/>
              <a:gd name="connsiteX172" fmla="*/ 4999483 w 6251734"/>
              <a:gd name="connsiteY172" fmla="*/ 5212076 h 5808721"/>
              <a:gd name="connsiteX173" fmla="*/ 4932831 w 6251734"/>
              <a:gd name="connsiteY173" fmla="*/ 5171785 h 5808721"/>
              <a:gd name="connsiteX174" fmla="*/ 3619671 w 6251734"/>
              <a:gd name="connsiteY174" fmla="*/ 5143348 h 5808721"/>
              <a:gd name="connsiteX175" fmla="*/ 3566160 w 6251734"/>
              <a:gd name="connsiteY175" fmla="*/ 5158925 h 5808721"/>
              <a:gd name="connsiteX176" fmla="*/ 3557706 w 6251734"/>
              <a:gd name="connsiteY176" fmla="*/ 5249836 h 5808721"/>
              <a:gd name="connsiteX177" fmla="*/ 3569257 w 6251734"/>
              <a:gd name="connsiteY177" fmla="*/ 5280149 h 5808721"/>
              <a:gd name="connsiteX178" fmla="*/ 3649032 w 6251734"/>
              <a:gd name="connsiteY178" fmla="*/ 5262398 h 5808721"/>
              <a:gd name="connsiteX179" fmla="*/ 3668214 w 6251734"/>
              <a:gd name="connsiteY179" fmla="*/ 5260980 h 5808721"/>
              <a:gd name="connsiteX180" fmla="*/ 3669632 w 6251734"/>
              <a:gd name="connsiteY180" fmla="*/ 5241797 h 5808721"/>
              <a:gd name="connsiteX181" fmla="*/ 3683427 w 6251734"/>
              <a:gd name="connsiteY181" fmla="*/ 5172482 h 5808721"/>
              <a:gd name="connsiteX182" fmla="*/ 3686676 w 6251734"/>
              <a:gd name="connsiteY182" fmla="*/ 5161753 h 5808721"/>
              <a:gd name="connsiteX183" fmla="*/ 3657070 w 6251734"/>
              <a:gd name="connsiteY183" fmla="*/ 5150472 h 5808721"/>
              <a:gd name="connsiteX184" fmla="*/ 3619671 w 6251734"/>
              <a:gd name="connsiteY184" fmla="*/ 5143348 h 5808721"/>
              <a:gd name="connsiteX185" fmla="*/ 3995778 w 6251734"/>
              <a:gd name="connsiteY185" fmla="*/ 5142491 h 5808721"/>
              <a:gd name="connsiteX186" fmla="*/ 3958364 w 6251734"/>
              <a:gd name="connsiteY186" fmla="*/ 5149615 h 5808721"/>
              <a:gd name="connsiteX187" fmla="*/ 3928865 w 6251734"/>
              <a:gd name="connsiteY187" fmla="*/ 5160870 h 5808721"/>
              <a:gd name="connsiteX188" fmla="*/ 3932381 w 6251734"/>
              <a:gd name="connsiteY188" fmla="*/ 5172482 h 5808721"/>
              <a:gd name="connsiteX189" fmla="*/ 3946176 w 6251734"/>
              <a:gd name="connsiteY189" fmla="*/ 5241797 h 5808721"/>
              <a:gd name="connsiteX190" fmla="*/ 3947566 w 6251734"/>
              <a:gd name="connsiteY190" fmla="*/ 5260592 h 5808721"/>
              <a:gd name="connsiteX191" fmla="*/ 4036092 w 6251734"/>
              <a:gd name="connsiteY191" fmla="*/ 5276193 h 5808721"/>
              <a:gd name="connsiteX192" fmla="*/ 4046530 w 6251734"/>
              <a:gd name="connsiteY192" fmla="*/ 5279354 h 5808721"/>
              <a:gd name="connsiteX193" fmla="*/ 4058104 w 6251734"/>
              <a:gd name="connsiteY193" fmla="*/ 5248980 h 5808721"/>
              <a:gd name="connsiteX194" fmla="*/ 4049650 w 6251734"/>
              <a:gd name="connsiteY194" fmla="*/ 5158069 h 5808721"/>
              <a:gd name="connsiteX195" fmla="*/ 3995778 w 6251734"/>
              <a:gd name="connsiteY195" fmla="*/ 5142491 h 5808721"/>
              <a:gd name="connsiteX196" fmla="*/ 1795082 w 6251734"/>
              <a:gd name="connsiteY196" fmla="*/ 5089489 h 5808721"/>
              <a:gd name="connsiteX197" fmla="*/ 1747933 w 6251734"/>
              <a:gd name="connsiteY197" fmla="*/ 5137495 h 5808721"/>
              <a:gd name="connsiteX198" fmla="*/ 1795082 w 6251734"/>
              <a:gd name="connsiteY198" fmla="*/ 5185501 h 5808721"/>
              <a:gd name="connsiteX199" fmla="*/ 1813298 w 6251734"/>
              <a:gd name="connsiteY199" fmla="*/ 5181737 h 5808721"/>
              <a:gd name="connsiteX200" fmla="*/ 1824372 w 6251734"/>
              <a:gd name="connsiteY200" fmla="*/ 5174153 h 5808721"/>
              <a:gd name="connsiteX201" fmla="*/ 1839840 w 6251734"/>
              <a:gd name="connsiteY201" fmla="*/ 5131531 h 5808721"/>
              <a:gd name="connsiteX202" fmla="*/ 1828621 w 6251734"/>
              <a:gd name="connsiteY202" fmla="*/ 5103526 h 5808721"/>
              <a:gd name="connsiteX203" fmla="*/ 1795082 w 6251734"/>
              <a:gd name="connsiteY203" fmla="*/ 5089489 h 5808721"/>
              <a:gd name="connsiteX204" fmla="*/ 3807904 w 6251734"/>
              <a:gd name="connsiteY204" fmla="*/ 5057770 h 5808721"/>
              <a:gd name="connsiteX205" fmla="*/ 3737518 w 6251734"/>
              <a:gd name="connsiteY205" fmla="*/ 5116041 h 5808721"/>
              <a:gd name="connsiteX206" fmla="*/ 3724435 w 6251734"/>
              <a:gd name="connsiteY206" fmla="*/ 5145282 h 5808721"/>
              <a:gd name="connsiteX207" fmla="*/ 3733832 w 6251734"/>
              <a:gd name="connsiteY207" fmla="*/ 5150300 h 5808721"/>
              <a:gd name="connsiteX208" fmla="*/ 3792649 w 6251734"/>
              <a:gd name="connsiteY208" fmla="*/ 5189519 h 5808721"/>
              <a:gd name="connsiteX209" fmla="*/ 3807599 w 6251734"/>
              <a:gd name="connsiteY209" fmla="*/ 5202400 h 5808721"/>
              <a:gd name="connsiteX210" fmla="*/ 3821568 w 6251734"/>
              <a:gd name="connsiteY210" fmla="*/ 5190377 h 5808721"/>
              <a:gd name="connsiteX211" fmla="*/ 3880491 w 6251734"/>
              <a:gd name="connsiteY211" fmla="*/ 5151158 h 5808721"/>
              <a:gd name="connsiteX212" fmla="*/ 3891401 w 6251734"/>
              <a:gd name="connsiteY212" fmla="*/ 5145342 h 5808721"/>
              <a:gd name="connsiteX213" fmla="*/ 3878291 w 6251734"/>
              <a:gd name="connsiteY213" fmla="*/ 5116041 h 5808721"/>
              <a:gd name="connsiteX214" fmla="*/ 3807904 w 6251734"/>
              <a:gd name="connsiteY214" fmla="*/ 5057770 h 5808721"/>
              <a:gd name="connsiteX215" fmla="*/ 1830229 w 6251734"/>
              <a:gd name="connsiteY215" fmla="*/ 4995190 h 5808721"/>
              <a:gd name="connsiteX216" fmla="*/ 1795082 w 6251734"/>
              <a:gd name="connsiteY216" fmla="*/ 5031195 h 5808721"/>
              <a:gd name="connsiteX217" fmla="*/ 1830229 w 6251734"/>
              <a:gd name="connsiteY217" fmla="*/ 5067200 h 5808721"/>
              <a:gd name="connsiteX218" fmla="*/ 1865376 w 6251734"/>
              <a:gd name="connsiteY218" fmla="*/ 5031195 h 5808721"/>
              <a:gd name="connsiteX219" fmla="*/ 1830229 w 6251734"/>
              <a:gd name="connsiteY219" fmla="*/ 4995190 h 5808721"/>
              <a:gd name="connsiteX220" fmla="*/ 3807904 w 6251734"/>
              <a:gd name="connsiteY220" fmla="*/ 4992618 h 5808721"/>
              <a:gd name="connsiteX221" fmla="*/ 3914096 w 6251734"/>
              <a:gd name="connsiteY221" fmla="*/ 5112098 h 5808721"/>
              <a:gd name="connsiteX222" fmla="*/ 3919610 w 6251734"/>
              <a:gd name="connsiteY222" fmla="*/ 5130307 h 5808721"/>
              <a:gd name="connsiteX223" fmla="*/ 3936279 w 6251734"/>
              <a:gd name="connsiteY223" fmla="*/ 5121422 h 5808721"/>
              <a:gd name="connsiteX224" fmla="*/ 4032023 w 6251734"/>
              <a:gd name="connsiteY224" fmla="*/ 5093293 h 5808721"/>
              <a:gd name="connsiteX225" fmla="*/ 4095942 w 6251734"/>
              <a:gd name="connsiteY225" fmla="*/ 5111777 h 5808721"/>
              <a:gd name="connsiteX226" fmla="*/ 4086941 w 6251734"/>
              <a:gd name="connsiteY226" fmla="*/ 5271440 h 5808721"/>
              <a:gd name="connsiteX227" fmla="*/ 4077682 w 6251734"/>
              <a:gd name="connsiteY227" fmla="*/ 5288787 h 5808721"/>
              <a:gd name="connsiteX228" fmla="*/ 4096476 w 6251734"/>
              <a:gd name="connsiteY228" fmla="*/ 5294478 h 5808721"/>
              <a:gd name="connsiteX229" fmla="*/ 4215956 w 6251734"/>
              <a:gd name="connsiteY229" fmla="*/ 5400670 h 5808721"/>
              <a:gd name="connsiteX230" fmla="*/ 4146292 w 6251734"/>
              <a:gd name="connsiteY230" fmla="*/ 5484302 h 5808721"/>
              <a:gd name="connsiteX231" fmla="*/ 4077351 w 6251734"/>
              <a:gd name="connsiteY231" fmla="*/ 5512259 h 5808721"/>
              <a:gd name="connsiteX232" fmla="*/ 4086298 w 6251734"/>
              <a:gd name="connsiteY232" fmla="*/ 5529044 h 5808721"/>
              <a:gd name="connsiteX233" fmla="*/ 4095942 w 6251734"/>
              <a:gd name="connsiteY233" fmla="*/ 5688707 h 5808721"/>
              <a:gd name="connsiteX234" fmla="*/ 3987551 w 6251734"/>
              <a:gd name="connsiteY234" fmla="*/ 5698969 h 5808721"/>
              <a:gd name="connsiteX235" fmla="*/ 3919857 w 6251734"/>
              <a:gd name="connsiteY235" fmla="*/ 5670215 h 5808721"/>
              <a:gd name="connsiteX236" fmla="*/ 3914096 w 6251734"/>
              <a:gd name="connsiteY236" fmla="*/ 5689242 h 5808721"/>
              <a:gd name="connsiteX237" fmla="*/ 3807904 w 6251734"/>
              <a:gd name="connsiteY237" fmla="*/ 5808721 h 5808721"/>
              <a:gd name="connsiteX238" fmla="*/ 3702033 w 6251734"/>
              <a:gd name="connsiteY238" fmla="*/ 5689242 h 5808721"/>
              <a:gd name="connsiteX239" fmla="*/ 3696238 w 6251734"/>
              <a:gd name="connsiteY239" fmla="*/ 5670203 h 5808721"/>
              <a:gd name="connsiteX240" fmla="*/ 3627147 w 6251734"/>
              <a:gd name="connsiteY240" fmla="*/ 5699451 h 5808721"/>
              <a:gd name="connsiteX241" fmla="*/ 3518154 w 6251734"/>
              <a:gd name="connsiteY241" fmla="*/ 5689565 h 5808721"/>
              <a:gd name="connsiteX242" fmla="*/ 3527798 w 6251734"/>
              <a:gd name="connsiteY242" fmla="*/ 5529580 h 5808721"/>
              <a:gd name="connsiteX243" fmla="*/ 3537061 w 6251734"/>
              <a:gd name="connsiteY243" fmla="*/ 5512231 h 5808721"/>
              <a:gd name="connsiteX244" fmla="*/ 3519332 w 6251734"/>
              <a:gd name="connsiteY244" fmla="*/ 5506862 h 5808721"/>
              <a:gd name="connsiteX245" fmla="*/ 3399853 w 6251734"/>
              <a:gd name="connsiteY245" fmla="*/ 5400670 h 5808721"/>
              <a:gd name="connsiteX246" fmla="*/ 3469516 w 6251734"/>
              <a:gd name="connsiteY246" fmla="*/ 5316662 h 5808721"/>
              <a:gd name="connsiteX247" fmla="*/ 3537546 w 6251734"/>
              <a:gd name="connsiteY247" fmla="*/ 5289161 h 5808721"/>
              <a:gd name="connsiteX248" fmla="*/ 3527798 w 6251734"/>
              <a:gd name="connsiteY248" fmla="*/ 5270904 h 5808721"/>
              <a:gd name="connsiteX249" fmla="*/ 3518154 w 6251734"/>
              <a:gd name="connsiteY249" fmla="*/ 5110919 h 5808721"/>
              <a:gd name="connsiteX250" fmla="*/ 3582435 w 6251734"/>
              <a:gd name="connsiteY250" fmla="*/ 5092435 h 5808721"/>
              <a:gd name="connsiteX251" fmla="*/ 3678139 w 6251734"/>
              <a:gd name="connsiteY251" fmla="*/ 5120564 h 5808721"/>
              <a:gd name="connsiteX252" fmla="*/ 3696224 w 6251734"/>
              <a:gd name="connsiteY252" fmla="*/ 5130220 h 5808721"/>
              <a:gd name="connsiteX253" fmla="*/ 3701712 w 6251734"/>
              <a:gd name="connsiteY253" fmla="*/ 5112098 h 5808721"/>
              <a:gd name="connsiteX254" fmla="*/ 3807904 w 6251734"/>
              <a:gd name="connsiteY254" fmla="*/ 4992618 h 5808721"/>
              <a:gd name="connsiteX255" fmla="*/ 2165414 w 6251734"/>
              <a:gd name="connsiteY255" fmla="*/ 4987475 h 5808721"/>
              <a:gd name="connsiteX256" fmla="*/ 2099834 w 6251734"/>
              <a:gd name="connsiteY256" fmla="*/ 5030874 h 5808721"/>
              <a:gd name="connsiteX257" fmla="*/ 2095529 w 6251734"/>
              <a:gd name="connsiteY257" fmla="*/ 5052318 h 5808721"/>
              <a:gd name="connsiteX258" fmla="*/ 2115842 w 6251734"/>
              <a:gd name="connsiteY258" fmla="*/ 5109524 h 5808721"/>
              <a:gd name="connsiteX259" fmla="*/ 2137660 w 6251734"/>
              <a:gd name="connsiteY259" fmla="*/ 5124207 h 5808721"/>
              <a:gd name="connsiteX260" fmla="*/ 2165414 w 6251734"/>
              <a:gd name="connsiteY260" fmla="*/ 5129779 h 5808721"/>
              <a:gd name="connsiteX261" fmla="*/ 2236565 w 6251734"/>
              <a:gd name="connsiteY261" fmla="*/ 5058628 h 5808721"/>
              <a:gd name="connsiteX262" fmla="*/ 2165414 w 6251734"/>
              <a:gd name="connsiteY262" fmla="*/ 4987475 h 5808721"/>
              <a:gd name="connsiteX263" fmla="*/ 5334024 w 6251734"/>
              <a:gd name="connsiteY263" fmla="*/ 4966796 h 5808721"/>
              <a:gd name="connsiteX264" fmla="*/ 5296091 w 6251734"/>
              <a:gd name="connsiteY264" fmla="*/ 4976333 h 5808721"/>
              <a:gd name="connsiteX265" fmla="*/ 5285804 w 6251734"/>
              <a:gd name="connsiteY265" fmla="*/ 5048341 h 5808721"/>
              <a:gd name="connsiteX266" fmla="*/ 5356956 w 6251734"/>
              <a:gd name="connsiteY266" fmla="*/ 5059486 h 5808721"/>
              <a:gd name="connsiteX267" fmla="*/ 5368100 w 6251734"/>
              <a:gd name="connsiteY267" fmla="*/ 4987477 h 5808721"/>
              <a:gd name="connsiteX268" fmla="*/ 5334024 w 6251734"/>
              <a:gd name="connsiteY268" fmla="*/ 4966796 h 5808721"/>
              <a:gd name="connsiteX269" fmla="*/ 1939100 w 6251734"/>
              <a:gd name="connsiteY269" fmla="*/ 4858031 h 5808721"/>
              <a:gd name="connsiteX270" fmla="*/ 2026539 w 6251734"/>
              <a:gd name="connsiteY270" fmla="*/ 4858031 h 5808721"/>
              <a:gd name="connsiteX271" fmla="*/ 2042850 w 6251734"/>
              <a:gd name="connsiteY271" fmla="*/ 4903966 h 5808721"/>
              <a:gd name="connsiteX272" fmla="*/ 2112264 w 6251734"/>
              <a:gd name="connsiteY272" fmla="*/ 4899178 h 5808721"/>
              <a:gd name="connsiteX273" fmla="*/ 2286286 w 6251734"/>
              <a:gd name="connsiteY273" fmla="*/ 5018336 h 5808721"/>
              <a:gd name="connsiteX274" fmla="*/ 2136267 w 6251734"/>
              <a:gd name="connsiteY274" fmla="*/ 5212076 h 5808721"/>
              <a:gd name="connsiteX275" fmla="*/ 1901381 w 6251734"/>
              <a:gd name="connsiteY275" fmla="*/ 5428960 h 5808721"/>
              <a:gd name="connsiteX276" fmla="*/ 1852317 w 6251734"/>
              <a:gd name="connsiteY276" fmla="*/ 4950224 h 5808721"/>
              <a:gd name="connsiteX277" fmla="*/ 1914216 w 6251734"/>
              <a:gd name="connsiteY277" fmla="*/ 4926595 h 5808721"/>
              <a:gd name="connsiteX278" fmla="*/ 5285697 w 6251734"/>
              <a:gd name="connsiteY278" fmla="*/ 4798238 h 5808721"/>
              <a:gd name="connsiteX279" fmla="*/ 5235226 w 6251734"/>
              <a:gd name="connsiteY279" fmla="*/ 4810882 h 5808721"/>
              <a:gd name="connsiteX280" fmla="*/ 5221511 w 6251734"/>
              <a:gd name="connsiteY280" fmla="*/ 4906038 h 5808721"/>
              <a:gd name="connsiteX281" fmla="*/ 5316665 w 6251734"/>
              <a:gd name="connsiteY281" fmla="*/ 4920611 h 5808721"/>
              <a:gd name="connsiteX282" fmla="*/ 5330381 w 6251734"/>
              <a:gd name="connsiteY282" fmla="*/ 4825456 h 5808721"/>
              <a:gd name="connsiteX283" fmla="*/ 5285697 w 6251734"/>
              <a:gd name="connsiteY283" fmla="*/ 4798238 h 5808721"/>
              <a:gd name="connsiteX284" fmla="*/ 5149716 w 6251734"/>
              <a:gd name="connsiteY284" fmla="*/ 4681759 h 5808721"/>
              <a:gd name="connsiteX285" fmla="*/ 5092066 w 6251734"/>
              <a:gd name="connsiteY285" fmla="*/ 4696011 h 5808721"/>
              <a:gd name="connsiteX286" fmla="*/ 5076635 w 6251734"/>
              <a:gd name="connsiteY286" fmla="*/ 4804881 h 5808721"/>
              <a:gd name="connsiteX287" fmla="*/ 5185506 w 6251734"/>
              <a:gd name="connsiteY287" fmla="*/ 4822027 h 5808721"/>
              <a:gd name="connsiteX288" fmla="*/ 5200936 w 6251734"/>
              <a:gd name="connsiteY288" fmla="*/ 4713156 h 5808721"/>
              <a:gd name="connsiteX289" fmla="*/ 5149716 w 6251734"/>
              <a:gd name="connsiteY289" fmla="*/ 4681759 h 5808721"/>
              <a:gd name="connsiteX290" fmla="*/ 4961978 w 6251734"/>
              <a:gd name="connsiteY290" fmla="*/ 4656899 h 5808721"/>
              <a:gd name="connsiteX291" fmla="*/ 4900042 w 6251734"/>
              <a:gd name="connsiteY291" fmla="*/ 4672008 h 5808721"/>
              <a:gd name="connsiteX292" fmla="*/ 4882897 w 6251734"/>
              <a:gd name="connsiteY292" fmla="*/ 4789451 h 5808721"/>
              <a:gd name="connsiteX293" fmla="*/ 5000340 w 6251734"/>
              <a:gd name="connsiteY293" fmla="*/ 4807453 h 5808721"/>
              <a:gd name="connsiteX294" fmla="*/ 5017485 w 6251734"/>
              <a:gd name="connsiteY294" fmla="*/ 4690010 h 5808721"/>
              <a:gd name="connsiteX295" fmla="*/ 4961978 w 6251734"/>
              <a:gd name="connsiteY295" fmla="*/ 4656899 h 5808721"/>
              <a:gd name="connsiteX296" fmla="*/ 4998395 w 6251734"/>
              <a:gd name="connsiteY296" fmla="*/ 4598030 h 5808721"/>
              <a:gd name="connsiteX297" fmla="*/ 5114354 w 6251734"/>
              <a:gd name="connsiteY297" fmla="*/ 5410101 h 5808721"/>
              <a:gd name="connsiteX298" fmla="*/ 4811745 w 6251734"/>
              <a:gd name="connsiteY298" fmla="*/ 5421245 h 5808721"/>
              <a:gd name="connsiteX299" fmla="*/ 4821175 w 6251734"/>
              <a:gd name="connsiteY299" fmla="*/ 5069772 h 5808721"/>
              <a:gd name="connsiteX300" fmla="*/ 4906043 w 6251734"/>
              <a:gd name="connsiteY300" fmla="*/ 4620573 h 5808721"/>
              <a:gd name="connsiteX301" fmla="*/ 4998395 w 6251734"/>
              <a:gd name="connsiteY301" fmla="*/ 4598030 h 5808721"/>
              <a:gd name="connsiteX302" fmla="*/ 4274249 w 6251734"/>
              <a:gd name="connsiteY302" fmla="*/ 4584568 h 5808721"/>
              <a:gd name="connsiteX303" fmla="*/ 4374548 w 6251734"/>
              <a:gd name="connsiteY303" fmla="*/ 4755161 h 5808721"/>
              <a:gd name="connsiteX304" fmla="*/ 4257961 w 6251734"/>
              <a:gd name="connsiteY304" fmla="*/ 4835742 h 5808721"/>
              <a:gd name="connsiteX305" fmla="*/ 4411409 w 6251734"/>
              <a:gd name="connsiteY305" fmla="*/ 4762876 h 5808721"/>
              <a:gd name="connsiteX306" fmla="*/ 4274249 w 6251734"/>
              <a:gd name="connsiteY306" fmla="*/ 4584568 h 5808721"/>
              <a:gd name="connsiteX307" fmla="*/ 3351982 w 6251734"/>
              <a:gd name="connsiteY307" fmla="*/ 4540192 h 5808721"/>
              <a:gd name="connsiteX308" fmla="*/ 3423000 w 6251734"/>
              <a:gd name="connsiteY308" fmla="*/ 4575995 h 5808721"/>
              <a:gd name="connsiteX309" fmla="*/ 3655315 w 6251734"/>
              <a:gd name="connsiteY309" fmla="*/ 4575995 h 5808721"/>
              <a:gd name="connsiteX310" fmla="*/ 3655315 w 6251734"/>
              <a:gd name="connsiteY310" fmla="*/ 4916325 h 5808721"/>
              <a:gd name="connsiteX311" fmla="*/ 3417856 w 6251734"/>
              <a:gd name="connsiteY311" fmla="*/ 4918039 h 5808721"/>
              <a:gd name="connsiteX312" fmla="*/ 3190684 w 6251734"/>
              <a:gd name="connsiteY312" fmla="*/ 4914610 h 5808721"/>
              <a:gd name="connsiteX313" fmla="*/ 3190684 w 6251734"/>
              <a:gd name="connsiteY313" fmla="*/ 4575995 h 5808721"/>
              <a:gd name="connsiteX314" fmla="*/ 3351982 w 6251734"/>
              <a:gd name="connsiteY314" fmla="*/ 4540192 h 5808721"/>
              <a:gd name="connsiteX315" fmla="*/ 2448416 w 6251734"/>
              <a:gd name="connsiteY315" fmla="*/ 4421371 h 5808721"/>
              <a:gd name="connsiteX316" fmla="*/ 2457738 w 6251734"/>
              <a:gd name="connsiteY316" fmla="*/ 4427692 h 5808721"/>
              <a:gd name="connsiteX317" fmla="*/ 2484119 w 6251734"/>
              <a:gd name="connsiteY317" fmla="*/ 4467601 h 5808721"/>
              <a:gd name="connsiteX318" fmla="*/ 2494346 w 6251734"/>
              <a:gd name="connsiteY318" fmla="*/ 4463537 h 5808721"/>
              <a:gd name="connsiteX319" fmla="*/ 2578610 w 6251734"/>
              <a:gd name="connsiteY319" fmla="*/ 4499701 h 5808721"/>
              <a:gd name="connsiteX320" fmla="*/ 2590397 w 6251734"/>
              <a:gd name="connsiteY320" fmla="*/ 4561960 h 5808721"/>
              <a:gd name="connsiteX321" fmla="*/ 2583304 w 6251734"/>
              <a:gd name="connsiteY321" fmla="*/ 4578864 h 5808721"/>
              <a:gd name="connsiteX322" fmla="*/ 2600248 w 6251734"/>
              <a:gd name="connsiteY322" fmla="*/ 4591301 h 5808721"/>
              <a:gd name="connsiteX323" fmla="*/ 3017521 w 6251734"/>
              <a:gd name="connsiteY323" fmla="*/ 4906038 h 5808721"/>
              <a:gd name="connsiteX324" fmla="*/ 2910365 w 6251734"/>
              <a:gd name="connsiteY324" fmla="*/ 4886321 h 5808721"/>
              <a:gd name="connsiteX325" fmla="*/ 2580176 w 6251734"/>
              <a:gd name="connsiteY325" fmla="*/ 4648353 h 5808721"/>
              <a:gd name="connsiteX326" fmla="*/ 2571469 w 6251734"/>
              <a:gd name="connsiteY326" fmla="*/ 4642020 h 5808721"/>
              <a:gd name="connsiteX327" fmla="*/ 2632617 w 6251734"/>
              <a:gd name="connsiteY327" fmla="*/ 5059485 h 5808721"/>
              <a:gd name="connsiteX328" fmla="*/ 2611186 w 6251734"/>
              <a:gd name="connsiteY328" fmla="*/ 5161498 h 5808721"/>
              <a:gd name="connsiteX329" fmla="*/ 2574324 w 6251734"/>
              <a:gd name="connsiteY329" fmla="*/ 5065486 h 5808721"/>
              <a:gd name="connsiteX330" fmla="*/ 2504337 w 6251734"/>
              <a:gd name="connsiteY330" fmla="*/ 4626262 h 5808721"/>
              <a:gd name="connsiteX331" fmla="*/ 2492028 w 6251734"/>
              <a:gd name="connsiteY331" fmla="*/ 4626039 h 5808721"/>
              <a:gd name="connsiteX332" fmla="*/ 2439736 w 6251734"/>
              <a:gd name="connsiteY332" fmla="*/ 4590570 h 5808721"/>
              <a:gd name="connsiteX333" fmla="*/ 2440218 w 6251734"/>
              <a:gd name="connsiteY333" fmla="*/ 4499073 h 5808721"/>
              <a:gd name="connsiteX334" fmla="*/ 2457768 w 6251734"/>
              <a:gd name="connsiteY334" fmla="*/ 4481633 h 5808721"/>
              <a:gd name="connsiteX335" fmla="*/ 2432878 w 6251734"/>
              <a:gd name="connsiteY335" fmla="*/ 4443980 h 5808721"/>
              <a:gd name="connsiteX336" fmla="*/ 2437164 w 6251734"/>
              <a:gd name="connsiteY336" fmla="*/ 4423406 h 5808721"/>
              <a:gd name="connsiteX337" fmla="*/ 2448416 w 6251734"/>
              <a:gd name="connsiteY337" fmla="*/ 4421371 h 5808721"/>
              <a:gd name="connsiteX338" fmla="*/ 1177862 w 6251734"/>
              <a:gd name="connsiteY338" fmla="*/ 4374542 h 5808721"/>
              <a:gd name="connsiteX339" fmla="*/ 1272159 w 6251734"/>
              <a:gd name="connsiteY339" fmla="*/ 4609429 h 5808721"/>
              <a:gd name="connsiteX340" fmla="*/ 1177862 w 6251734"/>
              <a:gd name="connsiteY340" fmla="*/ 4374542 h 5808721"/>
              <a:gd name="connsiteX341" fmla="*/ 1102424 w 6251734"/>
              <a:gd name="connsiteY341" fmla="*/ 4309391 h 5808721"/>
              <a:gd name="connsiteX342" fmla="*/ 1108424 w 6251734"/>
              <a:gd name="connsiteY342" fmla="*/ 4309391 h 5808721"/>
              <a:gd name="connsiteX343" fmla="*/ 1109281 w 6251734"/>
              <a:gd name="connsiteY343" fmla="*/ 4309391 h 5808721"/>
              <a:gd name="connsiteX344" fmla="*/ 1115282 w 6251734"/>
              <a:gd name="connsiteY344" fmla="*/ 4309391 h 5808721"/>
              <a:gd name="connsiteX345" fmla="*/ 1276445 w 6251734"/>
              <a:gd name="connsiteY345" fmla="*/ 4720014 h 5808721"/>
              <a:gd name="connsiteX346" fmla="*/ 1193292 w 6251734"/>
              <a:gd name="connsiteY346" fmla="*/ 4900894 h 5808721"/>
              <a:gd name="connsiteX347" fmla="*/ 1121283 w 6251734"/>
              <a:gd name="connsiteY347" fmla="*/ 4900894 h 5808721"/>
              <a:gd name="connsiteX348" fmla="*/ 1108424 w 6251734"/>
              <a:gd name="connsiteY348" fmla="*/ 4900894 h 5808721"/>
              <a:gd name="connsiteX349" fmla="*/ 1030415 w 6251734"/>
              <a:gd name="connsiteY349" fmla="*/ 4900894 h 5808721"/>
              <a:gd name="connsiteX350" fmla="*/ 944690 w 6251734"/>
              <a:gd name="connsiteY350" fmla="*/ 4720014 h 5808721"/>
              <a:gd name="connsiteX351" fmla="*/ 1102424 w 6251734"/>
              <a:gd name="connsiteY351" fmla="*/ 4309391 h 5808721"/>
              <a:gd name="connsiteX352" fmla="*/ 4160235 w 6251734"/>
              <a:gd name="connsiteY352" fmla="*/ 4161086 h 5808721"/>
              <a:gd name="connsiteX353" fmla="*/ 4264820 w 6251734"/>
              <a:gd name="connsiteY353" fmla="*/ 4201377 h 5808721"/>
              <a:gd name="connsiteX354" fmla="*/ 4264820 w 6251734"/>
              <a:gd name="connsiteY354" fmla="*/ 4203949 h 5808721"/>
              <a:gd name="connsiteX355" fmla="*/ 4269106 w 6251734"/>
              <a:gd name="connsiteY355" fmla="*/ 4203949 h 5808721"/>
              <a:gd name="connsiteX356" fmla="*/ 4269106 w 6251734"/>
              <a:gd name="connsiteY356" fmla="*/ 4279387 h 5808721"/>
              <a:gd name="connsiteX357" fmla="*/ 4264820 w 6251734"/>
              <a:gd name="connsiteY357" fmla="*/ 4279387 h 5808721"/>
              <a:gd name="connsiteX358" fmla="*/ 4247675 w 6251734"/>
              <a:gd name="connsiteY358" fmla="*/ 4301676 h 5808721"/>
              <a:gd name="connsiteX359" fmla="*/ 4247675 w 6251734"/>
              <a:gd name="connsiteY359" fmla="*/ 4473126 h 5808721"/>
              <a:gd name="connsiteX360" fmla="*/ 4263962 w 6251734"/>
              <a:gd name="connsiteY360" fmla="*/ 4515131 h 5808721"/>
              <a:gd name="connsiteX361" fmla="*/ 4425983 w 6251734"/>
              <a:gd name="connsiteY361" fmla="*/ 4833171 h 5808721"/>
              <a:gd name="connsiteX362" fmla="*/ 4161091 w 6251734"/>
              <a:gd name="connsiteY362" fmla="*/ 4891464 h 5808721"/>
              <a:gd name="connsiteX363" fmla="*/ 3896201 w 6251734"/>
              <a:gd name="connsiteY363" fmla="*/ 4833171 h 5808721"/>
              <a:gd name="connsiteX364" fmla="*/ 4062507 w 6251734"/>
              <a:gd name="connsiteY364" fmla="*/ 4515131 h 5808721"/>
              <a:gd name="connsiteX365" fmla="*/ 4085653 w 6251734"/>
              <a:gd name="connsiteY365" fmla="*/ 4473126 h 5808721"/>
              <a:gd name="connsiteX366" fmla="*/ 4085653 w 6251734"/>
              <a:gd name="connsiteY366" fmla="*/ 4302533 h 5808721"/>
              <a:gd name="connsiteX367" fmla="*/ 4055650 w 6251734"/>
              <a:gd name="connsiteY367" fmla="*/ 4279387 h 5808721"/>
              <a:gd name="connsiteX368" fmla="*/ 4053935 w 6251734"/>
              <a:gd name="connsiteY368" fmla="*/ 4279387 h 5808721"/>
              <a:gd name="connsiteX369" fmla="*/ 4053935 w 6251734"/>
              <a:gd name="connsiteY369" fmla="*/ 4203949 h 5808721"/>
              <a:gd name="connsiteX370" fmla="*/ 4055650 w 6251734"/>
              <a:gd name="connsiteY370" fmla="*/ 4203949 h 5808721"/>
              <a:gd name="connsiteX371" fmla="*/ 4055650 w 6251734"/>
              <a:gd name="connsiteY371" fmla="*/ 4201377 h 5808721"/>
              <a:gd name="connsiteX372" fmla="*/ 4160235 w 6251734"/>
              <a:gd name="connsiteY372" fmla="*/ 4161086 h 5808721"/>
              <a:gd name="connsiteX373" fmla="*/ 1690622 w 6251734"/>
              <a:gd name="connsiteY373" fmla="*/ 3905928 h 5808721"/>
              <a:gd name="connsiteX374" fmla="*/ 1557624 w 6251734"/>
              <a:gd name="connsiteY374" fmla="*/ 3959633 h 5808721"/>
              <a:gd name="connsiteX375" fmla="*/ 1521619 w 6251734"/>
              <a:gd name="connsiteY375" fmla="*/ 4304248 h 5808721"/>
              <a:gd name="connsiteX376" fmla="*/ 1866235 w 6251734"/>
              <a:gd name="connsiteY376" fmla="*/ 4340253 h 5808721"/>
              <a:gd name="connsiteX377" fmla="*/ 1902239 w 6251734"/>
              <a:gd name="connsiteY377" fmla="*/ 3995637 h 5808721"/>
              <a:gd name="connsiteX378" fmla="*/ 1690622 w 6251734"/>
              <a:gd name="connsiteY378" fmla="*/ 3905928 h 5808721"/>
              <a:gd name="connsiteX379" fmla="*/ 1684921 w 6251734"/>
              <a:gd name="connsiteY379" fmla="*/ 3849926 h 5808721"/>
              <a:gd name="connsiteX380" fmla="*/ 1945102 w 6251734"/>
              <a:gd name="connsiteY380" fmla="*/ 3960490 h 5808721"/>
              <a:gd name="connsiteX381" fmla="*/ 1944751 w 6251734"/>
              <a:gd name="connsiteY381" fmla="*/ 4341023 h 5808721"/>
              <a:gd name="connsiteX382" fmla="*/ 1930222 w 6251734"/>
              <a:gd name="connsiteY382" fmla="*/ 4355411 h 5808721"/>
              <a:gd name="connsiteX383" fmla="*/ 1980119 w 6251734"/>
              <a:gd name="connsiteY383" fmla="*/ 4416919 h 5808721"/>
              <a:gd name="connsiteX384" fmla="*/ 1986891 w 6251734"/>
              <a:gd name="connsiteY384" fmla="*/ 4416333 h 5808721"/>
              <a:gd name="connsiteX385" fmla="*/ 2030826 w 6251734"/>
              <a:gd name="connsiteY385" fmla="*/ 4439693 h 5808721"/>
              <a:gd name="connsiteX386" fmla="*/ 2204848 w 6251734"/>
              <a:gd name="connsiteY386" fmla="*/ 4654864 h 5808721"/>
              <a:gd name="connsiteX387" fmla="*/ 2195418 w 6251734"/>
              <a:gd name="connsiteY387" fmla="*/ 4746590 h 5808721"/>
              <a:gd name="connsiteX388" fmla="*/ 2103692 w 6251734"/>
              <a:gd name="connsiteY388" fmla="*/ 4737160 h 5808721"/>
              <a:gd name="connsiteX389" fmla="*/ 1929670 w 6251734"/>
              <a:gd name="connsiteY389" fmla="*/ 4521990 h 5808721"/>
              <a:gd name="connsiteX390" fmla="*/ 1915740 w 6251734"/>
              <a:gd name="connsiteY390" fmla="*/ 4474198 h 5808721"/>
              <a:gd name="connsiteX391" fmla="*/ 1917360 w 6251734"/>
              <a:gd name="connsiteY391" fmla="*/ 4468826 h 5808721"/>
              <a:gd name="connsiteX392" fmla="*/ 1866912 w 6251734"/>
              <a:gd name="connsiteY392" fmla="*/ 4406639 h 5808721"/>
              <a:gd name="connsiteX393" fmla="*/ 1850557 w 6251734"/>
              <a:gd name="connsiteY393" fmla="*/ 4417393 h 5808721"/>
              <a:gd name="connsiteX394" fmla="*/ 1477899 w 6251734"/>
              <a:gd name="connsiteY394" fmla="*/ 4339396 h 5808721"/>
              <a:gd name="connsiteX395" fmla="*/ 1521619 w 6251734"/>
              <a:gd name="connsiteY395" fmla="*/ 3915913 h 5808721"/>
              <a:gd name="connsiteX396" fmla="*/ 1684921 w 6251734"/>
              <a:gd name="connsiteY396" fmla="*/ 3849926 h 5808721"/>
              <a:gd name="connsiteX397" fmla="*/ 812246 w 6251734"/>
              <a:gd name="connsiteY397" fmla="*/ 3781539 h 5808721"/>
              <a:gd name="connsiteX398" fmla="*/ 822961 w 6251734"/>
              <a:gd name="connsiteY398" fmla="*/ 3785611 h 5808721"/>
              <a:gd name="connsiteX399" fmla="*/ 823818 w 6251734"/>
              <a:gd name="connsiteY399" fmla="*/ 3807042 h 5808721"/>
              <a:gd name="connsiteX400" fmla="*/ 792194 w 6251734"/>
              <a:gd name="connsiteY400" fmla="*/ 3842032 h 5808721"/>
              <a:gd name="connsiteX401" fmla="*/ 798502 w 6251734"/>
              <a:gd name="connsiteY401" fmla="*/ 3850722 h 5808721"/>
              <a:gd name="connsiteX402" fmla="*/ 785241 w 6251734"/>
              <a:gd name="connsiteY402" fmla="*/ 3940773 h 5808721"/>
              <a:gd name="connsiteX403" fmla="*/ 727912 w 6251734"/>
              <a:gd name="connsiteY403" fmla="*/ 3967562 h 5808721"/>
              <a:gd name="connsiteX404" fmla="*/ 709923 w 6251734"/>
              <a:gd name="connsiteY404" fmla="*/ 3965051 h 5808721"/>
              <a:gd name="connsiteX405" fmla="*/ 701209 w 6251734"/>
              <a:gd name="connsiteY405" fmla="*/ 3986914 h 5808721"/>
              <a:gd name="connsiteX406" fmla="*/ 501492 w 6251734"/>
              <a:gd name="connsiteY406" fmla="*/ 4469697 h 5808721"/>
              <a:gd name="connsiteX407" fmla="*/ 493776 w 6251734"/>
              <a:gd name="connsiteY407" fmla="*/ 4360826 h 5808721"/>
              <a:gd name="connsiteX408" fmla="*/ 640969 w 6251734"/>
              <a:gd name="connsiteY408" fmla="*/ 3980729 h 5808721"/>
              <a:gd name="connsiteX409" fmla="*/ 644840 w 6251734"/>
              <a:gd name="connsiteY409" fmla="*/ 3970847 h 5808721"/>
              <a:gd name="connsiteX410" fmla="*/ 257175 w 6251734"/>
              <a:gd name="connsiteY410" fmla="*/ 4134512 h 5808721"/>
              <a:gd name="connsiteX411" fmla="*/ 152590 w 6251734"/>
              <a:gd name="connsiteY411" fmla="*/ 4139655 h 5808721"/>
              <a:gd name="connsiteX412" fmla="*/ 236601 w 6251734"/>
              <a:gd name="connsiteY412" fmla="*/ 4079647 h 5808721"/>
              <a:gd name="connsiteX413" fmla="*/ 644257 w 6251734"/>
              <a:gd name="connsiteY413" fmla="*/ 3901600 h 5808721"/>
              <a:gd name="connsiteX414" fmla="*/ 641223 w 6251734"/>
              <a:gd name="connsiteY414" fmla="*/ 3889445 h 5808721"/>
              <a:gd name="connsiteX415" fmla="*/ 662654 w 6251734"/>
              <a:gd name="connsiteY415" fmla="*/ 3830188 h 5808721"/>
              <a:gd name="connsiteX416" fmla="*/ 719983 w 6251734"/>
              <a:gd name="connsiteY416" fmla="*/ 3802756 h 5808721"/>
              <a:gd name="connsiteX417" fmla="*/ 751260 w 6251734"/>
              <a:gd name="connsiteY417" fmla="*/ 3807283 h 5808721"/>
              <a:gd name="connsiteX418" fmla="*/ 771606 w 6251734"/>
              <a:gd name="connsiteY418" fmla="*/ 3819575 h 5808721"/>
              <a:gd name="connsiteX419" fmla="*/ 801530 w 6251734"/>
              <a:gd name="connsiteY419" fmla="*/ 3786468 h 5808721"/>
              <a:gd name="connsiteX420" fmla="*/ 812246 w 6251734"/>
              <a:gd name="connsiteY420" fmla="*/ 3781539 h 5808721"/>
              <a:gd name="connsiteX421" fmla="*/ 5496913 w 6251734"/>
              <a:gd name="connsiteY421" fmla="*/ 3702672 h 5808721"/>
              <a:gd name="connsiteX422" fmla="*/ 5456397 w 6251734"/>
              <a:gd name="connsiteY422" fmla="*/ 3737606 h 5808721"/>
              <a:gd name="connsiteX423" fmla="*/ 5490901 w 6251734"/>
              <a:gd name="connsiteY423" fmla="*/ 3706745 h 5808721"/>
              <a:gd name="connsiteX424" fmla="*/ 5797583 w 6251734"/>
              <a:gd name="connsiteY424" fmla="*/ 3639879 h 5808721"/>
              <a:gd name="connsiteX425" fmla="*/ 5805112 w 6251734"/>
              <a:gd name="connsiteY425" fmla="*/ 3642965 h 5808721"/>
              <a:gd name="connsiteX426" fmla="*/ 5820840 w 6251734"/>
              <a:gd name="connsiteY426" fmla="*/ 3650383 h 5808721"/>
              <a:gd name="connsiteX427" fmla="*/ 5699857 w 6251734"/>
              <a:gd name="connsiteY427" fmla="*/ 3627877 h 5808721"/>
              <a:gd name="connsiteX428" fmla="*/ 5704143 w 6251734"/>
              <a:gd name="connsiteY428" fmla="*/ 3631306 h 5808721"/>
              <a:gd name="connsiteX429" fmla="*/ 5699857 w 6251734"/>
              <a:gd name="connsiteY429" fmla="*/ 3638164 h 5808721"/>
              <a:gd name="connsiteX430" fmla="*/ 5703285 w 6251734"/>
              <a:gd name="connsiteY430" fmla="*/ 3639022 h 5808721"/>
              <a:gd name="connsiteX431" fmla="*/ 5717002 w 6251734"/>
              <a:gd name="connsiteY431" fmla="*/ 3648451 h 5808721"/>
              <a:gd name="connsiteX432" fmla="*/ 5698999 w 6251734"/>
              <a:gd name="connsiteY432" fmla="*/ 3652738 h 5808721"/>
              <a:gd name="connsiteX433" fmla="*/ 5677567 w 6251734"/>
              <a:gd name="connsiteY433" fmla="*/ 3646737 h 5808721"/>
              <a:gd name="connsiteX434" fmla="*/ 5656993 w 6251734"/>
              <a:gd name="connsiteY434" fmla="*/ 3664739 h 5808721"/>
              <a:gd name="connsiteX435" fmla="*/ 5645849 w 6251734"/>
              <a:gd name="connsiteY435" fmla="*/ 3681027 h 5808721"/>
              <a:gd name="connsiteX436" fmla="*/ 5656136 w 6251734"/>
              <a:gd name="connsiteY436" fmla="*/ 3687028 h 5808721"/>
              <a:gd name="connsiteX437" fmla="*/ 5665566 w 6251734"/>
              <a:gd name="connsiteY437" fmla="*/ 3687885 h 5808721"/>
              <a:gd name="connsiteX438" fmla="*/ 5689569 w 6251734"/>
              <a:gd name="connsiteY438" fmla="*/ 3683599 h 5808721"/>
              <a:gd name="connsiteX439" fmla="*/ 5695569 w 6251734"/>
              <a:gd name="connsiteY439" fmla="*/ 3698172 h 5808721"/>
              <a:gd name="connsiteX440" fmla="*/ 5717859 w 6251734"/>
              <a:gd name="connsiteY440" fmla="*/ 3709316 h 5808721"/>
              <a:gd name="connsiteX441" fmla="*/ 5730718 w 6251734"/>
              <a:gd name="connsiteY441" fmla="*/ 3723889 h 5808721"/>
              <a:gd name="connsiteX442" fmla="*/ 5715287 w 6251734"/>
              <a:gd name="connsiteY442" fmla="*/ 3734176 h 5808721"/>
              <a:gd name="connsiteX443" fmla="*/ 5699857 w 6251734"/>
              <a:gd name="connsiteY443" fmla="*/ 3744463 h 5808721"/>
              <a:gd name="connsiteX444" fmla="*/ 5705857 w 6251734"/>
              <a:gd name="connsiteY444" fmla="*/ 3753893 h 5808721"/>
              <a:gd name="connsiteX445" fmla="*/ 5722145 w 6251734"/>
              <a:gd name="connsiteY445" fmla="*/ 3750464 h 5808721"/>
              <a:gd name="connsiteX446" fmla="*/ 5729003 w 6251734"/>
              <a:gd name="connsiteY446" fmla="*/ 3748750 h 5808721"/>
              <a:gd name="connsiteX447" fmla="*/ 5747863 w 6251734"/>
              <a:gd name="connsiteY447" fmla="*/ 3745321 h 5808721"/>
              <a:gd name="connsiteX448" fmla="*/ 5750435 w 6251734"/>
              <a:gd name="connsiteY448" fmla="*/ 3742749 h 5808721"/>
              <a:gd name="connsiteX449" fmla="*/ 5760722 w 6251734"/>
              <a:gd name="connsiteY449" fmla="*/ 3738463 h 5808721"/>
              <a:gd name="connsiteX450" fmla="*/ 5794154 w 6251734"/>
              <a:gd name="connsiteY450" fmla="*/ 3741892 h 5808721"/>
              <a:gd name="connsiteX451" fmla="*/ 5806156 w 6251734"/>
              <a:gd name="connsiteY451" fmla="*/ 3753036 h 5808721"/>
              <a:gd name="connsiteX452" fmla="*/ 5810442 w 6251734"/>
              <a:gd name="connsiteY452" fmla="*/ 3749607 h 5808721"/>
              <a:gd name="connsiteX453" fmla="*/ 5814728 w 6251734"/>
              <a:gd name="connsiteY453" fmla="*/ 3733319 h 5808721"/>
              <a:gd name="connsiteX454" fmla="*/ 5825015 w 6251734"/>
              <a:gd name="connsiteY454" fmla="*/ 3737606 h 5808721"/>
              <a:gd name="connsiteX455" fmla="*/ 5849018 w 6251734"/>
              <a:gd name="connsiteY455" fmla="*/ 3723032 h 5808721"/>
              <a:gd name="connsiteX456" fmla="*/ 5861877 w 6251734"/>
              <a:gd name="connsiteY456" fmla="*/ 3731605 h 5808721"/>
              <a:gd name="connsiteX457" fmla="*/ 5856733 w 6251734"/>
              <a:gd name="connsiteY457" fmla="*/ 3746178 h 5808721"/>
              <a:gd name="connsiteX458" fmla="*/ 5844732 w 6251734"/>
              <a:gd name="connsiteY458" fmla="*/ 3741034 h 5808721"/>
              <a:gd name="connsiteX459" fmla="*/ 5828444 w 6251734"/>
              <a:gd name="connsiteY459" fmla="*/ 3754751 h 5808721"/>
              <a:gd name="connsiteX460" fmla="*/ 5831016 w 6251734"/>
              <a:gd name="connsiteY460" fmla="*/ 3761608 h 5808721"/>
              <a:gd name="connsiteX461" fmla="*/ 5847304 w 6251734"/>
              <a:gd name="connsiteY461" fmla="*/ 3761608 h 5808721"/>
              <a:gd name="connsiteX462" fmla="*/ 5861877 w 6251734"/>
              <a:gd name="connsiteY462" fmla="*/ 3765895 h 5808721"/>
              <a:gd name="connsiteX463" fmla="*/ 5863592 w 6251734"/>
              <a:gd name="connsiteY463" fmla="*/ 3771896 h 5808721"/>
              <a:gd name="connsiteX464" fmla="*/ 5877308 w 6251734"/>
              <a:gd name="connsiteY464" fmla="*/ 3777039 h 5808721"/>
              <a:gd name="connsiteX465" fmla="*/ 5877308 w 6251734"/>
              <a:gd name="connsiteY465" fmla="*/ 3786469 h 5808721"/>
              <a:gd name="connsiteX466" fmla="*/ 5871307 w 6251734"/>
              <a:gd name="connsiteY466" fmla="*/ 3784754 h 5808721"/>
              <a:gd name="connsiteX467" fmla="*/ 5859305 w 6251734"/>
              <a:gd name="connsiteY467" fmla="*/ 3787326 h 5808721"/>
              <a:gd name="connsiteX468" fmla="*/ 5847304 w 6251734"/>
              <a:gd name="connsiteY468" fmla="*/ 3789898 h 5808721"/>
              <a:gd name="connsiteX469" fmla="*/ 5824158 w 6251734"/>
              <a:gd name="connsiteY469" fmla="*/ 3786469 h 5808721"/>
              <a:gd name="connsiteX470" fmla="*/ 5813871 w 6251734"/>
              <a:gd name="connsiteY470" fmla="*/ 3796756 h 5808721"/>
              <a:gd name="connsiteX471" fmla="*/ 5807013 w 6251734"/>
              <a:gd name="connsiteY471" fmla="*/ 3796756 h 5808721"/>
              <a:gd name="connsiteX472" fmla="*/ 5793297 w 6251734"/>
              <a:gd name="connsiteY472" fmla="*/ 3791612 h 5808721"/>
              <a:gd name="connsiteX473" fmla="*/ 5781295 w 6251734"/>
              <a:gd name="connsiteY473" fmla="*/ 3787326 h 5808721"/>
              <a:gd name="connsiteX474" fmla="*/ 5771866 w 6251734"/>
              <a:gd name="connsiteY474" fmla="*/ 3786469 h 5808721"/>
              <a:gd name="connsiteX475" fmla="*/ 5767580 w 6251734"/>
              <a:gd name="connsiteY475" fmla="*/ 3768466 h 5808721"/>
              <a:gd name="connsiteX476" fmla="*/ 5762436 w 6251734"/>
              <a:gd name="connsiteY476" fmla="*/ 3767609 h 5808721"/>
              <a:gd name="connsiteX477" fmla="*/ 5755578 w 6251734"/>
              <a:gd name="connsiteY477" fmla="*/ 3765895 h 5808721"/>
              <a:gd name="connsiteX478" fmla="*/ 5742719 w 6251734"/>
              <a:gd name="connsiteY478" fmla="*/ 3768466 h 5808721"/>
              <a:gd name="connsiteX479" fmla="*/ 5734147 w 6251734"/>
              <a:gd name="connsiteY479" fmla="*/ 3769324 h 5808721"/>
              <a:gd name="connsiteX480" fmla="*/ 5721288 w 6251734"/>
              <a:gd name="connsiteY480" fmla="*/ 3771896 h 5808721"/>
              <a:gd name="connsiteX481" fmla="*/ 5712715 w 6251734"/>
              <a:gd name="connsiteY481" fmla="*/ 3772753 h 5808721"/>
              <a:gd name="connsiteX482" fmla="*/ 5698999 w 6251734"/>
              <a:gd name="connsiteY482" fmla="*/ 3784754 h 5808721"/>
              <a:gd name="connsiteX483" fmla="*/ 5679282 w 6251734"/>
              <a:gd name="connsiteY483" fmla="*/ 3791612 h 5808721"/>
              <a:gd name="connsiteX484" fmla="*/ 5671567 w 6251734"/>
              <a:gd name="connsiteY484" fmla="*/ 3795898 h 5808721"/>
              <a:gd name="connsiteX485" fmla="*/ 5663851 w 6251734"/>
              <a:gd name="connsiteY485" fmla="*/ 3808757 h 5808721"/>
              <a:gd name="connsiteX486" fmla="*/ 5644134 w 6251734"/>
              <a:gd name="connsiteY486" fmla="*/ 3830188 h 5808721"/>
              <a:gd name="connsiteX487" fmla="*/ 5646706 w 6251734"/>
              <a:gd name="connsiteY487" fmla="*/ 3858478 h 5808721"/>
              <a:gd name="connsiteX488" fmla="*/ 5641563 w 6251734"/>
              <a:gd name="connsiteY488" fmla="*/ 3873051 h 5808721"/>
              <a:gd name="connsiteX489" fmla="*/ 5636419 w 6251734"/>
              <a:gd name="connsiteY489" fmla="*/ 3885052 h 5808721"/>
              <a:gd name="connsiteX490" fmla="*/ 5644992 w 6251734"/>
              <a:gd name="connsiteY490" fmla="*/ 3894482 h 5808721"/>
              <a:gd name="connsiteX491" fmla="*/ 5650135 w 6251734"/>
              <a:gd name="connsiteY491" fmla="*/ 3900483 h 5808721"/>
              <a:gd name="connsiteX492" fmla="*/ 5652707 w 6251734"/>
              <a:gd name="connsiteY492" fmla="*/ 3912484 h 5808721"/>
              <a:gd name="connsiteX493" fmla="*/ 5662137 w 6251734"/>
              <a:gd name="connsiteY493" fmla="*/ 3920200 h 5808721"/>
              <a:gd name="connsiteX494" fmla="*/ 5668995 w 6251734"/>
              <a:gd name="connsiteY494" fmla="*/ 3931344 h 5808721"/>
              <a:gd name="connsiteX495" fmla="*/ 5680139 w 6251734"/>
              <a:gd name="connsiteY495" fmla="*/ 3937345 h 5808721"/>
              <a:gd name="connsiteX496" fmla="*/ 5707571 w 6251734"/>
              <a:gd name="connsiteY496" fmla="*/ 3938202 h 5808721"/>
              <a:gd name="connsiteX497" fmla="*/ 5726432 w 6251734"/>
              <a:gd name="connsiteY497" fmla="*/ 3935630 h 5808721"/>
              <a:gd name="connsiteX498" fmla="*/ 5746148 w 6251734"/>
              <a:gd name="connsiteY498" fmla="*/ 3929629 h 5808721"/>
              <a:gd name="connsiteX499" fmla="*/ 5757293 w 6251734"/>
              <a:gd name="connsiteY499" fmla="*/ 3928772 h 5808721"/>
              <a:gd name="connsiteX500" fmla="*/ 5765008 w 6251734"/>
              <a:gd name="connsiteY500" fmla="*/ 3939916 h 5808721"/>
              <a:gd name="connsiteX501" fmla="*/ 5776152 w 6251734"/>
              <a:gd name="connsiteY501" fmla="*/ 3937345 h 5808721"/>
              <a:gd name="connsiteX502" fmla="*/ 5792440 w 6251734"/>
              <a:gd name="connsiteY502" fmla="*/ 3944203 h 5808721"/>
              <a:gd name="connsiteX503" fmla="*/ 5789011 w 6251734"/>
              <a:gd name="connsiteY503" fmla="*/ 3960491 h 5808721"/>
              <a:gd name="connsiteX504" fmla="*/ 5789011 w 6251734"/>
              <a:gd name="connsiteY504" fmla="*/ 3966491 h 5808721"/>
              <a:gd name="connsiteX505" fmla="*/ 5790725 w 6251734"/>
              <a:gd name="connsiteY505" fmla="*/ 3988780 h 5808721"/>
              <a:gd name="connsiteX506" fmla="*/ 5798440 w 6251734"/>
              <a:gd name="connsiteY506" fmla="*/ 3999924 h 5808721"/>
              <a:gd name="connsiteX507" fmla="*/ 5803584 w 6251734"/>
              <a:gd name="connsiteY507" fmla="*/ 4007639 h 5808721"/>
              <a:gd name="connsiteX508" fmla="*/ 5812157 w 6251734"/>
              <a:gd name="connsiteY508" fmla="*/ 4020498 h 5808721"/>
              <a:gd name="connsiteX509" fmla="*/ 5814728 w 6251734"/>
              <a:gd name="connsiteY509" fmla="*/ 4032499 h 5808721"/>
              <a:gd name="connsiteX510" fmla="*/ 5803584 w 6251734"/>
              <a:gd name="connsiteY510" fmla="*/ 4044501 h 5808721"/>
              <a:gd name="connsiteX511" fmla="*/ 5798440 w 6251734"/>
              <a:gd name="connsiteY511" fmla="*/ 4060789 h 5808721"/>
              <a:gd name="connsiteX512" fmla="*/ 5794154 w 6251734"/>
              <a:gd name="connsiteY512" fmla="*/ 4071075 h 5808721"/>
              <a:gd name="connsiteX513" fmla="*/ 5801012 w 6251734"/>
              <a:gd name="connsiteY513" fmla="*/ 4081363 h 5808721"/>
              <a:gd name="connsiteX514" fmla="*/ 5811299 w 6251734"/>
              <a:gd name="connsiteY514" fmla="*/ 4094221 h 5808721"/>
              <a:gd name="connsiteX515" fmla="*/ 5813871 w 6251734"/>
              <a:gd name="connsiteY515" fmla="*/ 4106223 h 5808721"/>
              <a:gd name="connsiteX516" fmla="*/ 5813871 w 6251734"/>
              <a:gd name="connsiteY516" fmla="*/ 4115653 h 5808721"/>
              <a:gd name="connsiteX517" fmla="*/ 5819015 w 6251734"/>
              <a:gd name="connsiteY517" fmla="*/ 4127654 h 5808721"/>
              <a:gd name="connsiteX518" fmla="*/ 5825873 w 6251734"/>
              <a:gd name="connsiteY518" fmla="*/ 4143942 h 5808721"/>
              <a:gd name="connsiteX519" fmla="*/ 5830159 w 6251734"/>
              <a:gd name="connsiteY519" fmla="*/ 4143942 h 5808721"/>
              <a:gd name="connsiteX520" fmla="*/ 5848161 w 6251734"/>
              <a:gd name="connsiteY520" fmla="*/ 4136227 h 5808721"/>
              <a:gd name="connsiteX521" fmla="*/ 5870450 w 6251734"/>
              <a:gd name="connsiteY521" fmla="*/ 4126797 h 5808721"/>
              <a:gd name="connsiteX522" fmla="*/ 5873878 w 6251734"/>
              <a:gd name="connsiteY522" fmla="*/ 4117367 h 5808721"/>
              <a:gd name="connsiteX523" fmla="*/ 5888452 w 6251734"/>
              <a:gd name="connsiteY523" fmla="*/ 4105365 h 5808721"/>
              <a:gd name="connsiteX524" fmla="*/ 5900453 w 6251734"/>
              <a:gd name="connsiteY524" fmla="*/ 4087363 h 5808721"/>
              <a:gd name="connsiteX525" fmla="*/ 5900453 w 6251734"/>
              <a:gd name="connsiteY525" fmla="*/ 4075362 h 5808721"/>
              <a:gd name="connsiteX526" fmla="*/ 5911598 w 6251734"/>
              <a:gd name="connsiteY526" fmla="*/ 4071933 h 5808721"/>
              <a:gd name="connsiteX527" fmla="*/ 5915884 w 6251734"/>
              <a:gd name="connsiteY527" fmla="*/ 4064218 h 5808721"/>
              <a:gd name="connsiteX528" fmla="*/ 5929600 w 6251734"/>
              <a:gd name="connsiteY528" fmla="*/ 4051359 h 5808721"/>
              <a:gd name="connsiteX529" fmla="*/ 5924456 w 6251734"/>
              <a:gd name="connsiteY529" fmla="*/ 4039358 h 5808721"/>
              <a:gd name="connsiteX530" fmla="*/ 5934743 w 6251734"/>
              <a:gd name="connsiteY530" fmla="*/ 4027356 h 5808721"/>
              <a:gd name="connsiteX531" fmla="*/ 5933886 w 6251734"/>
              <a:gd name="connsiteY531" fmla="*/ 4005925 h 5808721"/>
              <a:gd name="connsiteX532" fmla="*/ 5933886 w 6251734"/>
              <a:gd name="connsiteY532" fmla="*/ 3991351 h 5808721"/>
              <a:gd name="connsiteX533" fmla="*/ 5940744 w 6251734"/>
              <a:gd name="connsiteY533" fmla="*/ 3982779 h 5808721"/>
              <a:gd name="connsiteX534" fmla="*/ 5944173 w 6251734"/>
              <a:gd name="connsiteY534" fmla="*/ 3965634 h 5808721"/>
              <a:gd name="connsiteX535" fmla="*/ 5955317 w 6251734"/>
              <a:gd name="connsiteY535" fmla="*/ 3953632 h 5808721"/>
              <a:gd name="connsiteX536" fmla="*/ 5958746 w 6251734"/>
              <a:gd name="connsiteY536" fmla="*/ 3930487 h 5808721"/>
              <a:gd name="connsiteX537" fmla="*/ 5965604 w 6251734"/>
              <a:gd name="connsiteY537" fmla="*/ 3917628 h 5808721"/>
              <a:gd name="connsiteX538" fmla="*/ 5968176 w 6251734"/>
              <a:gd name="connsiteY538" fmla="*/ 3902197 h 5808721"/>
              <a:gd name="connsiteX539" fmla="*/ 5961318 w 6251734"/>
              <a:gd name="connsiteY539" fmla="*/ 3894482 h 5808721"/>
              <a:gd name="connsiteX540" fmla="*/ 5949317 w 6251734"/>
              <a:gd name="connsiteY540" fmla="*/ 3897054 h 5808721"/>
              <a:gd name="connsiteX541" fmla="*/ 5942458 w 6251734"/>
              <a:gd name="connsiteY541" fmla="*/ 3898768 h 5808721"/>
              <a:gd name="connsiteX542" fmla="*/ 5933029 w 6251734"/>
              <a:gd name="connsiteY542" fmla="*/ 3895339 h 5808721"/>
              <a:gd name="connsiteX543" fmla="*/ 5933029 w 6251734"/>
              <a:gd name="connsiteY543" fmla="*/ 3884195 h 5808721"/>
              <a:gd name="connsiteX544" fmla="*/ 5921885 w 6251734"/>
              <a:gd name="connsiteY544" fmla="*/ 3879909 h 5808721"/>
              <a:gd name="connsiteX545" fmla="*/ 5915884 w 6251734"/>
              <a:gd name="connsiteY545" fmla="*/ 3867050 h 5808721"/>
              <a:gd name="connsiteX546" fmla="*/ 5909883 w 6251734"/>
              <a:gd name="connsiteY546" fmla="*/ 3855049 h 5808721"/>
              <a:gd name="connsiteX547" fmla="*/ 5900453 w 6251734"/>
              <a:gd name="connsiteY547" fmla="*/ 3850762 h 5808721"/>
              <a:gd name="connsiteX548" fmla="*/ 5897024 w 6251734"/>
              <a:gd name="connsiteY548" fmla="*/ 3833617 h 5808721"/>
              <a:gd name="connsiteX549" fmla="*/ 5906454 w 6251734"/>
              <a:gd name="connsiteY549" fmla="*/ 3830188 h 5808721"/>
              <a:gd name="connsiteX550" fmla="*/ 5912455 w 6251734"/>
              <a:gd name="connsiteY550" fmla="*/ 3835332 h 5808721"/>
              <a:gd name="connsiteX551" fmla="*/ 5918455 w 6251734"/>
              <a:gd name="connsiteY551" fmla="*/ 3845619 h 5808721"/>
              <a:gd name="connsiteX552" fmla="*/ 5921027 w 6251734"/>
              <a:gd name="connsiteY552" fmla="*/ 3858478 h 5808721"/>
              <a:gd name="connsiteX553" fmla="*/ 5935600 w 6251734"/>
              <a:gd name="connsiteY553" fmla="*/ 3867907 h 5808721"/>
              <a:gd name="connsiteX554" fmla="*/ 5944173 w 6251734"/>
              <a:gd name="connsiteY554" fmla="*/ 3879052 h 5808721"/>
              <a:gd name="connsiteX555" fmla="*/ 5964747 w 6251734"/>
              <a:gd name="connsiteY555" fmla="*/ 3874766 h 5808721"/>
              <a:gd name="connsiteX556" fmla="*/ 5969033 w 6251734"/>
              <a:gd name="connsiteY556" fmla="*/ 3863621 h 5808721"/>
              <a:gd name="connsiteX557" fmla="*/ 5972462 w 6251734"/>
              <a:gd name="connsiteY557" fmla="*/ 3851620 h 5808721"/>
              <a:gd name="connsiteX558" fmla="*/ 5968176 w 6251734"/>
              <a:gd name="connsiteY558" fmla="*/ 3837046 h 5808721"/>
              <a:gd name="connsiteX559" fmla="*/ 5968176 w 6251734"/>
              <a:gd name="connsiteY559" fmla="*/ 3825045 h 5808721"/>
              <a:gd name="connsiteX560" fmla="*/ 5963890 w 6251734"/>
              <a:gd name="connsiteY560" fmla="*/ 3814758 h 5808721"/>
              <a:gd name="connsiteX561" fmla="*/ 5967319 w 6251734"/>
              <a:gd name="connsiteY561" fmla="*/ 3815615 h 5808721"/>
              <a:gd name="connsiteX562" fmla="*/ 5979320 w 6251734"/>
              <a:gd name="connsiteY562" fmla="*/ 3819901 h 5808721"/>
              <a:gd name="connsiteX563" fmla="*/ 5987893 w 6251734"/>
              <a:gd name="connsiteY563" fmla="*/ 3836189 h 5808721"/>
              <a:gd name="connsiteX564" fmla="*/ 5995608 w 6251734"/>
              <a:gd name="connsiteY564" fmla="*/ 3843904 h 5808721"/>
              <a:gd name="connsiteX565" fmla="*/ 6001609 w 6251734"/>
              <a:gd name="connsiteY565" fmla="*/ 3850762 h 5808721"/>
              <a:gd name="connsiteX566" fmla="*/ 6005895 w 6251734"/>
              <a:gd name="connsiteY566" fmla="*/ 3862764 h 5808721"/>
              <a:gd name="connsiteX567" fmla="*/ 6014468 w 6251734"/>
              <a:gd name="connsiteY567" fmla="*/ 3873051 h 5808721"/>
              <a:gd name="connsiteX568" fmla="*/ 6016182 w 6251734"/>
              <a:gd name="connsiteY568" fmla="*/ 3869622 h 5808721"/>
              <a:gd name="connsiteX569" fmla="*/ 5825350 w 6251734"/>
              <a:gd name="connsiteY569" fmla="*/ 3652510 h 5808721"/>
              <a:gd name="connsiteX570" fmla="*/ 5820840 w 6251734"/>
              <a:gd name="connsiteY570" fmla="*/ 3650383 h 5808721"/>
              <a:gd name="connsiteX571" fmla="*/ 5876805 w 6251734"/>
              <a:gd name="connsiteY571" fmla="*/ 3675659 h 5808721"/>
              <a:gd name="connsiteX572" fmla="*/ 5998180 w 6251734"/>
              <a:gd name="connsiteY572" fmla="*/ 4119082 h 5808721"/>
              <a:gd name="connsiteX573" fmla="*/ 5717002 w 6251734"/>
              <a:gd name="connsiteY573" fmla="*/ 4286246 h 5808721"/>
              <a:gd name="connsiteX574" fmla="*/ 5835302 w 6251734"/>
              <a:gd name="connsiteY574" fmla="*/ 4250241 h 5808721"/>
              <a:gd name="connsiteX575" fmla="*/ 5819015 w 6251734"/>
              <a:gd name="connsiteY575" fmla="*/ 4251098 h 5808721"/>
              <a:gd name="connsiteX576" fmla="*/ 5802727 w 6251734"/>
              <a:gd name="connsiteY576" fmla="*/ 4244240 h 5808721"/>
              <a:gd name="connsiteX577" fmla="*/ 5793297 w 6251734"/>
              <a:gd name="connsiteY577" fmla="*/ 4242525 h 5808721"/>
              <a:gd name="connsiteX578" fmla="*/ 5777867 w 6251734"/>
              <a:gd name="connsiteY578" fmla="*/ 4245098 h 5808721"/>
              <a:gd name="connsiteX579" fmla="*/ 5765865 w 6251734"/>
              <a:gd name="connsiteY579" fmla="*/ 4251098 h 5808721"/>
              <a:gd name="connsiteX580" fmla="*/ 5755578 w 6251734"/>
              <a:gd name="connsiteY580" fmla="*/ 4250241 h 5808721"/>
              <a:gd name="connsiteX581" fmla="*/ 5742719 w 6251734"/>
              <a:gd name="connsiteY581" fmla="*/ 4251098 h 5808721"/>
              <a:gd name="connsiteX582" fmla="*/ 5747005 w 6251734"/>
              <a:gd name="connsiteY582" fmla="*/ 4240811 h 5808721"/>
              <a:gd name="connsiteX583" fmla="*/ 5735861 w 6251734"/>
              <a:gd name="connsiteY583" fmla="*/ 4239097 h 5808721"/>
              <a:gd name="connsiteX584" fmla="*/ 5729003 w 6251734"/>
              <a:gd name="connsiteY584" fmla="*/ 4247669 h 5808721"/>
              <a:gd name="connsiteX585" fmla="*/ 5723003 w 6251734"/>
              <a:gd name="connsiteY585" fmla="*/ 4258813 h 5808721"/>
              <a:gd name="connsiteX586" fmla="*/ 5701571 w 6251734"/>
              <a:gd name="connsiteY586" fmla="*/ 4254527 h 5808721"/>
              <a:gd name="connsiteX587" fmla="*/ 5689569 w 6251734"/>
              <a:gd name="connsiteY587" fmla="*/ 4251956 h 5808721"/>
              <a:gd name="connsiteX588" fmla="*/ 5690426 w 6251734"/>
              <a:gd name="connsiteY588" fmla="*/ 4247669 h 5808721"/>
              <a:gd name="connsiteX589" fmla="*/ 5702427 w 6251734"/>
              <a:gd name="connsiteY589" fmla="*/ 4239097 h 5808721"/>
              <a:gd name="connsiteX590" fmla="*/ 5714430 w 6251734"/>
              <a:gd name="connsiteY590" fmla="*/ 4232239 h 5808721"/>
              <a:gd name="connsiteX591" fmla="*/ 5708429 w 6251734"/>
              <a:gd name="connsiteY591" fmla="*/ 4225380 h 5808721"/>
              <a:gd name="connsiteX592" fmla="*/ 5702427 w 6251734"/>
              <a:gd name="connsiteY592" fmla="*/ 4230524 h 5808721"/>
              <a:gd name="connsiteX593" fmla="*/ 5677567 w 6251734"/>
              <a:gd name="connsiteY593" fmla="*/ 4231381 h 5808721"/>
              <a:gd name="connsiteX594" fmla="*/ 5656993 w 6251734"/>
              <a:gd name="connsiteY594" fmla="*/ 4233096 h 5808721"/>
              <a:gd name="connsiteX595" fmla="*/ 5653564 w 6251734"/>
              <a:gd name="connsiteY595" fmla="*/ 4226238 h 5808721"/>
              <a:gd name="connsiteX596" fmla="*/ 5638991 w 6251734"/>
              <a:gd name="connsiteY596" fmla="*/ 4233096 h 5808721"/>
              <a:gd name="connsiteX597" fmla="*/ 5618417 w 6251734"/>
              <a:gd name="connsiteY597" fmla="*/ 4236525 h 5808721"/>
              <a:gd name="connsiteX598" fmla="*/ 5608130 w 6251734"/>
              <a:gd name="connsiteY598" fmla="*/ 4238239 h 5808721"/>
              <a:gd name="connsiteX599" fmla="*/ 5607273 w 6251734"/>
              <a:gd name="connsiteY599" fmla="*/ 4232239 h 5808721"/>
              <a:gd name="connsiteX600" fmla="*/ 5596986 w 6251734"/>
              <a:gd name="connsiteY600" fmla="*/ 4240811 h 5808721"/>
              <a:gd name="connsiteX601" fmla="*/ 5584984 w 6251734"/>
              <a:gd name="connsiteY601" fmla="*/ 4242525 h 5808721"/>
              <a:gd name="connsiteX602" fmla="*/ 5583270 w 6251734"/>
              <a:gd name="connsiteY602" fmla="*/ 4256242 h 5808721"/>
              <a:gd name="connsiteX603" fmla="*/ 5664709 w 6251734"/>
              <a:gd name="connsiteY603" fmla="*/ 4287103 h 5808721"/>
              <a:gd name="connsiteX604" fmla="*/ 5372386 w 6251734"/>
              <a:gd name="connsiteY604" fmla="*/ 3912484 h 5808721"/>
              <a:gd name="connsiteX605" fmla="*/ 5375815 w 6251734"/>
              <a:gd name="connsiteY605" fmla="*/ 3909913 h 5808721"/>
              <a:gd name="connsiteX606" fmla="*/ 5378387 w 6251734"/>
              <a:gd name="connsiteY606" fmla="*/ 3921057 h 5808721"/>
              <a:gd name="connsiteX607" fmla="*/ 5384388 w 6251734"/>
              <a:gd name="connsiteY607" fmla="*/ 3929629 h 5808721"/>
              <a:gd name="connsiteX608" fmla="*/ 5391246 w 6251734"/>
              <a:gd name="connsiteY608" fmla="*/ 3939059 h 5808721"/>
              <a:gd name="connsiteX609" fmla="*/ 5386959 w 6251734"/>
              <a:gd name="connsiteY609" fmla="*/ 3953632 h 5808721"/>
              <a:gd name="connsiteX610" fmla="*/ 5395532 w 6251734"/>
              <a:gd name="connsiteY610" fmla="*/ 3977636 h 5808721"/>
              <a:gd name="connsiteX611" fmla="*/ 5394675 w 6251734"/>
              <a:gd name="connsiteY611" fmla="*/ 4006782 h 5808721"/>
              <a:gd name="connsiteX612" fmla="*/ 5413534 w 6251734"/>
              <a:gd name="connsiteY612" fmla="*/ 4051359 h 5808721"/>
              <a:gd name="connsiteX613" fmla="*/ 5420392 w 6251734"/>
              <a:gd name="connsiteY613" fmla="*/ 4065932 h 5808721"/>
              <a:gd name="connsiteX614" fmla="*/ 5432394 w 6251734"/>
              <a:gd name="connsiteY614" fmla="*/ 4075362 h 5808721"/>
              <a:gd name="connsiteX615" fmla="*/ 5438394 w 6251734"/>
              <a:gd name="connsiteY615" fmla="*/ 4101079 h 5808721"/>
              <a:gd name="connsiteX616" fmla="*/ 5446110 w 6251734"/>
              <a:gd name="connsiteY616" fmla="*/ 4123368 h 5808721"/>
              <a:gd name="connsiteX617" fmla="*/ 5455539 w 6251734"/>
              <a:gd name="connsiteY617" fmla="*/ 4135369 h 5808721"/>
              <a:gd name="connsiteX618" fmla="*/ 5462397 w 6251734"/>
              <a:gd name="connsiteY618" fmla="*/ 4148228 h 5808721"/>
              <a:gd name="connsiteX619" fmla="*/ 5470113 w 6251734"/>
              <a:gd name="connsiteY619" fmla="*/ 4160230 h 5808721"/>
              <a:gd name="connsiteX620" fmla="*/ 5484686 w 6251734"/>
              <a:gd name="connsiteY620" fmla="*/ 4188519 h 5808721"/>
              <a:gd name="connsiteX621" fmla="*/ 5491544 w 6251734"/>
              <a:gd name="connsiteY621" fmla="*/ 4198806 h 5808721"/>
              <a:gd name="connsiteX622" fmla="*/ 5511261 w 6251734"/>
              <a:gd name="connsiteY622" fmla="*/ 4210808 h 5808721"/>
              <a:gd name="connsiteX623" fmla="*/ 5524119 w 6251734"/>
              <a:gd name="connsiteY623" fmla="*/ 4221094 h 5808721"/>
              <a:gd name="connsiteX624" fmla="*/ 5525834 w 6251734"/>
              <a:gd name="connsiteY624" fmla="*/ 4215094 h 5808721"/>
              <a:gd name="connsiteX625" fmla="*/ 5518119 w 6251734"/>
              <a:gd name="connsiteY625" fmla="*/ 4206521 h 5808721"/>
              <a:gd name="connsiteX626" fmla="*/ 5509546 w 6251734"/>
              <a:gd name="connsiteY626" fmla="*/ 4195377 h 5808721"/>
              <a:gd name="connsiteX627" fmla="*/ 5505260 w 6251734"/>
              <a:gd name="connsiteY627" fmla="*/ 4185947 h 5808721"/>
              <a:gd name="connsiteX628" fmla="*/ 5495830 w 6251734"/>
              <a:gd name="connsiteY628" fmla="*/ 4173088 h 5808721"/>
              <a:gd name="connsiteX629" fmla="*/ 5500117 w 6251734"/>
              <a:gd name="connsiteY629" fmla="*/ 4165373 h 5808721"/>
              <a:gd name="connsiteX630" fmla="*/ 5503546 w 6251734"/>
              <a:gd name="connsiteY630" fmla="*/ 4160230 h 5808721"/>
              <a:gd name="connsiteX631" fmla="*/ 5500117 w 6251734"/>
              <a:gd name="connsiteY631" fmla="*/ 4147371 h 5808721"/>
              <a:gd name="connsiteX632" fmla="*/ 5508689 w 6251734"/>
              <a:gd name="connsiteY632" fmla="*/ 4119082 h 5808721"/>
              <a:gd name="connsiteX633" fmla="*/ 5508689 w 6251734"/>
              <a:gd name="connsiteY633" fmla="*/ 4103651 h 5808721"/>
              <a:gd name="connsiteX634" fmla="*/ 5518119 w 6251734"/>
              <a:gd name="connsiteY634" fmla="*/ 4096793 h 5808721"/>
              <a:gd name="connsiteX635" fmla="*/ 5531835 w 6251734"/>
              <a:gd name="connsiteY635" fmla="*/ 4087363 h 5808721"/>
              <a:gd name="connsiteX636" fmla="*/ 5530120 w 6251734"/>
              <a:gd name="connsiteY636" fmla="*/ 4078791 h 5808721"/>
              <a:gd name="connsiteX637" fmla="*/ 5534407 w 6251734"/>
              <a:gd name="connsiteY637" fmla="*/ 4070218 h 5808721"/>
              <a:gd name="connsiteX638" fmla="*/ 5535264 w 6251734"/>
              <a:gd name="connsiteY638" fmla="*/ 4056503 h 5808721"/>
              <a:gd name="connsiteX639" fmla="*/ 5530977 w 6251734"/>
              <a:gd name="connsiteY639" fmla="*/ 4045358 h 5808721"/>
              <a:gd name="connsiteX640" fmla="*/ 5532692 w 6251734"/>
              <a:gd name="connsiteY640" fmla="*/ 4034214 h 5808721"/>
              <a:gd name="connsiteX641" fmla="*/ 5542122 w 6251734"/>
              <a:gd name="connsiteY641" fmla="*/ 4020498 h 5808721"/>
              <a:gd name="connsiteX642" fmla="*/ 5547265 w 6251734"/>
              <a:gd name="connsiteY642" fmla="*/ 4007639 h 5808721"/>
              <a:gd name="connsiteX643" fmla="*/ 5542122 w 6251734"/>
              <a:gd name="connsiteY643" fmla="*/ 4000781 h 5808721"/>
              <a:gd name="connsiteX644" fmla="*/ 5529263 w 6251734"/>
              <a:gd name="connsiteY644" fmla="*/ 3993923 h 5808721"/>
              <a:gd name="connsiteX645" fmla="*/ 5520691 w 6251734"/>
              <a:gd name="connsiteY645" fmla="*/ 3982779 h 5808721"/>
              <a:gd name="connsiteX646" fmla="*/ 5504403 w 6251734"/>
              <a:gd name="connsiteY646" fmla="*/ 3981922 h 5808721"/>
              <a:gd name="connsiteX647" fmla="*/ 5500974 w 6251734"/>
              <a:gd name="connsiteY647" fmla="*/ 3976778 h 5808721"/>
              <a:gd name="connsiteX648" fmla="*/ 5488115 w 6251734"/>
              <a:gd name="connsiteY648" fmla="*/ 3971635 h 5808721"/>
              <a:gd name="connsiteX649" fmla="*/ 5486401 w 6251734"/>
              <a:gd name="connsiteY649" fmla="*/ 3964777 h 5808721"/>
              <a:gd name="connsiteX650" fmla="*/ 5476971 w 6251734"/>
              <a:gd name="connsiteY650" fmla="*/ 3963062 h 5808721"/>
              <a:gd name="connsiteX651" fmla="*/ 5475256 w 6251734"/>
              <a:gd name="connsiteY651" fmla="*/ 3957061 h 5808721"/>
              <a:gd name="connsiteX652" fmla="*/ 5474399 w 6251734"/>
              <a:gd name="connsiteY652" fmla="*/ 3947632 h 5808721"/>
              <a:gd name="connsiteX653" fmla="*/ 5469256 w 6251734"/>
              <a:gd name="connsiteY653" fmla="*/ 3938202 h 5808721"/>
              <a:gd name="connsiteX654" fmla="*/ 5464969 w 6251734"/>
              <a:gd name="connsiteY654" fmla="*/ 3932201 h 5808721"/>
              <a:gd name="connsiteX655" fmla="*/ 5453825 w 6251734"/>
              <a:gd name="connsiteY655" fmla="*/ 3930487 h 5808721"/>
              <a:gd name="connsiteX656" fmla="*/ 5444395 w 6251734"/>
              <a:gd name="connsiteY656" fmla="*/ 3925343 h 5808721"/>
              <a:gd name="connsiteX657" fmla="*/ 5441824 w 6251734"/>
              <a:gd name="connsiteY657" fmla="*/ 3916771 h 5808721"/>
              <a:gd name="connsiteX658" fmla="*/ 5437537 w 6251734"/>
              <a:gd name="connsiteY658" fmla="*/ 3907341 h 5808721"/>
              <a:gd name="connsiteX659" fmla="*/ 5431536 w 6251734"/>
              <a:gd name="connsiteY659" fmla="*/ 3903055 h 5808721"/>
              <a:gd name="connsiteX660" fmla="*/ 5419535 w 6251734"/>
              <a:gd name="connsiteY660" fmla="*/ 3905626 h 5808721"/>
              <a:gd name="connsiteX661" fmla="*/ 5418678 w 6251734"/>
              <a:gd name="connsiteY661" fmla="*/ 3897911 h 5808721"/>
              <a:gd name="connsiteX662" fmla="*/ 5411820 w 6251734"/>
              <a:gd name="connsiteY662" fmla="*/ 3896197 h 5808721"/>
              <a:gd name="connsiteX663" fmla="*/ 5406676 w 6251734"/>
              <a:gd name="connsiteY663" fmla="*/ 3899626 h 5808721"/>
              <a:gd name="connsiteX664" fmla="*/ 5404104 w 6251734"/>
              <a:gd name="connsiteY664" fmla="*/ 3903055 h 5808721"/>
              <a:gd name="connsiteX665" fmla="*/ 5398104 w 6251734"/>
              <a:gd name="connsiteY665" fmla="*/ 3911627 h 5808721"/>
              <a:gd name="connsiteX666" fmla="*/ 5396389 w 6251734"/>
              <a:gd name="connsiteY666" fmla="*/ 3909913 h 5808721"/>
              <a:gd name="connsiteX667" fmla="*/ 5393817 w 6251734"/>
              <a:gd name="connsiteY667" fmla="*/ 3906484 h 5808721"/>
              <a:gd name="connsiteX668" fmla="*/ 5390389 w 6251734"/>
              <a:gd name="connsiteY668" fmla="*/ 3893625 h 5808721"/>
              <a:gd name="connsiteX669" fmla="*/ 5393817 w 6251734"/>
              <a:gd name="connsiteY669" fmla="*/ 3884195 h 5808721"/>
              <a:gd name="connsiteX670" fmla="*/ 5392960 w 6251734"/>
              <a:gd name="connsiteY670" fmla="*/ 3871336 h 5808721"/>
              <a:gd name="connsiteX671" fmla="*/ 5393817 w 6251734"/>
              <a:gd name="connsiteY671" fmla="*/ 3861049 h 5808721"/>
              <a:gd name="connsiteX672" fmla="*/ 5392960 w 6251734"/>
              <a:gd name="connsiteY672" fmla="*/ 3853334 h 5808721"/>
              <a:gd name="connsiteX673" fmla="*/ 5388674 w 6251734"/>
              <a:gd name="connsiteY673" fmla="*/ 3851620 h 5808721"/>
              <a:gd name="connsiteX674" fmla="*/ 5402390 w 6251734"/>
              <a:gd name="connsiteY674" fmla="*/ 3815615 h 5808721"/>
              <a:gd name="connsiteX675" fmla="*/ 5400676 w 6251734"/>
              <a:gd name="connsiteY675" fmla="*/ 3826759 h 5808721"/>
              <a:gd name="connsiteX676" fmla="*/ 5399818 w 6251734"/>
              <a:gd name="connsiteY676" fmla="*/ 3833617 h 5808721"/>
              <a:gd name="connsiteX677" fmla="*/ 5398961 w 6251734"/>
              <a:gd name="connsiteY677" fmla="*/ 3841333 h 5808721"/>
              <a:gd name="connsiteX678" fmla="*/ 5401533 w 6251734"/>
              <a:gd name="connsiteY678" fmla="*/ 3842190 h 5808721"/>
              <a:gd name="connsiteX679" fmla="*/ 5406676 w 6251734"/>
              <a:gd name="connsiteY679" fmla="*/ 3845619 h 5808721"/>
              <a:gd name="connsiteX680" fmla="*/ 5408391 w 6251734"/>
              <a:gd name="connsiteY680" fmla="*/ 3845619 h 5808721"/>
              <a:gd name="connsiteX681" fmla="*/ 5412677 w 6251734"/>
              <a:gd name="connsiteY681" fmla="*/ 3850762 h 5808721"/>
              <a:gd name="connsiteX682" fmla="*/ 5411820 w 6251734"/>
              <a:gd name="connsiteY682" fmla="*/ 3857621 h 5808721"/>
              <a:gd name="connsiteX683" fmla="*/ 5413534 w 6251734"/>
              <a:gd name="connsiteY683" fmla="*/ 3859335 h 5808721"/>
              <a:gd name="connsiteX684" fmla="*/ 5418678 w 6251734"/>
              <a:gd name="connsiteY684" fmla="*/ 3861907 h 5808721"/>
              <a:gd name="connsiteX685" fmla="*/ 5425536 w 6251734"/>
              <a:gd name="connsiteY685" fmla="*/ 3861049 h 5808721"/>
              <a:gd name="connsiteX686" fmla="*/ 5428965 w 6251734"/>
              <a:gd name="connsiteY686" fmla="*/ 3865336 h 5808721"/>
              <a:gd name="connsiteX687" fmla="*/ 5430679 w 6251734"/>
              <a:gd name="connsiteY687" fmla="*/ 3868765 h 5808721"/>
              <a:gd name="connsiteX688" fmla="*/ 5434108 w 6251734"/>
              <a:gd name="connsiteY688" fmla="*/ 3865336 h 5808721"/>
              <a:gd name="connsiteX689" fmla="*/ 5435823 w 6251734"/>
              <a:gd name="connsiteY689" fmla="*/ 3861049 h 5808721"/>
              <a:gd name="connsiteX690" fmla="*/ 5432394 w 6251734"/>
              <a:gd name="connsiteY690" fmla="*/ 3858478 h 5808721"/>
              <a:gd name="connsiteX691" fmla="*/ 5427250 w 6251734"/>
              <a:gd name="connsiteY691" fmla="*/ 3855049 h 5808721"/>
              <a:gd name="connsiteX692" fmla="*/ 5421249 w 6251734"/>
              <a:gd name="connsiteY692" fmla="*/ 3853334 h 5808721"/>
              <a:gd name="connsiteX693" fmla="*/ 5415249 w 6251734"/>
              <a:gd name="connsiteY693" fmla="*/ 3852477 h 5808721"/>
              <a:gd name="connsiteX694" fmla="*/ 5415249 w 6251734"/>
              <a:gd name="connsiteY694" fmla="*/ 3845619 h 5808721"/>
              <a:gd name="connsiteX695" fmla="*/ 5415249 w 6251734"/>
              <a:gd name="connsiteY695" fmla="*/ 3837904 h 5808721"/>
              <a:gd name="connsiteX696" fmla="*/ 5410962 w 6251734"/>
              <a:gd name="connsiteY696" fmla="*/ 3837046 h 5808721"/>
              <a:gd name="connsiteX697" fmla="*/ 5406676 w 6251734"/>
              <a:gd name="connsiteY697" fmla="*/ 3833617 h 5808721"/>
              <a:gd name="connsiteX698" fmla="*/ 5410105 w 6251734"/>
              <a:gd name="connsiteY698" fmla="*/ 3826759 h 5808721"/>
              <a:gd name="connsiteX699" fmla="*/ 5420392 w 6251734"/>
              <a:gd name="connsiteY699" fmla="*/ 3822473 h 5808721"/>
              <a:gd name="connsiteX700" fmla="*/ 5425536 w 6251734"/>
              <a:gd name="connsiteY700" fmla="*/ 3818187 h 5808721"/>
              <a:gd name="connsiteX701" fmla="*/ 5428965 w 6251734"/>
              <a:gd name="connsiteY701" fmla="*/ 3810472 h 5808721"/>
              <a:gd name="connsiteX702" fmla="*/ 5432394 w 6251734"/>
              <a:gd name="connsiteY702" fmla="*/ 3801899 h 5808721"/>
              <a:gd name="connsiteX703" fmla="*/ 5434108 w 6251734"/>
              <a:gd name="connsiteY703" fmla="*/ 3792469 h 5808721"/>
              <a:gd name="connsiteX704" fmla="*/ 5439252 w 6251734"/>
              <a:gd name="connsiteY704" fmla="*/ 3785611 h 5808721"/>
              <a:gd name="connsiteX705" fmla="*/ 5451253 w 6251734"/>
              <a:gd name="connsiteY705" fmla="*/ 3776182 h 5808721"/>
              <a:gd name="connsiteX706" fmla="*/ 5458111 w 6251734"/>
              <a:gd name="connsiteY706" fmla="*/ 3770181 h 5808721"/>
              <a:gd name="connsiteX707" fmla="*/ 5460683 w 6251734"/>
              <a:gd name="connsiteY707" fmla="*/ 3764180 h 5808721"/>
              <a:gd name="connsiteX708" fmla="*/ 5466684 w 6251734"/>
              <a:gd name="connsiteY708" fmla="*/ 3761608 h 5808721"/>
              <a:gd name="connsiteX709" fmla="*/ 5474399 w 6251734"/>
              <a:gd name="connsiteY709" fmla="*/ 3757322 h 5808721"/>
              <a:gd name="connsiteX710" fmla="*/ 5476971 w 6251734"/>
              <a:gd name="connsiteY710" fmla="*/ 3749607 h 5808721"/>
              <a:gd name="connsiteX711" fmla="*/ 5479542 w 6251734"/>
              <a:gd name="connsiteY711" fmla="*/ 3747035 h 5808721"/>
              <a:gd name="connsiteX712" fmla="*/ 5488115 w 6251734"/>
              <a:gd name="connsiteY712" fmla="*/ 3741034 h 5808721"/>
              <a:gd name="connsiteX713" fmla="*/ 5491544 w 6251734"/>
              <a:gd name="connsiteY713" fmla="*/ 3738463 h 5808721"/>
              <a:gd name="connsiteX714" fmla="*/ 5498402 w 6251734"/>
              <a:gd name="connsiteY714" fmla="*/ 3739320 h 5808721"/>
              <a:gd name="connsiteX715" fmla="*/ 5507832 w 6251734"/>
              <a:gd name="connsiteY715" fmla="*/ 3741892 h 5808721"/>
              <a:gd name="connsiteX716" fmla="*/ 5512975 w 6251734"/>
              <a:gd name="connsiteY716" fmla="*/ 3741034 h 5808721"/>
              <a:gd name="connsiteX717" fmla="*/ 5514690 w 6251734"/>
              <a:gd name="connsiteY717" fmla="*/ 3735034 h 5808721"/>
              <a:gd name="connsiteX718" fmla="*/ 5513832 w 6251734"/>
              <a:gd name="connsiteY718" fmla="*/ 3731605 h 5808721"/>
              <a:gd name="connsiteX719" fmla="*/ 5509546 w 6251734"/>
              <a:gd name="connsiteY719" fmla="*/ 3729890 h 5808721"/>
              <a:gd name="connsiteX720" fmla="*/ 5511261 w 6251734"/>
              <a:gd name="connsiteY720" fmla="*/ 3723032 h 5808721"/>
              <a:gd name="connsiteX721" fmla="*/ 5517262 w 6251734"/>
              <a:gd name="connsiteY721" fmla="*/ 3718746 h 5808721"/>
              <a:gd name="connsiteX722" fmla="*/ 5525834 w 6251734"/>
              <a:gd name="connsiteY722" fmla="*/ 3713602 h 5808721"/>
              <a:gd name="connsiteX723" fmla="*/ 5530977 w 6251734"/>
              <a:gd name="connsiteY723" fmla="*/ 3717889 h 5808721"/>
              <a:gd name="connsiteX724" fmla="*/ 5531835 w 6251734"/>
              <a:gd name="connsiteY724" fmla="*/ 3720461 h 5808721"/>
              <a:gd name="connsiteX725" fmla="*/ 5524977 w 6251734"/>
              <a:gd name="connsiteY725" fmla="*/ 3724747 h 5808721"/>
              <a:gd name="connsiteX726" fmla="*/ 5528406 w 6251734"/>
              <a:gd name="connsiteY726" fmla="*/ 3730747 h 5808721"/>
              <a:gd name="connsiteX727" fmla="*/ 5536978 w 6251734"/>
              <a:gd name="connsiteY727" fmla="*/ 3730747 h 5808721"/>
              <a:gd name="connsiteX728" fmla="*/ 5542122 w 6251734"/>
              <a:gd name="connsiteY728" fmla="*/ 3727318 h 5808721"/>
              <a:gd name="connsiteX729" fmla="*/ 5543836 w 6251734"/>
              <a:gd name="connsiteY729" fmla="*/ 3723032 h 5808721"/>
              <a:gd name="connsiteX730" fmla="*/ 5543836 w 6251734"/>
              <a:gd name="connsiteY730" fmla="*/ 3716174 h 5808721"/>
              <a:gd name="connsiteX731" fmla="*/ 5542979 w 6251734"/>
              <a:gd name="connsiteY731" fmla="*/ 3710173 h 5808721"/>
              <a:gd name="connsiteX732" fmla="*/ 5545551 w 6251734"/>
              <a:gd name="connsiteY732" fmla="*/ 3705887 h 5808721"/>
              <a:gd name="connsiteX733" fmla="*/ 5548980 w 6251734"/>
              <a:gd name="connsiteY733" fmla="*/ 3703316 h 5808721"/>
              <a:gd name="connsiteX734" fmla="*/ 5551552 w 6251734"/>
              <a:gd name="connsiteY734" fmla="*/ 3699029 h 5808721"/>
              <a:gd name="connsiteX735" fmla="*/ 5551552 w 6251734"/>
              <a:gd name="connsiteY735" fmla="*/ 3692171 h 5808721"/>
              <a:gd name="connsiteX736" fmla="*/ 5557552 w 6251734"/>
              <a:gd name="connsiteY736" fmla="*/ 3683599 h 5808721"/>
              <a:gd name="connsiteX737" fmla="*/ 5560124 w 6251734"/>
              <a:gd name="connsiteY737" fmla="*/ 3679312 h 5808721"/>
              <a:gd name="connsiteX738" fmla="*/ 5552409 w 6251734"/>
              <a:gd name="connsiteY738" fmla="*/ 3675883 h 5808721"/>
              <a:gd name="connsiteX739" fmla="*/ 5522218 w 6251734"/>
              <a:gd name="connsiteY739" fmla="*/ 3685527 h 5808721"/>
              <a:gd name="connsiteX740" fmla="*/ 5496913 w 6251734"/>
              <a:gd name="connsiteY740" fmla="*/ 3702672 h 5808721"/>
              <a:gd name="connsiteX741" fmla="*/ 5518815 w 6251734"/>
              <a:gd name="connsiteY741" fmla="*/ 3683786 h 5808721"/>
              <a:gd name="connsiteX742" fmla="*/ 5647564 w 6251734"/>
              <a:gd name="connsiteY742" fmla="*/ 3633878 h 5808721"/>
              <a:gd name="connsiteX743" fmla="*/ 5699857 w 6251734"/>
              <a:gd name="connsiteY743" fmla="*/ 3627877 h 5808721"/>
              <a:gd name="connsiteX744" fmla="*/ 4861612 w 6251734"/>
              <a:gd name="connsiteY744" fmla="*/ 3580313 h 5808721"/>
              <a:gd name="connsiteX745" fmla="*/ 4631722 w 6251734"/>
              <a:gd name="connsiteY745" fmla="*/ 3723889 h 5808721"/>
              <a:gd name="connsiteX746" fmla="*/ 4753451 w 6251734"/>
              <a:gd name="connsiteY746" fmla="*/ 4048788 h 5808721"/>
              <a:gd name="connsiteX747" fmla="*/ 5078350 w 6251734"/>
              <a:gd name="connsiteY747" fmla="*/ 3927058 h 5808721"/>
              <a:gd name="connsiteX748" fmla="*/ 4956620 w 6251734"/>
              <a:gd name="connsiteY748" fmla="*/ 3602159 h 5808721"/>
              <a:gd name="connsiteX749" fmla="*/ 4861612 w 6251734"/>
              <a:gd name="connsiteY749" fmla="*/ 3580313 h 5808721"/>
              <a:gd name="connsiteX750" fmla="*/ 4863113 w 6251734"/>
              <a:gd name="connsiteY750" fmla="*/ 3524739 h 5808721"/>
              <a:gd name="connsiteX751" fmla="*/ 4979766 w 6251734"/>
              <a:gd name="connsiteY751" fmla="*/ 3551582 h 5808721"/>
              <a:gd name="connsiteX752" fmla="*/ 5128928 w 6251734"/>
              <a:gd name="connsiteY752" fmla="*/ 3950204 h 5808721"/>
              <a:gd name="connsiteX753" fmla="*/ 4788185 w 6251734"/>
              <a:gd name="connsiteY753" fmla="*/ 4118835 h 5808721"/>
              <a:gd name="connsiteX754" fmla="*/ 4769854 w 6251734"/>
              <a:gd name="connsiteY754" fmla="*/ 4112669 h 5808721"/>
              <a:gd name="connsiteX755" fmla="*/ 4736576 w 6251734"/>
              <a:gd name="connsiteY755" fmla="*/ 4185841 h 5808721"/>
              <a:gd name="connsiteX756" fmla="*/ 4739414 w 6251734"/>
              <a:gd name="connsiteY756" fmla="*/ 4190448 h 5808721"/>
              <a:gd name="connsiteX757" fmla="*/ 4738021 w 6251734"/>
              <a:gd name="connsiteY757" fmla="*/ 4240811 h 5808721"/>
              <a:gd name="connsiteX758" fmla="*/ 4623149 w 6251734"/>
              <a:gd name="connsiteY758" fmla="*/ 4492842 h 5808721"/>
              <a:gd name="connsiteX759" fmla="*/ 4536567 w 6251734"/>
              <a:gd name="connsiteY759" fmla="*/ 4525418 h 5808721"/>
              <a:gd name="connsiteX760" fmla="*/ 4503991 w 6251734"/>
              <a:gd name="connsiteY760" fmla="*/ 4438835 h 5808721"/>
              <a:gd name="connsiteX761" fmla="*/ 4618863 w 6251734"/>
              <a:gd name="connsiteY761" fmla="*/ 4186804 h 5808721"/>
              <a:gd name="connsiteX762" fmla="*/ 4643847 w 6251734"/>
              <a:gd name="connsiteY762" fmla="*/ 4158339 h 5808721"/>
              <a:gd name="connsiteX763" fmla="*/ 4661831 w 6251734"/>
              <a:gd name="connsiteY763" fmla="*/ 4153470 h 5808721"/>
              <a:gd name="connsiteX764" fmla="*/ 4695622 w 6251734"/>
              <a:gd name="connsiteY764" fmla="*/ 4079170 h 5808721"/>
              <a:gd name="connsiteX765" fmla="*/ 4677765 w 6251734"/>
              <a:gd name="connsiteY765" fmla="*/ 4068771 h 5808721"/>
              <a:gd name="connsiteX766" fmla="*/ 4581144 w 6251734"/>
              <a:gd name="connsiteY766" fmla="*/ 3700743 h 5808721"/>
              <a:gd name="connsiteX767" fmla="*/ 4863113 w 6251734"/>
              <a:gd name="connsiteY767" fmla="*/ 3524739 h 5808721"/>
              <a:gd name="connsiteX768" fmla="*/ 1544765 w 6251734"/>
              <a:gd name="connsiteY768" fmla="*/ 3428138 h 5808721"/>
              <a:gd name="connsiteX769" fmla="*/ 1620204 w 6251734"/>
              <a:gd name="connsiteY769" fmla="*/ 3555010 h 5808721"/>
              <a:gd name="connsiteX770" fmla="*/ 1532764 w 6251734"/>
              <a:gd name="connsiteY770" fmla="*/ 3615018 h 5808721"/>
              <a:gd name="connsiteX771" fmla="*/ 1646779 w 6251734"/>
              <a:gd name="connsiteY771" fmla="*/ 3561011 h 5808721"/>
              <a:gd name="connsiteX772" fmla="*/ 1544765 w 6251734"/>
              <a:gd name="connsiteY772" fmla="*/ 3428138 h 5808721"/>
              <a:gd name="connsiteX773" fmla="*/ 408910 w 6251734"/>
              <a:gd name="connsiteY773" fmla="*/ 3284263 h 5808721"/>
              <a:gd name="connsiteX774" fmla="*/ 393653 w 6251734"/>
              <a:gd name="connsiteY774" fmla="*/ 3296390 h 5808721"/>
              <a:gd name="connsiteX775" fmla="*/ 334836 w 6251734"/>
              <a:gd name="connsiteY775" fmla="*/ 3335610 h 5808721"/>
              <a:gd name="connsiteX776" fmla="*/ 325136 w 6251734"/>
              <a:gd name="connsiteY776" fmla="*/ 3340789 h 5808721"/>
              <a:gd name="connsiteX777" fmla="*/ 330318 w 6251734"/>
              <a:gd name="connsiteY777" fmla="*/ 3354497 h 5808721"/>
              <a:gd name="connsiteX778" fmla="*/ 408051 w 6251734"/>
              <a:gd name="connsiteY778" fmla="*/ 3427281 h 5808721"/>
              <a:gd name="connsiteX779" fmla="*/ 478438 w 6251734"/>
              <a:gd name="connsiteY779" fmla="*/ 3369010 h 5808721"/>
              <a:gd name="connsiteX780" fmla="*/ 491268 w 6251734"/>
              <a:gd name="connsiteY780" fmla="*/ 3340334 h 5808721"/>
              <a:gd name="connsiteX781" fmla="*/ 481268 w 6251734"/>
              <a:gd name="connsiteY781" fmla="*/ 3334978 h 5808721"/>
              <a:gd name="connsiteX782" fmla="*/ 385103 w 6251734"/>
              <a:gd name="connsiteY782" fmla="*/ 3234417 h 5808721"/>
              <a:gd name="connsiteX783" fmla="*/ 394907 w 6251734"/>
              <a:gd name="connsiteY783" fmla="*/ 3243179 h 5808721"/>
              <a:gd name="connsiteX784" fmla="*/ 407331 w 6251734"/>
              <a:gd name="connsiteY784" fmla="*/ 3251843 h 5808721"/>
              <a:gd name="connsiteX785" fmla="*/ 427247 w 6251734"/>
              <a:gd name="connsiteY785" fmla="*/ 3234680 h 5808721"/>
              <a:gd name="connsiteX786" fmla="*/ 408051 w 6251734"/>
              <a:gd name="connsiteY786" fmla="*/ 3236114 h 5808721"/>
              <a:gd name="connsiteX787" fmla="*/ 293992 w 6251734"/>
              <a:gd name="connsiteY787" fmla="*/ 3227681 h 5808721"/>
              <a:gd name="connsiteX788" fmla="*/ 310863 w 6251734"/>
              <a:gd name="connsiteY788" fmla="*/ 3303036 h 5808721"/>
              <a:gd name="connsiteX789" fmla="*/ 314200 w 6251734"/>
              <a:gd name="connsiteY789" fmla="*/ 3311864 h 5808721"/>
              <a:gd name="connsiteX790" fmla="*/ 346623 w 6251734"/>
              <a:gd name="connsiteY790" fmla="*/ 3294552 h 5808721"/>
              <a:gd name="connsiteX791" fmla="*/ 386844 w 6251734"/>
              <a:gd name="connsiteY791" fmla="*/ 3267724 h 5808721"/>
              <a:gd name="connsiteX792" fmla="*/ 346453 w 6251734"/>
              <a:gd name="connsiteY792" fmla="*/ 3231560 h 5808721"/>
              <a:gd name="connsiteX793" fmla="*/ 521204 w 6251734"/>
              <a:gd name="connsiteY793" fmla="*/ 3227662 h 5808721"/>
              <a:gd name="connsiteX794" fmla="*/ 472442 w 6251734"/>
              <a:gd name="connsiteY794" fmla="*/ 3231304 h 5808721"/>
              <a:gd name="connsiteX795" fmla="*/ 454017 w 6251734"/>
              <a:gd name="connsiteY795" fmla="*/ 3248411 h 5808721"/>
              <a:gd name="connsiteX796" fmla="*/ 429899 w 6251734"/>
              <a:gd name="connsiteY796" fmla="*/ 3267581 h 5808721"/>
              <a:gd name="connsiteX797" fmla="*/ 469481 w 6251734"/>
              <a:gd name="connsiteY797" fmla="*/ 3295183 h 5808721"/>
              <a:gd name="connsiteX798" fmla="*/ 501667 w 6251734"/>
              <a:gd name="connsiteY798" fmla="*/ 3312302 h 5808721"/>
              <a:gd name="connsiteX799" fmla="*/ 512504 w 6251734"/>
              <a:gd name="connsiteY799" fmla="*/ 3276718 h 5808721"/>
              <a:gd name="connsiteX800" fmla="*/ 645944 w 6251734"/>
              <a:gd name="connsiteY800" fmla="*/ 3207392 h 5808721"/>
              <a:gd name="connsiteX801" fmla="*/ 636239 w 6251734"/>
              <a:gd name="connsiteY801" fmla="*/ 3210346 h 5808721"/>
              <a:gd name="connsiteX802" fmla="*/ 566924 w 6251734"/>
              <a:gd name="connsiteY802" fmla="*/ 3224247 h 5808721"/>
              <a:gd name="connsiteX803" fmla="*/ 548148 w 6251734"/>
              <a:gd name="connsiteY803" fmla="*/ 3225649 h 5808721"/>
              <a:gd name="connsiteX804" fmla="*/ 532529 w 6251734"/>
              <a:gd name="connsiteY804" fmla="*/ 3314283 h 5808721"/>
              <a:gd name="connsiteX805" fmla="*/ 529280 w 6251734"/>
              <a:gd name="connsiteY805" fmla="*/ 3325012 h 5808721"/>
              <a:gd name="connsiteX806" fmla="*/ 558887 w 6251734"/>
              <a:gd name="connsiteY806" fmla="*/ 3336294 h 5808721"/>
              <a:gd name="connsiteX807" fmla="*/ 649797 w 6251734"/>
              <a:gd name="connsiteY807" fmla="*/ 3327840 h 5808721"/>
              <a:gd name="connsiteX808" fmla="*/ 658251 w 6251734"/>
              <a:gd name="connsiteY808" fmla="*/ 3236553 h 5808721"/>
              <a:gd name="connsiteX809" fmla="*/ 169104 w 6251734"/>
              <a:gd name="connsiteY809" fmla="*/ 3206549 h 5808721"/>
              <a:gd name="connsiteX810" fmla="*/ 157854 w 6251734"/>
              <a:gd name="connsiteY810" fmla="*/ 3236073 h 5808721"/>
              <a:gd name="connsiteX811" fmla="*/ 166307 w 6251734"/>
              <a:gd name="connsiteY811" fmla="*/ 3326984 h 5808721"/>
              <a:gd name="connsiteX812" fmla="*/ 257218 w 6251734"/>
              <a:gd name="connsiteY812" fmla="*/ 3335814 h 5808721"/>
              <a:gd name="connsiteX813" fmla="*/ 287649 w 6251734"/>
              <a:gd name="connsiteY813" fmla="*/ 3324179 h 5808721"/>
              <a:gd name="connsiteX814" fmla="*/ 269900 w 6251734"/>
              <a:gd name="connsiteY814" fmla="*/ 3244968 h 5808721"/>
              <a:gd name="connsiteX815" fmla="*/ 268468 w 6251734"/>
              <a:gd name="connsiteY815" fmla="*/ 3225793 h 5808721"/>
              <a:gd name="connsiteX816" fmla="*/ 249179 w 6251734"/>
              <a:gd name="connsiteY816" fmla="*/ 3224367 h 5808721"/>
              <a:gd name="connsiteX817" fmla="*/ 288917 w 6251734"/>
              <a:gd name="connsiteY817" fmla="*/ 3177713 h 5808721"/>
              <a:gd name="connsiteX818" fmla="*/ 290802 w 6251734"/>
              <a:gd name="connsiteY818" fmla="*/ 3203043 h 5808721"/>
              <a:gd name="connsiteX819" fmla="*/ 316853 w 6251734"/>
              <a:gd name="connsiteY819" fmla="*/ 3205057 h 5808721"/>
              <a:gd name="connsiteX820" fmla="*/ 301752 w 6251734"/>
              <a:gd name="connsiteY820" fmla="*/ 3191537 h 5808721"/>
              <a:gd name="connsiteX821" fmla="*/ 528974 w 6251734"/>
              <a:gd name="connsiteY821" fmla="*/ 3176635 h 5808721"/>
              <a:gd name="connsiteX822" fmla="*/ 514351 w 6251734"/>
              <a:gd name="connsiteY822" fmla="*/ 3192395 h 5808721"/>
              <a:gd name="connsiteX823" fmla="*/ 500527 w 6251734"/>
              <a:gd name="connsiteY823" fmla="*/ 3205229 h 5808721"/>
              <a:gd name="connsiteX824" fmla="*/ 525512 w 6251734"/>
              <a:gd name="connsiteY824" fmla="*/ 3203370 h 5808721"/>
              <a:gd name="connsiteX825" fmla="*/ 528388 w 6251734"/>
              <a:gd name="connsiteY825" fmla="*/ 3187154 h 5808721"/>
              <a:gd name="connsiteX826" fmla="*/ 1459898 w 6251734"/>
              <a:gd name="connsiteY826" fmla="*/ 3111812 h 5808721"/>
              <a:gd name="connsiteX827" fmla="*/ 1537907 w 6251734"/>
              <a:gd name="connsiteY827" fmla="*/ 3141816 h 5808721"/>
              <a:gd name="connsiteX828" fmla="*/ 1537907 w 6251734"/>
              <a:gd name="connsiteY828" fmla="*/ 3143530 h 5808721"/>
              <a:gd name="connsiteX829" fmla="*/ 1540479 w 6251734"/>
              <a:gd name="connsiteY829" fmla="*/ 3143530 h 5808721"/>
              <a:gd name="connsiteX830" fmla="*/ 1540479 w 6251734"/>
              <a:gd name="connsiteY830" fmla="*/ 3199252 h 5808721"/>
              <a:gd name="connsiteX831" fmla="*/ 1537907 w 6251734"/>
              <a:gd name="connsiteY831" fmla="*/ 3199252 h 5808721"/>
              <a:gd name="connsiteX832" fmla="*/ 1525048 w 6251734"/>
              <a:gd name="connsiteY832" fmla="*/ 3216397 h 5808721"/>
              <a:gd name="connsiteX833" fmla="*/ 1525048 w 6251734"/>
              <a:gd name="connsiteY833" fmla="*/ 3344127 h 5808721"/>
              <a:gd name="connsiteX834" fmla="*/ 1537050 w 6251734"/>
              <a:gd name="connsiteY834" fmla="*/ 3375845 h 5808721"/>
              <a:gd name="connsiteX835" fmla="*/ 1658780 w 6251734"/>
              <a:gd name="connsiteY835" fmla="*/ 3612446 h 5808721"/>
              <a:gd name="connsiteX836" fmla="*/ 1461612 w 6251734"/>
              <a:gd name="connsiteY836" fmla="*/ 3655309 h 5808721"/>
              <a:gd name="connsiteX837" fmla="*/ 1263587 w 6251734"/>
              <a:gd name="connsiteY837" fmla="*/ 3612446 h 5808721"/>
              <a:gd name="connsiteX838" fmla="*/ 1387888 w 6251734"/>
              <a:gd name="connsiteY838" fmla="*/ 3374988 h 5808721"/>
              <a:gd name="connsiteX839" fmla="*/ 1405033 w 6251734"/>
              <a:gd name="connsiteY839" fmla="*/ 3343270 h 5808721"/>
              <a:gd name="connsiteX840" fmla="*/ 1405033 w 6251734"/>
              <a:gd name="connsiteY840" fmla="*/ 3216397 h 5808721"/>
              <a:gd name="connsiteX841" fmla="*/ 1382745 w 6251734"/>
              <a:gd name="connsiteY841" fmla="*/ 3199252 h 5808721"/>
              <a:gd name="connsiteX842" fmla="*/ 1381030 w 6251734"/>
              <a:gd name="connsiteY842" fmla="*/ 3199252 h 5808721"/>
              <a:gd name="connsiteX843" fmla="*/ 1381030 w 6251734"/>
              <a:gd name="connsiteY843" fmla="*/ 3143530 h 5808721"/>
              <a:gd name="connsiteX844" fmla="*/ 1381888 w 6251734"/>
              <a:gd name="connsiteY844" fmla="*/ 3143530 h 5808721"/>
              <a:gd name="connsiteX845" fmla="*/ 1381888 w 6251734"/>
              <a:gd name="connsiteY845" fmla="*/ 3141816 h 5808721"/>
              <a:gd name="connsiteX846" fmla="*/ 1459898 w 6251734"/>
              <a:gd name="connsiteY846" fmla="*/ 3111812 h 5808721"/>
              <a:gd name="connsiteX847" fmla="*/ 590102 w 6251734"/>
              <a:gd name="connsiteY847" fmla="*/ 3107161 h 5808721"/>
              <a:gd name="connsiteX848" fmla="*/ 570367 w 6251734"/>
              <a:gd name="connsiteY848" fmla="*/ 3132026 h 5808721"/>
              <a:gd name="connsiteX849" fmla="*/ 554587 w 6251734"/>
              <a:gd name="connsiteY849" fmla="*/ 3149033 h 5808721"/>
              <a:gd name="connsiteX850" fmla="*/ 551759 w 6251734"/>
              <a:gd name="connsiteY850" fmla="*/ 3200115 h 5808721"/>
              <a:gd name="connsiteX851" fmla="*/ 599532 w 6251734"/>
              <a:gd name="connsiteY851" fmla="*/ 3190547 h 5808721"/>
              <a:gd name="connsiteX852" fmla="*/ 634360 w 6251734"/>
              <a:gd name="connsiteY852" fmla="*/ 3179941 h 5808721"/>
              <a:gd name="connsiteX853" fmla="*/ 630590 w 6251734"/>
              <a:gd name="connsiteY853" fmla="*/ 3171008 h 5808721"/>
              <a:gd name="connsiteX854" fmla="*/ 226426 w 6251734"/>
              <a:gd name="connsiteY854" fmla="*/ 3105365 h 5808721"/>
              <a:gd name="connsiteX855" fmla="*/ 198965 w 6251734"/>
              <a:gd name="connsiteY855" fmla="*/ 3146668 h 5808721"/>
              <a:gd name="connsiteX856" fmla="*/ 181775 w 6251734"/>
              <a:gd name="connsiteY856" fmla="*/ 3178985 h 5808721"/>
              <a:gd name="connsiteX857" fmla="*/ 216948 w 6251734"/>
              <a:gd name="connsiteY857" fmla="*/ 3190170 h 5808721"/>
              <a:gd name="connsiteX858" fmla="*/ 266550 w 6251734"/>
              <a:gd name="connsiteY858" fmla="*/ 3200120 h 5808721"/>
              <a:gd name="connsiteX859" fmla="*/ 262773 w 6251734"/>
              <a:gd name="connsiteY859" fmla="*/ 3149552 h 5808721"/>
              <a:gd name="connsiteX860" fmla="*/ 245737 w 6251734"/>
              <a:gd name="connsiteY860" fmla="*/ 3131203 h 5808721"/>
              <a:gd name="connsiteX861" fmla="*/ 556573 w 6251734"/>
              <a:gd name="connsiteY861" fmla="*/ 3065846 h 5808721"/>
              <a:gd name="connsiteX862" fmla="*/ 558070 w 6251734"/>
              <a:gd name="connsiteY862" fmla="*/ 3086095 h 5808721"/>
              <a:gd name="connsiteX863" fmla="*/ 557031 w 6251734"/>
              <a:gd name="connsiteY863" fmla="*/ 3104875 h 5808721"/>
              <a:gd name="connsiteX864" fmla="*/ 573606 w 6251734"/>
              <a:gd name="connsiteY864" fmla="*/ 3085614 h 5808721"/>
              <a:gd name="connsiteX865" fmla="*/ 259173 w 6251734"/>
              <a:gd name="connsiteY865" fmla="*/ 3065486 h 5808721"/>
              <a:gd name="connsiteX866" fmla="*/ 241966 w 6251734"/>
              <a:gd name="connsiteY866" fmla="*/ 3085481 h 5808721"/>
              <a:gd name="connsiteX867" fmla="*/ 259516 w 6251734"/>
              <a:gd name="connsiteY867" fmla="*/ 3105960 h 5808721"/>
              <a:gd name="connsiteX868" fmla="*/ 258032 w 6251734"/>
              <a:gd name="connsiteY868" fmla="*/ 3086095 h 5808721"/>
              <a:gd name="connsiteX869" fmla="*/ 408909 w 6251734"/>
              <a:gd name="connsiteY869" fmla="*/ 3023515 h 5808721"/>
              <a:gd name="connsiteX870" fmla="*/ 471488 w 6251734"/>
              <a:gd name="connsiteY870" fmla="*/ 3086095 h 5808721"/>
              <a:gd name="connsiteX871" fmla="*/ 408909 w 6251734"/>
              <a:gd name="connsiteY871" fmla="*/ 3148674 h 5808721"/>
              <a:gd name="connsiteX872" fmla="*/ 346329 w 6251734"/>
              <a:gd name="connsiteY872" fmla="*/ 3086095 h 5808721"/>
              <a:gd name="connsiteX873" fmla="*/ 408909 w 6251734"/>
              <a:gd name="connsiteY873" fmla="*/ 3023515 h 5808721"/>
              <a:gd name="connsiteX874" fmla="*/ 153678 w 6251734"/>
              <a:gd name="connsiteY874" fmla="*/ 3002555 h 5808721"/>
              <a:gd name="connsiteX875" fmla="*/ 124280 w 6251734"/>
              <a:gd name="connsiteY875" fmla="*/ 3015709 h 5808721"/>
              <a:gd name="connsiteX876" fmla="*/ 66009 w 6251734"/>
              <a:gd name="connsiteY876" fmla="*/ 3086095 h 5808721"/>
              <a:gd name="connsiteX877" fmla="*/ 107354 w 6251734"/>
              <a:gd name="connsiteY877" fmla="*/ 3145918 h 5808721"/>
              <a:gd name="connsiteX878" fmla="*/ 153101 w 6251734"/>
              <a:gd name="connsiteY878" fmla="*/ 3169496 h 5808721"/>
              <a:gd name="connsiteX879" fmla="*/ 158538 w 6251734"/>
              <a:gd name="connsiteY879" fmla="*/ 3159312 h 5808721"/>
              <a:gd name="connsiteX880" fmla="*/ 197758 w 6251734"/>
              <a:gd name="connsiteY880" fmla="*/ 3100495 h 5808721"/>
              <a:gd name="connsiteX881" fmla="*/ 210657 w 6251734"/>
              <a:gd name="connsiteY881" fmla="*/ 3084265 h 5808721"/>
              <a:gd name="connsiteX882" fmla="*/ 167482 w 6251734"/>
              <a:gd name="connsiteY882" fmla="*/ 3026495 h 5808721"/>
              <a:gd name="connsiteX883" fmla="*/ 663026 w 6251734"/>
              <a:gd name="connsiteY883" fmla="*/ 3002411 h 5808721"/>
              <a:gd name="connsiteX884" fmla="*/ 657566 w 6251734"/>
              <a:gd name="connsiteY884" fmla="*/ 3012654 h 5808721"/>
              <a:gd name="connsiteX885" fmla="*/ 618347 w 6251734"/>
              <a:gd name="connsiteY885" fmla="*/ 3071576 h 5808721"/>
              <a:gd name="connsiteX886" fmla="*/ 606027 w 6251734"/>
              <a:gd name="connsiteY886" fmla="*/ 3087098 h 5808721"/>
              <a:gd name="connsiteX887" fmla="*/ 648622 w 6251734"/>
              <a:gd name="connsiteY887" fmla="*/ 3144181 h 5808721"/>
              <a:gd name="connsiteX888" fmla="*/ 663100 w 6251734"/>
              <a:gd name="connsiteY888" fmla="*/ 3169333 h 5808721"/>
              <a:gd name="connsiteX889" fmla="*/ 691823 w 6251734"/>
              <a:gd name="connsiteY889" fmla="*/ 3156482 h 5808721"/>
              <a:gd name="connsiteX890" fmla="*/ 750094 w 6251734"/>
              <a:gd name="connsiteY890" fmla="*/ 3086095 h 5808721"/>
              <a:gd name="connsiteX891" fmla="*/ 708749 w 6251734"/>
              <a:gd name="connsiteY891" fmla="*/ 3026099 h 5808721"/>
              <a:gd name="connsiteX892" fmla="*/ 264344 w 6251734"/>
              <a:gd name="connsiteY892" fmla="*/ 2972075 h 5808721"/>
              <a:gd name="connsiteX893" fmla="*/ 216572 w 6251734"/>
              <a:gd name="connsiteY893" fmla="*/ 2981643 h 5808721"/>
              <a:gd name="connsiteX894" fmla="*/ 182153 w 6251734"/>
              <a:gd name="connsiteY894" fmla="*/ 2992125 h 5808721"/>
              <a:gd name="connsiteX895" fmla="*/ 185871 w 6251734"/>
              <a:gd name="connsiteY895" fmla="*/ 3000908 h 5808721"/>
              <a:gd name="connsiteX896" fmla="*/ 226227 w 6251734"/>
              <a:gd name="connsiteY896" fmla="*/ 3064676 h 5808721"/>
              <a:gd name="connsiteX897" fmla="*/ 245737 w 6251734"/>
              <a:gd name="connsiteY897" fmla="*/ 3040131 h 5808721"/>
              <a:gd name="connsiteX898" fmla="*/ 261518 w 6251734"/>
              <a:gd name="connsiteY898" fmla="*/ 3023133 h 5808721"/>
              <a:gd name="connsiteX899" fmla="*/ 549613 w 6251734"/>
              <a:gd name="connsiteY899" fmla="*/ 2971718 h 5808721"/>
              <a:gd name="connsiteX900" fmla="*/ 553247 w 6251734"/>
              <a:gd name="connsiteY900" fmla="*/ 3020858 h 5808721"/>
              <a:gd name="connsiteX901" fmla="*/ 570367 w 6251734"/>
              <a:gd name="connsiteY901" fmla="*/ 3039308 h 5808721"/>
              <a:gd name="connsiteX902" fmla="*/ 589651 w 6251734"/>
              <a:gd name="connsiteY902" fmla="*/ 3065152 h 5808721"/>
              <a:gd name="connsiteX903" fmla="*/ 617139 w 6251734"/>
              <a:gd name="connsiteY903" fmla="*/ 3023810 h 5808721"/>
              <a:gd name="connsiteX904" fmla="*/ 633701 w 6251734"/>
              <a:gd name="connsiteY904" fmla="*/ 2992672 h 5808721"/>
              <a:gd name="connsiteX905" fmla="*/ 599155 w 6251734"/>
              <a:gd name="connsiteY905" fmla="*/ 2981643 h 5808721"/>
              <a:gd name="connsiteX906" fmla="*/ 501023 w 6251734"/>
              <a:gd name="connsiteY906" fmla="*/ 2967017 h 5808721"/>
              <a:gd name="connsiteX907" fmla="*/ 514350 w 6251734"/>
              <a:gd name="connsiteY907" fmla="*/ 2978939 h 5808721"/>
              <a:gd name="connsiteX908" fmla="*/ 527186 w 6251734"/>
              <a:gd name="connsiteY908" fmla="*/ 2992772 h 5808721"/>
              <a:gd name="connsiteX909" fmla="*/ 525405 w 6251734"/>
              <a:gd name="connsiteY909" fmla="*/ 2968836 h 5808721"/>
              <a:gd name="connsiteX910" fmla="*/ 315586 w 6251734"/>
              <a:gd name="connsiteY910" fmla="*/ 2966960 h 5808721"/>
              <a:gd name="connsiteX911" fmla="*/ 290341 w 6251734"/>
              <a:gd name="connsiteY911" fmla="*/ 2968839 h 5808721"/>
              <a:gd name="connsiteX912" fmla="*/ 287715 w 6251734"/>
              <a:gd name="connsiteY912" fmla="*/ 2983640 h 5808721"/>
              <a:gd name="connsiteX913" fmla="*/ 287044 w 6251734"/>
              <a:gd name="connsiteY913" fmla="*/ 2995639 h 5808721"/>
              <a:gd name="connsiteX914" fmla="*/ 301753 w 6251734"/>
              <a:gd name="connsiteY914" fmla="*/ 2979796 h 5808721"/>
              <a:gd name="connsiteX915" fmla="*/ 408051 w 6251734"/>
              <a:gd name="connsiteY915" fmla="*/ 2960079 h 5808721"/>
              <a:gd name="connsiteX916" fmla="*/ 356209 w 6251734"/>
              <a:gd name="connsiteY916" fmla="*/ 2963937 h 5808721"/>
              <a:gd name="connsiteX917" fmla="*/ 318898 w 6251734"/>
              <a:gd name="connsiteY917" fmla="*/ 2996084 h 5808721"/>
              <a:gd name="connsiteX918" fmla="*/ 284805 w 6251734"/>
              <a:gd name="connsiteY918" fmla="*/ 3035702 h 5808721"/>
              <a:gd name="connsiteX919" fmla="*/ 282035 w 6251734"/>
              <a:gd name="connsiteY919" fmla="*/ 3085238 h 5808721"/>
              <a:gd name="connsiteX920" fmla="*/ 285866 w 6251734"/>
              <a:gd name="connsiteY920" fmla="*/ 3136706 h 5808721"/>
              <a:gd name="connsiteX921" fmla="*/ 318897 w 6251734"/>
              <a:gd name="connsiteY921" fmla="*/ 3175250 h 5808721"/>
              <a:gd name="connsiteX922" fmla="*/ 355604 w 6251734"/>
              <a:gd name="connsiteY922" fmla="*/ 3208055 h 5808721"/>
              <a:gd name="connsiteX923" fmla="*/ 408051 w 6251734"/>
              <a:gd name="connsiteY923" fmla="*/ 3212111 h 5808721"/>
              <a:gd name="connsiteX924" fmla="*/ 457727 w 6251734"/>
              <a:gd name="connsiteY924" fmla="*/ 3208414 h 5808721"/>
              <a:gd name="connsiteX925" fmla="*/ 497206 w 6251734"/>
              <a:gd name="connsiteY925" fmla="*/ 3174393 h 5808721"/>
              <a:gd name="connsiteX926" fmla="*/ 531308 w 6251734"/>
              <a:gd name="connsiteY926" fmla="*/ 3134766 h 5808721"/>
              <a:gd name="connsiteX927" fmla="*/ 534067 w 6251734"/>
              <a:gd name="connsiteY927" fmla="*/ 3085238 h 5808721"/>
              <a:gd name="connsiteX928" fmla="*/ 530360 w 6251734"/>
              <a:gd name="connsiteY928" fmla="*/ 3035422 h 5808721"/>
              <a:gd name="connsiteX929" fmla="*/ 497205 w 6251734"/>
              <a:gd name="connsiteY929" fmla="*/ 2996941 h 5808721"/>
              <a:gd name="connsiteX930" fmla="*/ 460323 w 6251734"/>
              <a:gd name="connsiteY930" fmla="*/ 2963980 h 5808721"/>
              <a:gd name="connsiteX931" fmla="*/ 407682 w 6251734"/>
              <a:gd name="connsiteY931" fmla="*/ 2919589 h 5808721"/>
              <a:gd name="connsiteX932" fmla="*/ 386715 w 6251734"/>
              <a:gd name="connsiteY932" fmla="*/ 2937654 h 5808721"/>
              <a:gd name="connsiteX933" fmla="*/ 408051 w 6251734"/>
              <a:gd name="connsiteY933" fmla="*/ 2936076 h 5808721"/>
              <a:gd name="connsiteX934" fmla="*/ 430998 w 6251734"/>
              <a:gd name="connsiteY934" fmla="*/ 2937773 h 5808721"/>
              <a:gd name="connsiteX935" fmla="*/ 421196 w 6251734"/>
              <a:gd name="connsiteY935" fmla="*/ 2929013 h 5808721"/>
              <a:gd name="connsiteX936" fmla="*/ 313772 w 6251734"/>
              <a:gd name="connsiteY936" fmla="*/ 2860695 h 5808721"/>
              <a:gd name="connsiteX937" fmla="*/ 303599 w 6251734"/>
              <a:gd name="connsiteY937" fmla="*/ 2894135 h 5808721"/>
              <a:gd name="connsiteX938" fmla="*/ 294668 w 6251734"/>
              <a:gd name="connsiteY938" fmla="*/ 2944460 h 5808721"/>
              <a:gd name="connsiteX939" fmla="*/ 343747 w 6251734"/>
              <a:gd name="connsiteY939" fmla="*/ 2940831 h 5808721"/>
              <a:gd name="connsiteX940" fmla="*/ 362122 w 6251734"/>
              <a:gd name="connsiteY940" fmla="*/ 2923781 h 5808721"/>
              <a:gd name="connsiteX941" fmla="*/ 386241 w 6251734"/>
              <a:gd name="connsiteY941" fmla="*/ 2904637 h 5808721"/>
              <a:gd name="connsiteX942" fmla="*/ 346622 w 6251734"/>
              <a:gd name="connsiteY942" fmla="*/ 2877008 h 5808721"/>
              <a:gd name="connsiteX943" fmla="*/ 501946 w 6251734"/>
              <a:gd name="connsiteY943" fmla="*/ 2858728 h 5808721"/>
              <a:gd name="connsiteX944" fmla="*/ 469255 w 6251734"/>
              <a:gd name="connsiteY944" fmla="*/ 2876151 h 5808721"/>
              <a:gd name="connsiteX945" fmla="*/ 429247 w 6251734"/>
              <a:gd name="connsiteY945" fmla="*/ 2902810 h 5808721"/>
              <a:gd name="connsiteX946" fmla="*/ 471695 w 6251734"/>
              <a:gd name="connsiteY946" fmla="*/ 2940782 h 5808721"/>
              <a:gd name="connsiteX947" fmla="*/ 522501 w 6251734"/>
              <a:gd name="connsiteY947" fmla="*/ 2944539 h 5808721"/>
              <a:gd name="connsiteX948" fmla="*/ 505240 w 6251734"/>
              <a:gd name="connsiteY948" fmla="*/ 2867440 h 5808721"/>
              <a:gd name="connsiteX949" fmla="*/ 219818 w 6251734"/>
              <a:gd name="connsiteY949" fmla="*/ 2828773 h 5808721"/>
              <a:gd name="connsiteX950" fmla="*/ 166307 w 6251734"/>
              <a:gd name="connsiteY950" fmla="*/ 2844350 h 5808721"/>
              <a:gd name="connsiteX951" fmla="*/ 158080 w 6251734"/>
              <a:gd name="connsiteY951" fmla="*/ 2935262 h 5808721"/>
              <a:gd name="connsiteX952" fmla="*/ 170445 w 6251734"/>
              <a:gd name="connsiteY952" fmla="*/ 2964470 h 5808721"/>
              <a:gd name="connsiteX953" fmla="*/ 179864 w 6251734"/>
              <a:gd name="connsiteY953" fmla="*/ 2961618 h 5808721"/>
              <a:gd name="connsiteX954" fmla="*/ 249179 w 6251734"/>
              <a:gd name="connsiteY954" fmla="*/ 2947823 h 5808721"/>
              <a:gd name="connsiteX955" fmla="*/ 267973 w 6251734"/>
              <a:gd name="connsiteY955" fmla="*/ 2946434 h 5808721"/>
              <a:gd name="connsiteX956" fmla="*/ 283574 w 6251734"/>
              <a:gd name="connsiteY956" fmla="*/ 2857908 h 5808721"/>
              <a:gd name="connsiteX957" fmla="*/ 286788 w 6251734"/>
              <a:gd name="connsiteY957" fmla="*/ 2847295 h 5808721"/>
              <a:gd name="connsiteX958" fmla="*/ 277993 w 6251734"/>
              <a:gd name="connsiteY958" fmla="*/ 2842929 h 5808721"/>
              <a:gd name="connsiteX959" fmla="*/ 219818 w 6251734"/>
              <a:gd name="connsiteY959" fmla="*/ 2828773 h 5808721"/>
              <a:gd name="connsiteX960" fmla="*/ 595924 w 6251734"/>
              <a:gd name="connsiteY960" fmla="*/ 2827916 h 5808721"/>
              <a:gd name="connsiteX961" fmla="*/ 558510 w 6251734"/>
              <a:gd name="connsiteY961" fmla="*/ 2835040 h 5808721"/>
              <a:gd name="connsiteX962" fmla="*/ 528370 w 6251734"/>
              <a:gd name="connsiteY962" fmla="*/ 2846540 h 5808721"/>
              <a:gd name="connsiteX963" fmla="*/ 546323 w 6251734"/>
              <a:gd name="connsiteY963" fmla="*/ 2927223 h 5808721"/>
              <a:gd name="connsiteX964" fmla="*/ 547742 w 6251734"/>
              <a:gd name="connsiteY964" fmla="*/ 2946405 h 5808721"/>
              <a:gd name="connsiteX965" fmla="*/ 566924 w 6251734"/>
              <a:gd name="connsiteY965" fmla="*/ 2947823 h 5808721"/>
              <a:gd name="connsiteX966" fmla="*/ 646399 w 6251734"/>
              <a:gd name="connsiteY966" fmla="*/ 2965508 h 5808721"/>
              <a:gd name="connsiteX967" fmla="*/ 658251 w 6251734"/>
              <a:gd name="connsiteY967" fmla="*/ 2934405 h 5808721"/>
              <a:gd name="connsiteX968" fmla="*/ 649797 w 6251734"/>
              <a:gd name="connsiteY968" fmla="*/ 2843494 h 5808721"/>
              <a:gd name="connsiteX969" fmla="*/ 595924 w 6251734"/>
              <a:gd name="connsiteY969" fmla="*/ 2827916 h 5808721"/>
              <a:gd name="connsiteX970" fmla="*/ 408051 w 6251734"/>
              <a:gd name="connsiteY970" fmla="*/ 2743195 h 5808721"/>
              <a:gd name="connsiteX971" fmla="*/ 337665 w 6251734"/>
              <a:gd name="connsiteY971" fmla="*/ 2801693 h 5808721"/>
              <a:gd name="connsiteX972" fmla="*/ 324723 w 6251734"/>
              <a:gd name="connsiteY972" fmla="*/ 2830683 h 5808721"/>
              <a:gd name="connsiteX973" fmla="*/ 334835 w 6251734"/>
              <a:gd name="connsiteY973" fmla="*/ 2835724 h 5808721"/>
              <a:gd name="connsiteX974" fmla="*/ 408327 w 6251734"/>
              <a:gd name="connsiteY974" fmla="*/ 2887107 h 5808721"/>
              <a:gd name="connsiteX975" fmla="*/ 422572 w 6251734"/>
              <a:gd name="connsiteY975" fmla="*/ 2875801 h 5808721"/>
              <a:gd name="connsiteX976" fmla="*/ 481495 w 6251734"/>
              <a:gd name="connsiteY976" fmla="*/ 2836582 h 5808721"/>
              <a:gd name="connsiteX977" fmla="*/ 491548 w 6251734"/>
              <a:gd name="connsiteY977" fmla="*/ 2831224 h 5808721"/>
              <a:gd name="connsiteX978" fmla="*/ 485785 w 6251734"/>
              <a:gd name="connsiteY978" fmla="*/ 2815980 h 5808721"/>
              <a:gd name="connsiteX979" fmla="*/ 408051 w 6251734"/>
              <a:gd name="connsiteY979" fmla="*/ 2743195 h 5808721"/>
              <a:gd name="connsiteX980" fmla="*/ 6236067 w 6251734"/>
              <a:gd name="connsiteY980" fmla="*/ 2687689 h 5808721"/>
              <a:gd name="connsiteX981" fmla="*/ 6246782 w 6251734"/>
              <a:gd name="connsiteY981" fmla="*/ 2691760 h 5808721"/>
              <a:gd name="connsiteX982" fmla="*/ 6247640 w 6251734"/>
              <a:gd name="connsiteY982" fmla="*/ 2713192 h 5808721"/>
              <a:gd name="connsiteX983" fmla="*/ 6216014 w 6251734"/>
              <a:gd name="connsiteY983" fmla="*/ 2748180 h 5808721"/>
              <a:gd name="connsiteX984" fmla="*/ 6222322 w 6251734"/>
              <a:gd name="connsiteY984" fmla="*/ 2756871 h 5808721"/>
              <a:gd name="connsiteX985" fmla="*/ 6209062 w 6251734"/>
              <a:gd name="connsiteY985" fmla="*/ 2846922 h 5808721"/>
              <a:gd name="connsiteX986" fmla="*/ 6151734 w 6251734"/>
              <a:gd name="connsiteY986" fmla="*/ 2873711 h 5808721"/>
              <a:gd name="connsiteX987" fmla="*/ 6133744 w 6251734"/>
              <a:gd name="connsiteY987" fmla="*/ 2871200 h 5808721"/>
              <a:gd name="connsiteX988" fmla="*/ 6125031 w 6251734"/>
              <a:gd name="connsiteY988" fmla="*/ 2893063 h 5808721"/>
              <a:gd name="connsiteX989" fmla="*/ 5925312 w 6251734"/>
              <a:gd name="connsiteY989" fmla="*/ 3375846 h 5808721"/>
              <a:gd name="connsiteX990" fmla="*/ 5917597 w 6251734"/>
              <a:gd name="connsiteY990" fmla="*/ 3266975 h 5808721"/>
              <a:gd name="connsiteX991" fmla="*/ 6056644 w 6251734"/>
              <a:gd name="connsiteY991" fmla="*/ 2907754 h 5808721"/>
              <a:gd name="connsiteX992" fmla="*/ 6068648 w 6251734"/>
              <a:gd name="connsiteY992" fmla="*/ 2877062 h 5808721"/>
              <a:gd name="connsiteX993" fmla="*/ 5680138 w 6251734"/>
              <a:gd name="connsiteY993" fmla="*/ 3041518 h 5808721"/>
              <a:gd name="connsiteX994" fmla="*/ 5576411 w 6251734"/>
              <a:gd name="connsiteY994" fmla="*/ 3046661 h 5808721"/>
              <a:gd name="connsiteX995" fmla="*/ 5660422 w 6251734"/>
              <a:gd name="connsiteY995" fmla="*/ 2986654 h 5808721"/>
              <a:gd name="connsiteX996" fmla="*/ 6069879 w 6251734"/>
              <a:gd name="connsiteY996" fmla="*/ 2807820 h 5808721"/>
              <a:gd name="connsiteX997" fmla="*/ 6065771 w 6251734"/>
              <a:gd name="connsiteY997" fmla="*/ 2780383 h 5808721"/>
              <a:gd name="connsiteX998" fmla="*/ 6086476 w 6251734"/>
              <a:gd name="connsiteY998" fmla="*/ 2736337 h 5808721"/>
              <a:gd name="connsiteX999" fmla="*/ 6143804 w 6251734"/>
              <a:gd name="connsiteY999" fmla="*/ 2709228 h 5808721"/>
              <a:gd name="connsiteX1000" fmla="*/ 6175080 w 6251734"/>
              <a:gd name="connsiteY1000" fmla="*/ 2713794 h 5808721"/>
              <a:gd name="connsiteX1001" fmla="*/ 6195368 w 6251734"/>
              <a:gd name="connsiteY1001" fmla="*/ 2725788 h 5808721"/>
              <a:gd name="connsiteX1002" fmla="*/ 6225351 w 6251734"/>
              <a:gd name="connsiteY1002" fmla="*/ 2692617 h 5808721"/>
              <a:gd name="connsiteX1003" fmla="*/ 6236067 w 6251734"/>
              <a:gd name="connsiteY1003" fmla="*/ 2687689 h 5808721"/>
              <a:gd name="connsiteX1004" fmla="*/ 408051 w 6251734"/>
              <a:gd name="connsiteY1004" fmla="*/ 2678044 h 5808721"/>
              <a:gd name="connsiteX1005" fmla="*/ 492060 w 6251734"/>
              <a:gd name="connsiteY1005" fmla="*/ 2747708 h 5808721"/>
              <a:gd name="connsiteX1006" fmla="*/ 519745 w 6251734"/>
              <a:gd name="connsiteY1006" fmla="*/ 2816195 h 5808721"/>
              <a:gd name="connsiteX1007" fmla="*/ 537283 w 6251734"/>
              <a:gd name="connsiteY1007" fmla="*/ 2806846 h 5808721"/>
              <a:gd name="connsiteX1008" fmla="*/ 696946 w 6251734"/>
              <a:gd name="connsiteY1008" fmla="*/ 2797202 h 5808721"/>
              <a:gd name="connsiteX1009" fmla="*/ 687302 w 6251734"/>
              <a:gd name="connsiteY1009" fmla="*/ 2956865 h 5808721"/>
              <a:gd name="connsiteX1010" fmla="*/ 677955 w 6251734"/>
              <a:gd name="connsiteY1010" fmla="*/ 2974402 h 5808721"/>
              <a:gd name="connsiteX1011" fmla="*/ 746440 w 6251734"/>
              <a:gd name="connsiteY1011" fmla="*/ 3002086 h 5808721"/>
              <a:gd name="connsiteX1012" fmla="*/ 816103 w 6251734"/>
              <a:gd name="connsiteY1012" fmla="*/ 3086095 h 5808721"/>
              <a:gd name="connsiteX1013" fmla="*/ 696624 w 6251734"/>
              <a:gd name="connsiteY1013" fmla="*/ 3191966 h 5808721"/>
              <a:gd name="connsiteX1014" fmla="*/ 678828 w 6251734"/>
              <a:gd name="connsiteY1014" fmla="*/ 3197383 h 5808721"/>
              <a:gd name="connsiteX1015" fmla="*/ 698388 w 6251734"/>
              <a:gd name="connsiteY1015" fmla="*/ 3240686 h 5808721"/>
              <a:gd name="connsiteX1016" fmla="*/ 696946 w 6251734"/>
              <a:gd name="connsiteY1016" fmla="*/ 3374132 h 5808721"/>
              <a:gd name="connsiteX1017" fmla="*/ 536961 w 6251734"/>
              <a:gd name="connsiteY1017" fmla="*/ 3364809 h 5808721"/>
              <a:gd name="connsiteX1018" fmla="*/ 519982 w 6251734"/>
              <a:gd name="connsiteY1018" fmla="*/ 3355715 h 5808721"/>
              <a:gd name="connsiteX1019" fmla="*/ 514243 w 6251734"/>
              <a:gd name="connsiteY1019" fmla="*/ 3374667 h 5808721"/>
              <a:gd name="connsiteX1020" fmla="*/ 408051 w 6251734"/>
              <a:gd name="connsiteY1020" fmla="*/ 3494146 h 5808721"/>
              <a:gd name="connsiteX1021" fmla="*/ 324419 w 6251734"/>
              <a:gd name="connsiteY1021" fmla="*/ 3424483 h 5808721"/>
              <a:gd name="connsiteX1022" fmla="*/ 296648 w 6251734"/>
              <a:gd name="connsiteY1022" fmla="*/ 3355999 h 5808721"/>
              <a:gd name="connsiteX1023" fmla="*/ 279143 w 6251734"/>
              <a:gd name="connsiteY1023" fmla="*/ 3365346 h 5808721"/>
              <a:gd name="connsiteX1024" fmla="*/ 119158 w 6251734"/>
              <a:gd name="connsiteY1024" fmla="*/ 3374990 h 5808721"/>
              <a:gd name="connsiteX1025" fmla="*/ 128803 w 6251734"/>
              <a:gd name="connsiteY1025" fmla="*/ 3215005 h 5808721"/>
              <a:gd name="connsiteX1026" fmla="*/ 138022 w 6251734"/>
              <a:gd name="connsiteY1026" fmla="*/ 3197737 h 5808721"/>
              <a:gd name="connsiteX1027" fmla="*/ 69663 w 6251734"/>
              <a:gd name="connsiteY1027" fmla="*/ 3170104 h 5808721"/>
              <a:gd name="connsiteX1028" fmla="*/ 0 w 6251734"/>
              <a:gd name="connsiteY1028" fmla="*/ 3086095 h 5808721"/>
              <a:gd name="connsiteX1029" fmla="*/ 119480 w 6251734"/>
              <a:gd name="connsiteY1029" fmla="*/ 2979903 h 5808721"/>
              <a:gd name="connsiteX1030" fmla="*/ 137725 w 6251734"/>
              <a:gd name="connsiteY1030" fmla="*/ 2974378 h 5808721"/>
              <a:gd name="connsiteX1031" fmla="*/ 117717 w 6251734"/>
              <a:gd name="connsiteY1031" fmla="*/ 2930147 h 5808721"/>
              <a:gd name="connsiteX1032" fmla="*/ 119158 w 6251734"/>
              <a:gd name="connsiteY1032" fmla="*/ 2796344 h 5808721"/>
              <a:gd name="connsiteX1033" fmla="*/ 183438 w 6251734"/>
              <a:gd name="connsiteY1033" fmla="*/ 2777860 h 5808721"/>
              <a:gd name="connsiteX1034" fmla="*/ 252960 w 6251734"/>
              <a:gd name="connsiteY1034" fmla="*/ 2794903 h 5808721"/>
              <a:gd name="connsiteX1035" fmla="*/ 296135 w 6251734"/>
              <a:gd name="connsiteY1035" fmla="*/ 2816430 h 5808721"/>
              <a:gd name="connsiteX1036" fmla="*/ 301859 w 6251734"/>
              <a:gd name="connsiteY1036" fmla="*/ 2797524 h 5808721"/>
              <a:gd name="connsiteX1037" fmla="*/ 408051 w 6251734"/>
              <a:gd name="connsiteY1037" fmla="*/ 2678044 h 5808721"/>
              <a:gd name="connsiteX1038" fmla="*/ 5013199 w 6251734"/>
              <a:gd name="connsiteY1038" fmla="*/ 2674617 h 5808721"/>
              <a:gd name="connsiteX1039" fmla="*/ 5013199 w 6251734"/>
              <a:gd name="connsiteY1039" fmla="*/ 3173535 h 5808721"/>
              <a:gd name="connsiteX1040" fmla="*/ 5299521 w 6251734"/>
              <a:gd name="connsiteY1040" fmla="*/ 3173535 h 5808721"/>
              <a:gd name="connsiteX1041" fmla="*/ 1456470 w 6251734"/>
              <a:gd name="connsiteY1041" fmla="*/ 2362577 h 5808721"/>
              <a:gd name="connsiteX1042" fmla="*/ 1669068 w 6251734"/>
              <a:gd name="connsiteY1042" fmla="*/ 2628325 h 5808721"/>
              <a:gd name="connsiteX1043" fmla="*/ 1485616 w 6251734"/>
              <a:gd name="connsiteY1043" fmla="*/ 2776629 h 5808721"/>
              <a:gd name="connsiteX1044" fmla="*/ 1306451 w 6251734"/>
              <a:gd name="connsiteY1044" fmla="*/ 2916361 h 5808721"/>
              <a:gd name="connsiteX1045" fmla="*/ 1094710 w 6251734"/>
              <a:gd name="connsiteY1045" fmla="*/ 2652328 h 5808721"/>
              <a:gd name="connsiteX1046" fmla="*/ 1275590 w 6251734"/>
              <a:gd name="connsiteY1046" fmla="*/ 2507453 h 5808721"/>
              <a:gd name="connsiteX1047" fmla="*/ 4655725 w 6251734"/>
              <a:gd name="connsiteY1047" fmla="*/ 2293138 h 5808721"/>
              <a:gd name="connsiteX1048" fmla="*/ 4792886 w 6251734"/>
              <a:gd name="connsiteY1048" fmla="*/ 2293138 h 5808721"/>
              <a:gd name="connsiteX1049" fmla="*/ 4792886 w 6251734"/>
              <a:gd name="connsiteY1049" fmla="*/ 3310694 h 5808721"/>
              <a:gd name="connsiteX1050" fmla="*/ 4655725 w 6251734"/>
              <a:gd name="connsiteY1050" fmla="*/ 3310694 h 5808721"/>
              <a:gd name="connsiteX1051" fmla="*/ 409649 w 6251734"/>
              <a:gd name="connsiteY1051" fmla="*/ 2273959 h 5808721"/>
              <a:gd name="connsiteX1052" fmla="*/ 459486 w 6251734"/>
              <a:gd name="connsiteY1052" fmla="*/ 2287996 h 5808721"/>
              <a:gd name="connsiteX1053" fmla="*/ 421017 w 6251734"/>
              <a:gd name="connsiteY1053" fmla="*/ 2278031 h 5808721"/>
              <a:gd name="connsiteX1054" fmla="*/ 4930045 w 6251734"/>
              <a:gd name="connsiteY1054" fmla="*/ 2273422 h 5808721"/>
              <a:gd name="connsiteX1055" fmla="*/ 5477829 w 6251734"/>
              <a:gd name="connsiteY1055" fmla="*/ 3311552 h 5808721"/>
              <a:gd name="connsiteX1056" fmla="*/ 4930045 w 6251734"/>
              <a:gd name="connsiteY1056" fmla="*/ 3311552 h 5808721"/>
              <a:gd name="connsiteX1057" fmla="*/ 5782627 w 6251734"/>
              <a:gd name="connsiteY1057" fmla="*/ 2202717 h 5808721"/>
              <a:gd name="connsiteX1058" fmla="*/ 5767752 w 6251734"/>
              <a:gd name="connsiteY1058" fmla="*/ 2214541 h 5808721"/>
              <a:gd name="connsiteX1059" fmla="*/ 5708935 w 6251734"/>
              <a:gd name="connsiteY1059" fmla="*/ 2253760 h 5808721"/>
              <a:gd name="connsiteX1060" fmla="*/ 5698749 w 6251734"/>
              <a:gd name="connsiteY1060" fmla="*/ 2259199 h 5808721"/>
              <a:gd name="connsiteX1061" fmla="*/ 5722156 w 6251734"/>
              <a:gd name="connsiteY1061" fmla="*/ 2304260 h 5808721"/>
              <a:gd name="connsiteX1062" fmla="*/ 5782152 w 6251734"/>
              <a:gd name="connsiteY1062" fmla="*/ 2345431 h 5808721"/>
              <a:gd name="connsiteX1063" fmla="*/ 5842148 w 6251734"/>
              <a:gd name="connsiteY1063" fmla="*/ 2304260 h 5808721"/>
              <a:gd name="connsiteX1064" fmla="*/ 5865804 w 6251734"/>
              <a:gd name="connsiteY1064" fmla="*/ 2258720 h 5808721"/>
              <a:gd name="connsiteX1065" fmla="*/ 5855368 w 6251734"/>
              <a:gd name="connsiteY1065" fmla="*/ 2253129 h 5808721"/>
              <a:gd name="connsiteX1066" fmla="*/ 5796551 w 6251734"/>
              <a:gd name="connsiteY1066" fmla="*/ 2213804 h 5808721"/>
              <a:gd name="connsiteX1067" fmla="*/ 5760901 w 6251734"/>
              <a:gd name="connsiteY1067" fmla="*/ 2151836 h 5808721"/>
              <a:gd name="connsiteX1068" fmla="*/ 5781715 w 6251734"/>
              <a:gd name="connsiteY1068" fmla="*/ 2169748 h 5808721"/>
              <a:gd name="connsiteX1069" fmla="*/ 5802358 w 6251734"/>
              <a:gd name="connsiteY1069" fmla="*/ 2151959 h 5808721"/>
              <a:gd name="connsiteX1070" fmla="*/ 5782152 w 6251734"/>
              <a:gd name="connsiteY1070" fmla="*/ 2153407 h 5808721"/>
              <a:gd name="connsiteX1071" fmla="*/ 5896549 w 6251734"/>
              <a:gd name="connsiteY1071" fmla="*/ 2145209 h 5808721"/>
              <a:gd name="connsiteX1072" fmla="*/ 5847314 w 6251734"/>
              <a:gd name="connsiteY1072" fmla="*/ 2148737 h 5808721"/>
              <a:gd name="connsiteX1073" fmla="*/ 5828117 w 6251734"/>
              <a:gd name="connsiteY1073" fmla="*/ 2166561 h 5808721"/>
              <a:gd name="connsiteX1074" fmla="*/ 5803118 w 6251734"/>
              <a:gd name="connsiteY1074" fmla="*/ 2186431 h 5808721"/>
              <a:gd name="connsiteX1075" fmla="*/ 5843581 w 6251734"/>
              <a:gd name="connsiteY1075" fmla="*/ 2213334 h 5808721"/>
              <a:gd name="connsiteX1076" fmla="*/ 5875307 w 6251734"/>
              <a:gd name="connsiteY1076" fmla="*/ 2230209 h 5808721"/>
              <a:gd name="connsiteX1077" fmla="*/ 5886604 w 6251734"/>
              <a:gd name="connsiteY1077" fmla="*/ 2194868 h 5808721"/>
              <a:gd name="connsiteX1078" fmla="*/ 5667701 w 6251734"/>
              <a:gd name="connsiteY1078" fmla="*/ 2144945 h 5808721"/>
              <a:gd name="connsiteX1079" fmla="*/ 5677700 w 6251734"/>
              <a:gd name="connsiteY1079" fmla="*/ 2194868 h 5808721"/>
              <a:gd name="connsiteX1080" fmla="*/ 5688842 w 6251734"/>
              <a:gd name="connsiteY1080" fmla="*/ 2229724 h 5808721"/>
              <a:gd name="connsiteX1081" fmla="*/ 5720722 w 6251734"/>
              <a:gd name="connsiteY1081" fmla="*/ 2212702 h 5808721"/>
              <a:gd name="connsiteX1082" fmla="*/ 5761232 w 6251734"/>
              <a:gd name="connsiteY1082" fmla="*/ 2185681 h 5808721"/>
              <a:gd name="connsiteX1083" fmla="*/ 5736186 w 6251734"/>
              <a:gd name="connsiteY1083" fmla="*/ 2165739 h 5808721"/>
              <a:gd name="connsiteX1084" fmla="*/ 5717789 w 6251734"/>
              <a:gd name="connsiteY1084" fmla="*/ 2148648 h 5808721"/>
              <a:gd name="connsiteX1085" fmla="*/ 6020742 w 6251734"/>
              <a:gd name="connsiteY1085" fmla="*/ 2124279 h 5808721"/>
              <a:gd name="connsiteX1086" fmla="*/ 5941024 w 6251734"/>
              <a:gd name="connsiteY1086" fmla="*/ 2142022 h 5808721"/>
              <a:gd name="connsiteX1087" fmla="*/ 5921776 w 6251734"/>
              <a:gd name="connsiteY1087" fmla="*/ 2143401 h 5808721"/>
              <a:gd name="connsiteX1088" fmla="*/ 5920303 w 6251734"/>
              <a:gd name="connsiteY1088" fmla="*/ 2163118 h 5808721"/>
              <a:gd name="connsiteX1089" fmla="*/ 5902447 w 6251734"/>
              <a:gd name="connsiteY1089" fmla="*/ 2242808 h 5808721"/>
              <a:gd name="connsiteX1090" fmla="*/ 5932987 w 6251734"/>
              <a:gd name="connsiteY1090" fmla="*/ 2254446 h 5808721"/>
              <a:gd name="connsiteX1091" fmla="*/ 6023897 w 6251734"/>
              <a:gd name="connsiteY1091" fmla="*/ 2245992 h 5808721"/>
              <a:gd name="connsiteX1092" fmla="*/ 6032350 w 6251734"/>
              <a:gd name="connsiteY1092" fmla="*/ 2154704 h 5808721"/>
              <a:gd name="connsiteX1093" fmla="*/ 5543504 w 6251734"/>
              <a:gd name="connsiteY1093" fmla="*/ 2123909 h 5808721"/>
              <a:gd name="connsiteX1094" fmla="*/ 5531953 w 6251734"/>
              <a:gd name="connsiteY1094" fmla="*/ 2154223 h 5808721"/>
              <a:gd name="connsiteX1095" fmla="*/ 5540407 w 6251734"/>
              <a:gd name="connsiteY1095" fmla="*/ 2245135 h 5808721"/>
              <a:gd name="connsiteX1096" fmla="*/ 5631317 w 6251734"/>
              <a:gd name="connsiteY1096" fmla="*/ 2253964 h 5808721"/>
              <a:gd name="connsiteX1097" fmla="*/ 5661749 w 6251734"/>
              <a:gd name="connsiteY1097" fmla="*/ 2242328 h 5808721"/>
              <a:gd name="connsiteX1098" fmla="*/ 5644001 w 6251734"/>
              <a:gd name="connsiteY1098" fmla="*/ 2163118 h 5808721"/>
              <a:gd name="connsiteX1099" fmla="*/ 5642504 w 6251734"/>
              <a:gd name="connsiteY1099" fmla="*/ 2143082 h 5808721"/>
              <a:gd name="connsiteX1100" fmla="*/ 5623279 w 6251734"/>
              <a:gd name="connsiteY1100" fmla="*/ 2141660 h 5808721"/>
              <a:gd name="connsiteX1101" fmla="*/ 5901217 w 6251734"/>
              <a:gd name="connsiteY1101" fmla="*/ 2096788 h 5808721"/>
              <a:gd name="connsiteX1102" fmla="*/ 5888451 w 6251734"/>
              <a:gd name="connsiteY1102" fmla="*/ 2110545 h 5808721"/>
              <a:gd name="connsiteX1103" fmla="*/ 5875630 w 6251734"/>
              <a:gd name="connsiteY1103" fmla="*/ 2122448 h 5808721"/>
              <a:gd name="connsiteX1104" fmla="*/ 5899439 w 6251734"/>
              <a:gd name="connsiteY1104" fmla="*/ 2120676 h 5808721"/>
              <a:gd name="connsiteX1105" fmla="*/ 5663018 w 6251734"/>
              <a:gd name="connsiteY1105" fmla="*/ 2095865 h 5808721"/>
              <a:gd name="connsiteX1106" fmla="*/ 5664871 w 6251734"/>
              <a:gd name="connsiteY1106" fmla="*/ 2120759 h 5808721"/>
              <a:gd name="connsiteX1107" fmla="*/ 5689742 w 6251734"/>
              <a:gd name="connsiteY1107" fmla="*/ 2122592 h 5808721"/>
              <a:gd name="connsiteX1108" fmla="*/ 5675852 w 6251734"/>
              <a:gd name="connsiteY1108" fmla="*/ 2109688 h 5808721"/>
              <a:gd name="connsiteX1109" fmla="*/ 5964361 w 6251734"/>
              <a:gd name="connsiteY1109" fmla="*/ 2025112 h 5808721"/>
              <a:gd name="connsiteX1110" fmla="*/ 5944467 w 6251734"/>
              <a:gd name="connsiteY1110" fmla="*/ 2050176 h 5808721"/>
              <a:gd name="connsiteX1111" fmla="*/ 5927363 w 6251734"/>
              <a:gd name="connsiteY1111" fmla="*/ 2068609 h 5808721"/>
              <a:gd name="connsiteX1112" fmla="*/ 5923685 w 6251734"/>
              <a:gd name="connsiteY1112" fmla="*/ 2117844 h 5808721"/>
              <a:gd name="connsiteX1113" fmla="*/ 5973632 w 6251734"/>
              <a:gd name="connsiteY1113" fmla="*/ 2107841 h 5808721"/>
              <a:gd name="connsiteX1114" fmla="*/ 6007981 w 6251734"/>
              <a:gd name="connsiteY1114" fmla="*/ 2096861 h 5808721"/>
              <a:gd name="connsiteX1115" fmla="*/ 5991239 w 6251734"/>
              <a:gd name="connsiteY1115" fmla="*/ 2065450 h 5808721"/>
              <a:gd name="connsiteX1116" fmla="*/ 5599967 w 6251734"/>
              <a:gd name="connsiteY1116" fmla="*/ 2024356 h 5808721"/>
              <a:gd name="connsiteX1117" fmla="*/ 5573064 w 6251734"/>
              <a:gd name="connsiteY1117" fmla="*/ 2064817 h 5808721"/>
              <a:gd name="connsiteX1118" fmla="*/ 5555981 w 6251734"/>
              <a:gd name="connsiteY1118" fmla="*/ 2096936 h 5808721"/>
              <a:gd name="connsiteX1119" fmla="*/ 5591049 w 6251734"/>
              <a:gd name="connsiteY1119" fmla="*/ 2108067 h 5808721"/>
              <a:gd name="connsiteX1120" fmla="*/ 5640623 w 6251734"/>
              <a:gd name="connsiteY1120" fmla="*/ 2117908 h 5808721"/>
              <a:gd name="connsiteX1121" fmla="*/ 5636873 w 6251734"/>
              <a:gd name="connsiteY1121" fmla="*/ 2067704 h 5808721"/>
              <a:gd name="connsiteX1122" fmla="*/ 5619836 w 6251734"/>
              <a:gd name="connsiteY1122" fmla="*/ 2049354 h 5808721"/>
              <a:gd name="connsiteX1123" fmla="*/ 5930674 w 6251734"/>
              <a:gd name="connsiteY1123" fmla="*/ 1983998 h 5808721"/>
              <a:gd name="connsiteX1124" fmla="*/ 5932171 w 6251734"/>
              <a:gd name="connsiteY1124" fmla="*/ 2004246 h 5808721"/>
              <a:gd name="connsiteX1125" fmla="*/ 5930734 w 6251734"/>
              <a:gd name="connsiteY1125" fmla="*/ 2023487 h 5808721"/>
              <a:gd name="connsiteX1126" fmla="*/ 5947705 w 6251734"/>
              <a:gd name="connsiteY1126" fmla="*/ 2003765 h 5808721"/>
              <a:gd name="connsiteX1127" fmla="*/ 5633693 w 6251734"/>
              <a:gd name="connsiteY1127" fmla="*/ 1983147 h 5808721"/>
              <a:gd name="connsiteX1128" fmla="*/ 5615905 w 6251734"/>
              <a:gd name="connsiteY1128" fmla="*/ 2003818 h 5808721"/>
              <a:gd name="connsiteX1129" fmla="*/ 5633640 w 6251734"/>
              <a:gd name="connsiteY1129" fmla="*/ 2024428 h 5808721"/>
              <a:gd name="connsiteX1130" fmla="*/ 5632133 w 6251734"/>
              <a:gd name="connsiteY1130" fmla="*/ 2004246 h 5808721"/>
              <a:gd name="connsiteX1131" fmla="*/ 5783009 w 6251734"/>
              <a:gd name="connsiteY1131" fmla="*/ 1940810 h 5808721"/>
              <a:gd name="connsiteX1132" fmla="*/ 5845588 w 6251734"/>
              <a:gd name="connsiteY1132" fmla="*/ 2003389 h 5808721"/>
              <a:gd name="connsiteX1133" fmla="*/ 5783009 w 6251734"/>
              <a:gd name="connsiteY1133" fmla="*/ 2065968 h 5808721"/>
              <a:gd name="connsiteX1134" fmla="*/ 5720429 w 6251734"/>
              <a:gd name="connsiteY1134" fmla="*/ 2003389 h 5808721"/>
              <a:gd name="connsiteX1135" fmla="*/ 5783009 w 6251734"/>
              <a:gd name="connsiteY1135" fmla="*/ 1940810 h 5808721"/>
              <a:gd name="connsiteX1136" fmla="*/ 6037483 w 6251734"/>
              <a:gd name="connsiteY1136" fmla="*/ 1919889 h 5808721"/>
              <a:gd name="connsiteX1137" fmla="*/ 6031666 w 6251734"/>
              <a:gd name="connsiteY1137" fmla="*/ 1930805 h 5808721"/>
              <a:gd name="connsiteX1138" fmla="*/ 5992446 w 6251734"/>
              <a:gd name="connsiteY1138" fmla="*/ 1989726 h 5808721"/>
              <a:gd name="connsiteX1139" fmla="*/ 5981262 w 6251734"/>
              <a:gd name="connsiteY1139" fmla="*/ 2003818 h 5808721"/>
              <a:gd name="connsiteX1140" fmla="*/ 5992446 w 6251734"/>
              <a:gd name="connsiteY1140" fmla="*/ 2017909 h 5808721"/>
              <a:gd name="connsiteX1141" fmla="*/ 6031666 w 6251734"/>
              <a:gd name="connsiteY1141" fmla="*/ 2076831 h 5808721"/>
              <a:gd name="connsiteX1142" fmla="*/ 6037189 w 6251734"/>
              <a:gd name="connsiteY1142" fmla="*/ 2087193 h 5808721"/>
              <a:gd name="connsiteX1143" fmla="*/ 6083022 w 6251734"/>
              <a:gd name="connsiteY1143" fmla="*/ 2063384 h 5808721"/>
              <a:gd name="connsiteX1144" fmla="*/ 6124194 w 6251734"/>
              <a:gd name="connsiteY1144" fmla="*/ 2003388 h 5808721"/>
              <a:gd name="connsiteX1145" fmla="*/ 6082849 w 6251734"/>
              <a:gd name="connsiteY1145" fmla="*/ 1943392 h 5808721"/>
              <a:gd name="connsiteX1146" fmla="*/ 5527012 w 6251734"/>
              <a:gd name="connsiteY1146" fmla="*/ 1919637 h 5808721"/>
              <a:gd name="connsiteX1147" fmla="*/ 5481281 w 6251734"/>
              <a:gd name="connsiteY1147" fmla="*/ 1943393 h 5808721"/>
              <a:gd name="connsiteX1148" fmla="*/ 5440109 w 6251734"/>
              <a:gd name="connsiteY1148" fmla="*/ 2003388 h 5808721"/>
              <a:gd name="connsiteX1149" fmla="*/ 5481454 w 6251734"/>
              <a:gd name="connsiteY1149" fmla="*/ 2063765 h 5808721"/>
              <a:gd name="connsiteX1150" fmla="*/ 5527292 w 6251734"/>
              <a:gd name="connsiteY1150" fmla="*/ 2087474 h 5808721"/>
              <a:gd name="connsiteX1151" fmla="*/ 5532638 w 6251734"/>
              <a:gd name="connsiteY1151" fmla="*/ 2077462 h 5808721"/>
              <a:gd name="connsiteX1152" fmla="*/ 5571857 w 6251734"/>
              <a:gd name="connsiteY1152" fmla="*/ 2018645 h 5808721"/>
              <a:gd name="connsiteX1153" fmla="*/ 5583642 w 6251734"/>
              <a:gd name="connsiteY1153" fmla="*/ 2003818 h 5808721"/>
              <a:gd name="connsiteX1154" fmla="*/ 5571857 w 6251734"/>
              <a:gd name="connsiteY1154" fmla="*/ 1988990 h 5808721"/>
              <a:gd name="connsiteX1155" fmla="*/ 5532638 w 6251734"/>
              <a:gd name="connsiteY1155" fmla="*/ 1930175 h 5808721"/>
              <a:gd name="connsiteX1156" fmla="*/ 5923650 w 6251734"/>
              <a:gd name="connsiteY1156" fmla="*/ 1888999 h 5808721"/>
              <a:gd name="connsiteX1157" fmla="*/ 5927348 w 6251734"/>
              <a:gd name="connsiteY1157" fmla="*/ 1939009 h 5808721"/>
              <a:gd name="connsiteX1158" fmla="*/ 5944467 w 6251734"/>
              <a:gd name="connsiteY1158" fmla="*/ 1957460 h 5808721"/>
              <a:gd name="connsiteX1159" fmla="*/ 5964311 w 6251734"/>
              <a:gd name="connsiteY1159" fmla="*/ 1982460 h 5808721"/>
              <a:gd name="connsiteX1160" fmla="*/ 5991239 w 6251734"/>
              <a:gd name="connsiteY1160" fmla="*/ 1941959 h 5808721"/>
              <a:gd name="connsiteX1161" fmla="*/ 6008190 w 6251734"/>
              <a:gd name="connsiteY1161" fmla="*/ 1910091 h 5808721"/>
              <a:gd name="connsiteX1162" fmla="*/ 5973255 w 6251734"/>
              <a:gd name="connsiteY1162" fmla="*/ 1898937 h 5808721"/>
              <a:gd name="connsiteX1163" fmla="*/ 5640660 w 6251734"/>
              <a:gd name="connsiteY1163" fmla="*/ 1888926 h 5808721"/>
              <a:gd name="connsiteX1164" fmla="*/ 5590672 w 6251734"/>
              <a:gd name="connsiteY1164" fmla="*/ 1898937 h 5808721"/>
              <a:gd name="connsiteX1165" fmla="*/ 5555674 w 6251734"/>
              <a:gd name="connsiteY1165" fmla="*/ 1910123 h 5808721"/>
              <a:gd name="connsiteX1166" fmla="*/ 5573064 w 6251734"/>
              <a:gd name="connsiteY1166" fmla="*/ 1942817 h 5808721"/>
              <a:gd name="connsiteX1167" fmla="*/ 5599967 w 6251734"/>
              <a:gd name="connsiteY1167" fmla="*/ 1983279 h 5808721"/>
              <a:gd name="connsiteX1168" fmla="*/ 5619836 w 6251734"/>
              <a:gd name="connsiteY1168" fmla="*/ 1958282 h 5808721"/>
              <a:gd name="connsiteX1169" fmla="*/ 5636890 w 6251734"/>
              <a:gd name="connsiteY1169" fmla="*/ 1939913 h 5808721"/>
              <a:gd name="connsiteX1170" fmla="*/ 5874649 w 6251734"/>
              <a:gd name="connsiteY1170" fmla="*/ 1884276 h 5808721"/>
              <a:gd name="connsiteX1171" fmla="*/ 5888451 w 6251734"/>
              <a:gd name="connsiteY1171" fmla="*/ 1897089 h 5808721"/>
              <a:gd name="connsiteX1172" fmla="*/ 5901285 w 6251734"/>
              <a:gd name="connsiteY1172" fmla="*/ 1910921 h 5808721"/>
              <a:gd name="connsiteX1173" fmla="*/ 5899440 w 6251734"/>
              <a:gd name="connsiteY1173" fmla="*/ 1886125 h 5808721"/>
              <a:gd name="connsiteX1174" fmla="*/ 5691290 w 6251734"/>
              <a:gd name="connsiteY1174" fmla="*/ 1884137 h 5808721"/>
              <a:gd name="connsiteX1175" fmla="*/ 5664888 w 6251734"/>
              <a:gd name="connsiteY1175" fmla="*/ 1886102 h 5808721"/>
              <a:gd name="connsiteX1176" fmla="*/ 5662969 w 6251734"/>
              <a:gd name="connsiteY1176" fmla="*/ 1911824 h 5808721"/>
              <a:gd name="connsiteX1177" fmla="*/ 5675852 w 6251734"/>
              <a:gd name="connsiteY1177" fmla="*/ 1897947 h 5808721"/>
              <a:gd name="connsiteX1178" fmla="*/ 5782152 w 6251734"/>
              <a:gd name="connsiteY1178" fmla="*/ 1877374 h 5808721"/>
              <a:gd name="connsiteX1179" fmla="*/ 5729852 w 6251734"/>
              <a:gd name="connsiteY1179" fmla="*/ 1881266 h 5808721"/>
              <a:gd name="connsiteX1180" fmla="*/ 5692997 w 6251734"/>
              <a:gd name="connsiteY1180" fmla="*/ 1914234 h 5808721"/>
              <a:gd name="connsiteX1181" fmla="*/ 5659921 w 6251734"/>
              <a:gd name="connsiteY1181" fmla="*/ 1952671 h 5808721"/>
              <a:gd name="connsiteX1182" fmla="*/ 5656136 w 6251734"/>
              <a:gd name="connsiteY1182" fmla="*/ 2003388 h 5808721"/>
              <a:gd name="connsiteX1183" fmla="*/ 5659980 w 6251734"/>
              <a:gd name="connsiteY1183" fmla="*/ 2055033 h 5808721"/>
              <a:gd name="connsiteX1184" fmla="*/ 5692997 w 6251734"/>
              <a:gd name="connsiteY1184" fmla="*/ 2093401 h 5808721"/>
              <a:gd name="connsiteX1185" fmla="*/ 5730401 w 6251734"/>
              <a:gd name="connsiteY1185" fmla="*/ 2125589 h 5808721"/>
              <a:gd name="connsiteX1186" fmla="*/ 5782152 w 6251734"/>
              <a:gd name="connsiteY1186" fmla="*/ 2129404 h 5808721"/>
              <a:gd name="connsiteX1187" fmla="*/ 5832915 w 6251734"/>
              <a:gd name="connsiteY1187" fmla="*/ 2125626 h 5808721"/>
              <a:gd name="connsiteX1188" fmla="*/ 5871306 w 6251734"/>
              <a:gd name="connsiteY1188" fmla="*/ 2092543 h 5808721"/>
              <a:gd name="connsiteX1189" fmla="*/ 5904394 w 6251734"/>
              <a:gd name="connsiteY1189" fmla="*/ 2054095 h 5808721"/>
              <a:gd name="connsiteX1190" fmla="*/ 5908167 w 6251734"/>
              <a:gd name="connsiteY1190" fmla="*/ 2003388 h 5808721"/>
              <a:gd name="connsiteX1191" fmla="*/ 5904460 w 6251734"/>
              <a:gd name="connsiteY1191" fmla="*/ 1953572 h 5808721"/>
              <a:gd name="connsiteX1192" fmla="*/ 5871306 w 6251734"/>
              <a:gd name="connsiteY1192" fmla="*/ 1915093 h 5808721"/>
              <a:gd name="connsiteX1193" fmla="*/ 5831778 w 6251734"/>
              <a:gd name="connsiteY1193" fmla="*/ 1881078 h 5808721"/>
              <a:gd name="connsiteX1194" fmla="*/ 5781317 w 6251734"/>
              <a:gd name="connsiteY1194" fmla="*/ 1837652 h 5808721"/>
              <a:gd name="connsiteX1195" fmla="*/ 5768933 w 6251734"/>
              <a:gd name="connsiteY1195" fmla="*/ 1846306 h 5808721"/>
              <a:gd name="connsiteX1196" fmla="*/ 5759134 w 6251734"/>
              <a:gd name="connsiteY1196" fmla="*/ 1855072 h 5808721"/>
              <a:gd name="connsiteX1197" fmla="*/ 5782152 w 6251734"/>
              <a:gd name="connsiteY1197" fmla="*/ 1853370 h 5808721"/>
              <a:gd name="connsiteX1198" fmla="*/ 5801220 w 6251734"/>
              <a:gd name="connsiteY1198" fmla="*/ 1854779 h 5808721"/>
              <a:gd name="connsiteX1199" fmla="*/ 5875814 w 6251734"/>
              <a:gd name="connsiteY1199" fmla="*/ 1778152 h 5808721"/>
              <a:gd name="connsiteX1200" fmla="*/ 5843355 w 6251734"/>
              <a:gd name="connsiteY1200" fmla="*/ 1794301 h 5808721"/>
              <a:gd name="connsiteX1201" fmla="*/ 5803931 w 6251734"/>
              <a:gd name="connsiteY1201" fmla="*/ 1821851 h 5808721"/>
              <a:gd name="connsiteX1202" fmla="*/ 5828117 w 6251734"/>
              <a:gd name="connsiteY1202" fmla="*/ 1841074 h 5808721"/>
              <a:gd name="connsiteX1203" fmla="*/ 5846484 w 6251734"/>
              <a:gd name="connsiteY1203" fmla="*/ 1858127 h 5808721"/>
              <a:gd name="connsiteX1204" fmla="*/ 5896602 w 6251734"/>
              <a:gd name="connsiteY1204" fmla="*/ 1861833 h 5808721"/>
              <a:gd name="connsiteX1205" fmla="*/ 5886604 w 6251734"/>
              <a:gd name="connsiteY1205" fmla="*/ 1811909 h 5808721"/>
              <a:gd name="connsiteX1206" fmla="*/ 5688619 w 6251734"/>
              <a:gd name="connsiteY1206" fmla="*/ 1778083 h 5808721"/>
              <a:gd name="connsiteX1207" fmla="*/ 5677700 w 6251734"/>
              <a:gd name="connsiteY1207" fmla="*/ 1812285 h 5808721"/>
              <a:gd name="connsiteX1208" fmla="*/ 5667775 w 6251734"/>
              <a:gd name="connsiteY1208" fmla="*/ 1861826 h 5808721"/>
              <a:gd name="connsiteX1209" fmla="*/ 5720592 w 6251734"/>
              <a:gd name="connsiteY1209" fmla="*/ 1857921 h 5808721"/>
              <a:gd name="connsiteX1210" fmla="*/ 5760892 w 6251734"/>
              <a:gd name="connsiteY1210" fmla="*/ 1821868 h 5808721"/>
              <a:gd name="connsiteX1211" fmla="*/ 5720722 w 6251734"/>
              <a:gd name="connsiteY1211" fmla="*/ 1795160 h 5808721"/>
              <a:gd name="connsiteX1212" fmla="*/ 1448754 w 6251734"/>
              <a:gd name="connsiteY1212" fmla="*/ 1765931 h 5808721"/>
              <a:gd name="connsiteX1213" fmla="*/ 1666496 w 6251734"/>
              <a:gd name="connsiteY1213" fmla="*/ 1868802 h 5808721"/>
              <a:gd name="connsiteX1214" fmla="*/ 1884238 w 6251734"/>
              <a:gd name="connsiteY1214" fmla="*/ 1765931 h 5808721"/>
              <a:gd name="connsiteX1215" fmla="*/ 1884238 w 6251734"/>
              <a:gd name="connsiteY1215" fmla="*/ 2016249 h 5808721"/>
              <a:gd name="connsiteX1216" fmla="*/ 1672497 w 6251734"/>
              <a:gd name="connsiteY1216" fmla="*/ 2089973 h 5808721"/>
              <a:gd name="connsiteX1217" fmla="*/ 1666496 w 6251734"/>
              <a:gd name="connsiteY1217" fmla="*/ 2089973 h 5808721"/>
              <a:gd name="connsiteX1218" fmla="*/ 1660495 w 6251734"/>
              <a:gd name="connsiteY1218" fmla="*/ 2089973 h 5808721"/>
              <a:gd name="connsiteX1219" fmla="*/ 1448754 w 6251734"/>
              <a:gd name="connsiteY1219" fmla="*/ 2016249 h 5808721"/>
              <a:gd name="connsiteX1220" fmla="*/ 5593918 w 6251734"/>
              <a:gd name="connsiteY1220" fmla="*/ 1746924 h 5808721"/>
              <a:gd name="connsiteX1221" fmla="*/ 5540407 w 6251734"/>
              <a:gd name="connsiteY1221" fmla="*/ 1762502 h 5808721"/>
              <a:gd name="connsiteX1222" fmla="*/ 5531953 w 6251734"/>
              <a:gd name="connsiteY1222" fmla="*/ 1853413 h 5808721"/>
              <a:gd name="connsiteX1223" fmla="*/ 5543203 w 6251734"/>
              <a:gd name="connsiteY1223" fmla="*/ 1882935 h 5808721"/>
              <a:gd name="connsiteX1224" fmla="*/ 5623279 w 6251734"/>
              <a:gd name="connsiteY1224" fmla="*/ 1865117 h 5808721"/>
              <a:gd name="connsiteX1225" fmla="*/ 5642525 w 6251734"/>
              <a:gd name="connsiteY1225" fmla="*/ 1863694 h 5808721"/>
              <a:gd name="connsiteX1226" fmla="*/ 5643880 w 6251734"/>
              <a:gd name="connsiteY1226" fmla="*/ 1845375 h 5808721"/>
              <a:gd name="connsiteX1227" fmla="*/ 5661631 w 6251734"/>
              <a:gd name="connsiteY1227" fmla="*/ 1765599 h 5808721"/>
              <a:gd name="connsiteX1228" fmla="*/ 5631317 w 6251734"/>
              <a:gd name="connsiteY1228" fmla="*/ 1754048 h 5808721"/>
              <a:gd name="connsiteX1229" fmla="*/ 5593918 w 6251734"/>
              <a:gd name="connsiteY1229" fmla="*/ 1746924 h 5808721"/>
              <a:gd name="connsiteX1230" fmla="*/ 5970024 w 6251734"/>
              <a:gd name="connsiteY1230" fmla="*/ 1746066 h 5808721"/>
              <a:gd name="connsiteX1231" fmla="*/ 5911854 w 6251734"/>
              <a:gd name="connsiteY1231" fmla="*/ 1760221 h 5808721"/>
              <a:gd name="connsiteX1232" fmla="*/ 5902511 w 6251734"/>
              <a:gd name="connsiteY1232" fmla="*/ 1764870 h 5808721"/>
              <a:gd name="connsiteX1233" fmla="*/ 5920424 w 6251734"/>
              <a:gd name="connsiteY1233" fmla="*/ 1845375 h 5808721"/>
              <a:gd name="connsiteX1234" fmla="*/ 5921779 w 6251734"/>
              <a:gd name="connsiteY1234" fmla="*/ 1863694 h 5808721"/>
              <a:gd name="connsiteX1235" fmla="*/ 5941024 w 6251734"/>
              <a:gd name="connsiteY1235" fmla="*/ 1865117 h 5808721"/>
              <a:gd name="connsiteX1236" fmla="*/ 6020799 w 6251734"/>
              <a:gd name="connsiteY1236" fmla="*/ 1882868 h 5808721"/>
              <a:gd name="connsiteX1237" fmla="*/ 6032350 w 6251734"/>
              <a:gd name="connsiteY1237" fmla="*/ 1852555 h 5808721"/>
              <a:gd name="connsiteX1238" fmla="*/ 6023897 w 6251734"/>
              <a:gd name="connsiteY1238" fmla="*/ 1761646 h 5808721"/>
              <a:gd name="connsiteX1239" fmla="*/ 5970024 w 6251734"/>
              <a:gd name="connsiteY1239" fmla="*/ 1746066 h 5808721"/>
              <a:gd name="connsiteX1240" fmla="*/ 289975 w 6251734"/>
              <a:gd name="connsiteY1240" fmla="*/ 1703570 h 5808721"/>
              <a:gd name="connsiteX1241" fmla="*/ 249460 w 6251734"/>
              <a:gd name="connsiteY1241" fmla="*/ 1738503 h 5808721"/>
              <a:gd name="connsiteX1242" fmla="*/ 283964 w 6251734"/>
              <a:gd name="connsiteY1242" fmla="*/ 1707642 h 5808721"/>
              <a:gd name="connsiteX1243" fmla="*/ 4368605 w 6251734"/>
              <a:gd name="connsiteY1243" fmla="*/ 1696916 h 5808721"/>
              <a:gd name="connsiteX1244" fmla="*/ 4478277 w 6251734"/>
              <a:gd name="connsiteY1244" fmla="*/ 1734211 h 5808721"/>
              <a:gd name="connsiteX1245" fmla="*/ 4710592 w 6251734"/>
              <a:gd name="connsiteY1245" fmla="*/ 1734211 h 5808721"/>
              <a:gd name="connsiteX1246" fmla="*/ 4710592 w 6251734"/>
              <a:gd name="connsiteY1246" fmla="*/ 2074541 h 5808721"/>
              <a:gd name="connsiteX1247" fmla="*/ 4473133 w 6251734"/>
              <a:gd name="connsiteY1247" fmla="*/ 2076255 h 5808721"/>
              <a:gd name="connsiteX1248" fmla="*/ 4245961 w 6251734"/>
              <a:gd name="connsiteY1248" fmla="*/ 2072826 h 5808721"/>
              <a:gd name="connsiteX1249" fmla="*/ 4245961 w 6251734"/>
              <a:gd name="connsiteY1249" fmla="*/ 1734211 h 5808721"/>
              <a:gd name="connsiteX1250" fmla="*/ 4368605 w 6251734"/>
              <a:gd name="connsiteY1250" fmla="*/ 1696916 h 5808721"/>
              <a:gd name="connsiteX1251" fmla="*/ 5782152 w 6251734"/>
              <a:gd name="connsiteY1251" fmla="*/ 1661348 h 5808721"/>
              <a:gd name="connsiteX1252" fmla="*/ 5722156 w 6251734"/>
              <a:gd name="connsiteY1252" fmla="*/ 1702693 h 5808721"/>
              <a:gd name="connsiteX1253" fmla="*/ 5698519 w 6251734"/>
              <a:gd name="connsiteY1253" fmla="*/ 1748314 h 5808721"/>
              <a:gd name="connsiteX1254" fmla="*/ 5708935 w 6251734"/>
              <a:gd name="connsiteY1254" fmla="*/ 1753875 h 5808721"/>
              <a:gd name="connsiteX1255" fmla="*/ 5767753 w 6251734"/>
              <a:gd name="connsiteY1255" fmla="*/ 1793094 h 5808721"/>
              <a:gd name="connsiteX1256" fmla="*/ 5783057 w 6251734"/>
              <a:gd name="connsiteY1256" fmla="*/ 1805259 h 5808721"/>
              <a:gd name="connsiteX1257" fmla="*/ 5855594 w 6251734"/>
              <a:gd name="connsiteY1257" fmla="*/ 1754507 h 5808721"/>
              <a:gd name="connsiteX1258" fmla="*/ 5866361 w 6251734"/>
              <a:gd name="connsiteY1258" fmla="*/ 1749129 h 5808721"/>
              <a:gd name="connsiteX1259" fmla="*/ 5842148 w 6251734"/>
              <a:gd name="connsiteY1259" fmla="*/ 1702521 h 5808721"/>
              <a:gd name="connsiteX1260" fmla="*/ 5782152 w 6251734"/>
              <a:gd name="connsiteY1260" fmla="*/ 1661348 h 5808721"/>
              <a:gd name="connsiteX1261" fmla="*/ 592360 w 6251734"/>
              <a:gd name="connsiteY1261" fmla="*/ 1640776 h 5808721"/>
              <a:gd name="connsiteX1262" fmla="*/ 599890 w 6251734"/>
              <a:gd name="connsiteY1262" fmla="*/ 1643860 h 5808721"/>
              <a:gd name="connsiteX1263" fmla="*/ 615617 w 6251734"/>
              <a:gd name="connsiteY1263" fmla="*/ 1651278 h 5808721"/>
              <a:gd name="connsiteX1264" fmla="*/ 493776 w 6251734"/>
              <a:gd name="connsiteY1264" fmla="*/ 1630488 h 5808721"/>
              <a:gd name="connsiteX1265" fmla="*/ 498063 w 6251734"/>
              <a:gd name="connsiteY1265" fmla="*/ 1633917 h 5808721"/>
              <a:gd name="connsiteX1266" fmla="*/ 493776 w 6251734"/>
              <a:gd name="connsiteY1266" fmla="*/ 1640776 h 5808721"/>
              <a:gd name="connsiteX1267" fmla="*/ 497205 w 6251734"/>
              <a:gd name="connsiteY1267" fmla="*/ 1641634 h 5808721"/>
              <a:gd name="connsiteX1268" fmla="*/ 510921 w 6251734"/>
              <a:gd name="connsiteY1268" fmla="*/ 1651062 h 5808721"/>
              <a:gd name="connsiteX1269" fmla="*/ 492919 w 6251734"/>
              <a:gd name="connsiteY1269" fmla="*/ 1655350 h 5808721"/>
              <a:gd name="connsiteX1270" fmla="*/ 471488 w 6251734"/>
              <a:gd name="connsiteY1270" fmla="*/ 1649348 h 5808721"/>
              <a:gd name="connsiteX1271" fmla="*/ 451771 w 6251734"/>
              <a:gd name="connsiteY1271" fmla="*/ 1667351 h 5808721"/>
              <a:gd name="connsiteX1272" fmla="*/ 440627 w 6251734"/>
              <a:gd name="connsiteY1272" fmla="*/ 1683638 h 5808721"/>
              <a:gd name="connsiteX1273" fmla="*/ 450914 w 6251734"/>
              <a:gd name="connsiteY1273" fmla="*/ 1689640 h 5808721"/>
              <a:gd name="connsiteX1274" fmla="*/ 460344 w 6251734"/>
              <a:gd name="connsiteY1274" fmla="*/ 1690497 h 5808721"/>
              <a:gd name="connsiteX1275" fmla="*/ 484347 w 6251734"/>
              <a:gd name="connsiteY1275" fmla="*/ 1686210 h 5808721"/>
              <a:gd name="connsiteX1276" fmla="*/ 490347 w 6251734"/>
              <a:gd name="connsiteY1276" fmla="*/ 1700784 h 5808721"/>
              <a:gd name="connsiteX1277" fmla="*/ 512636 w 6251734"/>
              <a:gd name="connsiteY1277" fmla="*/ 1711927 h 5808721"/>
              <a:gd name="connsiteX1278" fmla="*/ 525495 w 6251734"/>
              <a:gd name="connsiteY1278" fmla="*/ 1726501 h 5808721"/>
              <a:gd name="connsiteX1279" fmla="*/ 510064 w 6251734"/>
              <a:gd name="connsiteY1279" fmla="*/ 1736787 h 5808721"/>
              <a:gd name="connsiteX1280" fmla="*/ 494634 w 6251734"/>
              <a:gd name="connsiteY1280" fmla="*/ 1747070 h 5808721"/>
              <a:gd name="connsiteX1281" fmla="*/ 500634 w 6251734"/>
              <a:gd name="connsiteY1281" fmla="*/ 1756500 h 5808721"/>
              <a:gd name="connsiteX1282" fmla="*/ 516922 w 6251734"/>
              <a:gd name="connsiteY1282" fmla="*/ 1753071 h 5808721"/>
              <a:gd name="connsiteX1283" fmla="*/ 523780 w 6251734"/>
              <a:gd name="connsiteY1283" fmla="*/ 1751357 h 5808721"/>
              <a:gd name="connsiteX1284" fmla="*/ 542640 w 6251734"/>
              <a:gd name="connsiteY1284" fmla="*/ 1747928 h 5808721"/>
              <a:gd name="connsiteX1285" fmla="*/ 545211 w 6251734"/>
              <a:gd name="connsiteY1285" fmla="*/ 1745356 h 5808721"/>
              <a:gd name="connsiteX1286" fmla="*/ 555498 w 6251734"/>
              <a:gd name="connsiteY1286" fmla="*/ 1741075 h 5808721"/>
              <a:gd name="connsiteX1287" fmla="*/ 588931 w 6251734"/>
              <a:gd name="connsiteY1287" fmla="*/ 1744499 h 5808721"/>
              <a:gd name="connsiteX1288" fmla="*/ 600933 w 6251734"/>
              <a:gd name="connsiteY1288" fmla="*/ 1755643 h 5808721"/>
              <a:gd name="connsiteX1289" fmla="*/ 605219 w 6251734"/>
              <a:gd name="connsiteY1289" fmla="*/ 1752214 h 5808721"/>
              <a:gd name="connsiteX1290" fmla="*/ 609505 w 6251734"/>
              <a:gd name="connsiteY1290" fmla="*/ 1735930 h 5808721"/>
              <a:gd name="connsiteX1291" fmla="*/ 619792 w 6251734"/>
              <a:gd name="connsiteY1291" fmla="*/ 1739360 h 5808721"/>
              <a:gd name="connsiteX1292" fmla="*/ 643795 w 6251734"/>
              <a:gd name="connsiteY1292" fmla="*/ 1724786 h 5808721"/>
              <a:gd name="connsiteX1293" fmla="*/ 656654 w 6251734"/>
              <a:gd name="connsiteY1293" fmla="*/ 1733358 h 5808721"/>
              <a:gd name="connsiteX1294" fmla="*/ 651510 w 6251734"/>
              <a:gd name="connsiteY1294" fmla="*/ 1747928 h 5808721"/>
              <a:gd name="connsiteX1295" fmla="*/ 639509 w 6251734"/>
              <a:gd name="connsiteY1295" fmla="*/ 1742789 h 5808721"/>
              <a:gd name="connsiteX1296" fmla="*/ 623221 w 6251734"/>
              <a:gd name="connsiteY1296" fmla="*/ 1756500 h 5808721"/>
              <a:gd name="connsiteX1297" fmla="*/ 625793 w 6251734"/>
              <a:gd name="connsiteY1297" fmla="*/ 1763359 h 5808721"/>
              <a:gd name="connsiteX1298" fmla="*/ 642081 w 6251734"/>
              <a:gd name="connsiteY1298" fmla="*/ 1763359 h 5808721"/>
              <a:gd name="connsiteX1299" fmla="*/ 656654 w 6251734"/>
              <a:gd name="connsiteY1299" fmla="*/ 1767644 h 5808721"/>
              <a:gd name="connsiteX1300" fmla="*/ 658369 w 6251734"/>
              <a:gd name="connsiteY1300" fmla="*/ 1773647 h 5808721"/>
              <a:gd name="connsiteX1301" fmla="*/ 672085 w 6251734"/>
              <a:gd name="connsiteY1301" fmla="*/ 1778790 h 5808721"/>
              <a:gd name="connsiteX1302" fmla="*/ 672085 w 6251734"/>
              <a:gd name="connsiteY1302" fmla="*/ 1788218 h 5808721"/>
              <a:gd name="connsiteX1303" fmla="*/ 666085 w 6251734"/>
              <a:gd name="connsiteY1303" fmla="*/ 1786504 h 5808721"/>
              <a:gd name="connsiteX1304" fmla="*/ 654082 w 6251734"/>
              <a:gd name="connsiteY1304" fmla="*/ 1789076 h 5808721"/>
              <a:gd name="connsiteX1305" fmla="*/ 642081 w 6251734"/>
              <a:gd name="connsiteY1305" fmla="*/ 1791647 h 5808721"/>
              <a:gd name="connsiteX1306" fmla="*/ 618935 w 6251734"/>
              <a:gd name="connsiteY1306" fmla="*/ 1788218 h 5808721"/>
              <a:gd name="connsiteX1307" fmla="*/ 608648 w 6251734"/>
              <a:gd name="connsiteY1307" fmla="*/ 1798505 h 5808721"/>
              <a:gd name="connsiteX1308" fmla="*/ 601790 w 6251734"/>
              <a:gd name="connsiteY1308" fmla="*/ 1798505 h 5808721"/>
              <a:gd name="connsiteX1309" fmla="*/ 588074 w 6251734"/>
              <a:gd name="connsiteY1309" fmla="*/ 1793363 h 5808721"/>
              <a:gd name="connsiteX1310" fmla="*/ 576072 w 6251734"/>
              <a:gd name="connsiteY1310" fmla="*/ 1789076 h 5808721"/>
              <a:gd name="connsiteX1311" fmla="*/ 566643 w 6251734"/>
              <a:gd name="connsiteY1311" fmla="*/ 1788218 h 5808721"/>
              <a:gd name="connsiteX1312" fmla="*/ 562356 w 6251734"/>
              <a:gd name="connsiteY1312" fmla="*/ 1770216 h 5808721"/>
              <a:gd name="connsiteX1313" fmla="*/ 557213 w 6251734"/>
              <a:gd name="connsiteY1313" fmla="*/ 1769359 h 5808721"/>
              <a:gd name="connsiteX1314" fmla="*/ 550355 w 6251734"/>
              <a:gd name="connsiteY1314" fmla="*/ 1767644 h 5808721"/>
              <a:gd name="connsiteX1315" fmla="*/ 537496 w 6251734"/>
              <a:gd name="connsiteY1315" fmla="*/ 1770216 h 5808721"/>
              <a:gd name="connsiteX1316" fmla="*/ 528924 w 6251734"/>
              <a:gd name="connsiteY1316" fmla="*/ 1771073 h 5808721"/>
              <a:gd name="connsiteX1317" fmla="*/ 516065 w 6251734"/>
              <a:gd name="connsiteY1317" fmla="*/ 1773647 h 5808721"/>
              <a:gd name="connsiteX1318" fmla="*/ 507492 w 6251734"/>
              <a:gd name="connsiteY1318" fmla="*/ 1774503 h 5808721"/>
              <a:gd name="connsiteX1319" fmla="*/ 493776 w 6251734"/>
              <a:gd name="connsiteY1319" fmla="*/ 1786504 h 5808721"/>
              <a:gd name="connsiteX1320" fmla="*/ 474060 w 6251734"/>
              <a:gd name="connsiteY1320" fmla="*/ 1793363 h 5808721"/>
              <a:gd name="connsiteX1321" fmla="*/ 466344 w 6251734"/>
              <a:gd name="connsiteY1321" fmla="*/ 1797648 h 5808721"/>
              <a:gd name="connsiteX1322" fmla="*/ 458629 w 6251734"/>
              <a:gd name="connsiteY1322" fmla="*/ 1810508 h 5808721"/>
              <a:gd name="connsiteX1323" fmla="*/ 438912 w 6251734"/>
              <a:gd name="connsiteY1323" fmla="*/ 1831938 h 5808721"/>
              <a:gd name="connsiteX1324" fmla="*/ 441484 w 6251734"/>
              <a:gd name="connsiteY1324" fmla="*/ 1860230 h 5808721"/>
              <a:gd name="connsiteX1325" fmla="*/ 436341 w 6251734"/>
              <a:gd name="connsiteY1325" fmla="*/ 1874802 h 5808721"/>
              <a:gd name="connsiteX1326" fmla="*/ 431197 w 6251734"/>
              <a:gd name="connsiteY1326" fmla="*/ 1886803 h 5808721"/>
              <a:gd name="connsiteX1327" fmla="*/ 439770 w 6251734"/>
              <a:gd name="connsiteY1327" fmla="*/ 1896233 h 5808721"/>
              <a:gd name="connsiteX1328" fmla="*/ 444913 w 6251734"/>
              <a:gd name="connsiteY1328" fmla="*/ 1902233 h 5808721"/>
              <a:gd name="connsiteX1329" fmla="*/ 447485 w 6251734"/>
              <a:gd name="connsiteY1329" fmla="*/ 1914235 h 5808721"/>
              <a:gd name="connsiteX1330" fmla="*/ 456915 w 6251734"/>
              <a:gd name="connsiteY1330" fmla="*/ 1921951 h 5808721"/>
              <a:gd name="connsiteX1331" fmla="*/ 463773 w 6251734"/>
              <a:gd name="connsiteY1331" fmla="*/ 1933095 h 5808721"/>
              <a:gd name="connsiteX1332" fmla="*/ 474917 w 6251734"/>
              <a:gd name="connsiteY1332" fmla="*/ 1939095 h 5808721"/>
              <a:gd name="connsiteX1333" fmla="*/ 502349 w 6251734"/>
              <a:gd name="connsiteY1333" fmla="*/ 1939953 h 5808721"/>
              <a:gd name="connsiteX1334" fmla="*/ 521208 w 6251734"/>
              <a:gd name="connsiteY1334" fmla="*/ 1937380 h 5808721"/>
              <a:gd name="connsiteX1335" fmla="*/ 540925 w 6251734"/>
              <a:gd name="connsiteY1335" fmla="*/ 1931380 h 5808721"/>
              <a:gd name="connsiteX1336" fmla="*/ 552069 w 6251734"/>
              <a:gd name="connsiteY1336" fmla="*/ 1930522 h 5808721"/>
              <a:gd name="connsiteX1337" fmla="*/ 559785 w 6251734"/>
              <a:gd name="connsiteY1337" fmla="*/ 1941666 h 5808721"/>
              <a:gd name="connsiteX1338" fmla="*/ 570929 w 6251734"/>
              <a:gd name="connsiteY1338" fmla="*/ 1939095 h 5808721"/>
              <a:gd name="connsiteX1339" fmla="*/ 587217 w 6251734"/>
              <a:gd name="connsiteY1339" fmla="*/ 1945953 h 5808721"/>
              <a:gd name="connsiteX1340" fmla="*/ 583788 w 6251734"/>
              <a:gd name="connsiteY1340" fmla="*/ 1962240 h 5808721"/>
              <a:gd name="connsiteX1341" fmla="*/ 583788 w 6251734"/>
              <a:gd name="connsiteY1341" fmla="*/ 1968242 h 5808721"/>
              <a:gd name="connsiteX1342" fmla="*/ 585502 w 6251734"/>
              <a:gd name="connsiteY1342" fmla="*/ 1990529 h 5808721"/>
              <a:gd name="connsiteX1343" fmla="*/ 593217 w 6251734"/>
              <a:gd name="connsiteY1343" fmla="*/ 2001674 h 5808721"/>
              <a:gd name="connsiteX1344" fmla="*/ 598361 w 6251734"/>
              <a:gd name="connsiteY1344" fmla="*/ 2009389 h 5808721"/>
              <a:gd name="connsiteX1345" fmla="*/ 606933 w 6251734"/>
              <a:gd name="connsiteY1345" fmla="*/ 2021391 h 5808721"/>
              <a:gd name="connsiteX1346" fmla="*/ 609505 w 6251734"/>
              <a:gd name="connsiteY1346" fmla="*/ 2033392 h 5808721"/>
              <a:gd name="connsiteX1347" fmla="*/ 598361 w 6251734"/>
              <a:gd name="connsiteY1347" fmla="*/ 2045393 h 5808721"/>
              <a:gd name="connsiteX1348" fmla="*/ 593217 w 6251734"/>
              <a:gd name="connsiteY1348" fmla="*/ 2061682 h 5808721"/>
              <a:gd name="connsiteX1349" fmla="*/ 588931 w 6251734"/>
              <a:gd name="connsiteY1349" fmla="*/ 2071968 h 5808721"/>
              <a:gd name="connsiteX1350" fmla="*/ 595789 w 6251734"/>
              <a:gd name="connsiteY1350" fmla="*/ 2082255 h 5808721"/>
              <a:gd name="connsiteX1351" fmla="*/ 606076 w 6251734"/>
              <a:gd name="connsiteY1351" fmla="*/ 2095114 h 5808721"/>
              <a:gd name="connsiteX1352" fmla="*/ 608648 w 6251734"/>
              <a:gd name="connsiteY1352" fmla="*/ 2107115 h 5808721"/>
              <a:gd name="connsiteX1353" fmla="*/ 608648 w 6251734"/>
              <a:gd name="connsiteY1353" fmla="*/ 2116545 h 5808721"/>
              <a:gd name="connsiteX1354" fmla="*/ 613791 w 6251734"/>
              <a:gd name="connsiteY1354" fmla="*/ 2128547 h 5808721"/>
              <a:gd name="connsiteX1355" fmla="*/ 620649 w 6251734"/>
              <a:gd name="connsiteY1355" fmla="*/ 2144834 h 5808721"/>
              <a:gd name="connsiteX1356" fmla="*/ 624936 w 6251734"/>
              <a:gd name="connsiteY1356" fmla="*/ 2144834 h 5808721"/>
              <a:gd name="connsiteX1357" fmla="*/ 642938 w 6251734"/>
              <a:gd name="connsiteY1357" fmla="*/ 2137119 h 5808721"/>
              <a:gd name="connsiteX1358" fmla="*/ 665227 w 6251734"/>
              <a:gd name="connsiteY1358" fmla="*/ 2127690 h 5808721"/>
              <a:gd name="connsiteX1359" fmla="*/ 668656 w 6251734"/>
              <a:gd name="connsiteY1359" fmla="*/ 2118260 h 5808721"/>
              <a:gd name="connsiteX1360" fmla="*/ 683230 w 6251734"/>
              <a:gd name="connsiteY1360" fmla="*/ 2106258 h 5808721"/>
              <a:gd name="connsiteX1361" fmla="*/ 695231 w 6251734"/>
              <a:gd name="connsiteY1361" fmla="*/ 2088256 h 5808721"/>
              <a:gd name="connsiteX1362" fmla="*/ 695231 w 6251734"/>
              <a:gd name="connsiteY1362" fmla="*/ 2076254 h 5808721"/>
              <a:gd name="connsiteX1363" fmla="*/ 706375 w 6251734"/>
              <a:gd name="connsiteY1363" fmla="*/ 2072825 h 5808721"/>
              <a:gd name="connsiteX1364" fmla="*/ 710662 w 6251734"/>
              <a:gd name="connsiteY1364" fmla="*/ 2065110 h 5808721"/>
              <a:gd name="connsiteX1365" fmla="*/ 724378 w 6251734"/>
              <a:gd name="connsiteY1365" fmla="*/ 2052252 h 5808721"/>
              <a:gd name="connsiteX1366" fmla="*/ 719234 w 6251734"/>
              <a:gd name="connsiteY1366" fmla="*/ 2040250 h 5808721"/>
              <a:gd name="connsiteX1367" fmla="*/ 729521 w 6251734"/>
              <a:gd name="connsiteY1367" fmla="*/ 2028248 h 5808721"/>
              <a:gd name="connsiteX1368" fmla="*/ 728664 w 6251734"/>
              <a:gd name="connsiteY1368" fmla="*/ 2006817 h 5808721"/>
              <a:gd name="connsiteX1369" fmla="*/ 728664 w 6251734"/>
              <a:gd name="connsiteY1369" fmla="*/ 1992244 h 5808721"/>
              <a:gd name="connsiteX1370" fmla="*/ 735522 w 6251734"/>
              <a:gd name="connsiteY1370" fmla="*/ 1983671 h 5808721"/>
              <a:gd name="connsiteX1371" fmla="*/ 738951 w 6251734"/>
              <a:gd name="connsiteY1371" fmla="*/ 1966526 h 5808721"/>
              <a:gd name="connsiteX1372" fmla="*/ 750095 w 6251734"/>
              <a:gd name="connsiteY1372" fmla="*/ 1954526 h 5808721"/>
              <a:gd name="connsiteX1373" fmla="*/ 753524 w 6251734"/>
              <a:gd name="connsiteY1373" fmla="*/ 1931380 h 5808721"/>
              <a:gd name="connsiteX1374" fmla="*/ 760382 w 6251734"/>
              <a:gd name="connsiteY1374" fmla="*/ 1918520 h 5808721"/>
              <a:gd name="connsiteX1375" fmla="*/ 762954 w 6251734"/>
              <a:gd name="connsiteY1375" fmla="*/ 1903090 h 5808721"/>
              <a:gd name="connsiteX1376" fmla="*/ 756096 w 6251734"/>
              <a:gd name="connsiteY1376" fmla="*/ 1895375 h 5808721"/>
              <a:gd name="connsiteX1377" fmla="*/ 744094 w 6251734"/>
              <a:gd name="connsiteY1377" fmla="*/ 1897947 h 5808721"/>
              <a:gd name="connsiteX1378" fmla="*/ 737236 w 6251734"/>
              <a:gd name="connsiteY1378" fmla="*/ 1899662 h 5808721"/>
              <a:gd name="connsiteX1379" fmla="*/ 727807 w 6251734"/>
              <a:gd name="connsiteY1379" fmla="*/ 1896233 h 5808721"/>
              <a:gd name="connsiteX1380" fmla="*/ 727807 w 6251734"/>
              <a:gd name="connsiteY1380" fmla="*/ 1885088 h 5808721"/>
              <a:gd name="connsiteX1381" fmla="*/ 716662 w 6251734"/>
              <a:gd name="connsiteY1381" fmla="*/ 1880803 h 5808721"/>
              <a:gd name="connsiteX1382" fmla="*/ 710662 w 6251734"/>
              <a:gd name="connsiteY1382" fmla="*/ 1867944 h 5808721"/>
              <a:gd name="connsiteX1383" fmla="*/ 704661 w 6251734"/>
              <a:gd name="connsiteY1383" fmla="*/ 1855941 h 5808721"/>
              <a:gd name="connsiteX1384" fmla="*/ 695231 w 6251734"/>
              <a:gd name="connsiteY1384" fmla="*/ 1851655 h 5808721"/>
              <a:gd name="connsiteX1385" fmla="*/ 691802 w 6251734"/>
              <a:gd name="connsiteY1385" fmla="*/ 1834510 h 5808721"/>
              <a:gd name="connsiteX1386" fmla="*/ 701232 w 6251734"/>
              <a:gd name="connsiteY1386" fmla="*/ 1831082 h 5808721"/>
              <a:gd name="connsiteX1387" fmla="*/ 707233 w 6251734"/>
              <a:gd name="connsiteY1387" fmla="*/ 1836225 h 5808721"/>
              <a:gd name="connsiteX1388" fmla="*/ 713233 w 6251734"/>
              <a:gd name="connsiteY1388" fmla="*/ 1846511 h 5808721"/>
              <a:gd name="connsiteX1389" fmla="*/ 715805 w 6251734"/>
              <a:gd name="connsiteY1389" fmla="*/ 1859371 h 5808721"/>
              <a:gd name="connsiteX1390" fmla="*/ 730378 w 6251734"/>
              <a:gd name="connsiteY1390" fmla="*/ 1868802 h 5808721"/>
              <a:gd name="connsiteX1391" fmla="*/ 738951 w 6251734"/>
              <a:gd name="connsiteY1391" fmla="*/ 1879945 h 5808721"/>
              <a:gd name="connsiteX1392" fmla="*/ 759525 w 6251734"/>
              <a:gd name="connsiteY1392" fmla="*/ 1875660 h 5808721"/>
              <a:gd name="connsiteX1393" fmla="*/ 763811 w 6251734"/>
              <a:gd name="connsiteY1393" fmla="*/ 1864514 h 5808721"/>
              <a:gd name="connsiteX1394" fmla="*/ 767240 w 6251734"/>
              <a:gd name="connsiteY1394" fmla="*/ 1852513 h 5808721"/>
              <a:gd name="connsiteX1395" fmla="*/ 762954 w 6251734"/>
              <a:gd name="connsiteY1395" fmla="*/ 1837940 h 5808721"/>
              <a:gd name="connsiteX1396" fmla="*/ 762954 w 6251734"/>
              <a:gd name="connsiteY1396" fmla="*/ 1825938 h 5808721"/>
              <a:gd name="connsiteX1397" fmla="*/ 758668 w 6251734"/>
              <a:gd name="connsiteY1397" fmla="*/ 1815651 h 5808721"/>
              <a:gd name="connsiteX1398" fmla="*/ 762097 w 6251734"/>
              <a:gd name="connsiteY1398" fmla="*/ 1816508 h 5808721"/>
              <a:gd name="connsiteX1399" fmla="*/ 774098 w 6251734"/>
              <a:gd name="connsiteY1399" fmla="*/ 1820794 h 5808721"/>
              <a:gd name="connsiteX1400" fmla="*/ 782671 w 6251734"/>
              <a:gd name="connsiteY1400" fmla="*/ 1837084 h 5808721"/>
              <a:gd name="connsiteX1401" fmla="*/ 790386 w 6251734"/>
              <a:gd name="connsiteY1401" fmla="*/ 1844797 h 5808721"/>
              <a:gd name="connsiteX1402" fmla="*/ 796387 w 6251734"/>
              <a:gd name="connsiteY1402" fmla="*/ 1851655 h 5808721"/>
              <a:gd name="connsiteX1403" fmla="*/ 800673 w 6251734"/>
              <a:gd name="connsiteY1403" fmla="*/ 1863658 h 5808721"/>
              <a:gd name="connsiteX1404" fmla="*/ 809245 w 6251734"/>
              <a:gd name="connsiteY1404" fmla="*/ 1873945 h 5808721"/>
              <a:gd name="connsiteX1405" fmla="*/ 810960 w 6251734"/>
              <a:gd name="connsiteY1405" fmla="*/ 1870514 h 5808721"/>
              <a:gd name="connsiteX1406" fmla="*/ 620127 w 6251734"/>
              <a:gd name="connsiteY1406" fmla="*/ 1653407 h 5808721"/>
              <a:gd name="connsiteX1407" fmla="*/ 615617 w 6251734"/>
              <a:gd name="connsiteY1407" fmla="*/ 1651278 h 5808721"/>
              <a:gd name="connsiteX1408" fmla="*/ 671583 w 6251734"/>
              <a:gd name="connsiteY1408" fmla="*/ 1676556 h 5808721"/>
              <a:gd name="connsiteX1409" fmla="*/ 792958 w 6251734"/>
              <a:gd name="connsiteY1409" fmla="*/ 2119974 h 5808721"/>
              <a:gd name="connsiteX1410" fmla="*/ 511779 w 6251734"/>
              <a:gd name="connsiteY1410" fmla="*/ 2287139 h 5808721"/>
              <a:gd name="connsiteX1411" fmla="*/ 630079 w 6251734"/>
              <a:gd name="connsiteY1411" fmla="*/ 2251133 h 5808721"/>
              <a:gd name="connsiteX1412" fmla="*/ 613791 w 6251734"/>
              <a:gd name="connsiteY1412" fmla="*/ 2251993 h 5808721"/>
              <a:gd name="connsiteX1413" fmla="*/ 597504 w 6251734"/>
              <a:gd name="connsiteY1413" fmla="*/ 2245133 h 5808721"/>
              <a:gd name="connsiteX1414" fmla="*/ 588074 w 6251734"/>
              <a:gd name="connsiteY1414" fmla="*/ 2243418 h 5808721"/>
              <a:gd name="connsiteX1415" fmla="*/ 572643 w 6251734"/>
              <a:gd name="connsiteY1415" fmla="*/ 2245990 h 5808721"/>
              <a:gd name="connsiteX1416" fmla="*/ 560642 w 6251734"/>
              <a:gd name="connsiteY1416" fmla="*/ 2251993 h 5808721"/>
              <a:gd name="connsiteX1417" fmla="*/ 550355 w 6251734"/>
              <a:gd name="connsiteY1417" fmla="*/ 2251133 h 5808721"/>
              <a:gd name="connsiteX1418" fmla="*/ 537496 w 6251734"/>
              <a:gd name="connsiteY1418" fmla="*/ 2251993 h 5808721"/>
              <a:gd name="connsiteX1419" fmla="*/ 541782 w 6251734"/>
              <a:gd name="connsiteY1419" fmla="*/ 2241705 h 5808721"/>
              <a:gd name="connsiteX1420" fmla="*/ 530638 w 6251734"/>
              <a:gd name="connsiteY1420" fmla="*/ 2239989 h 5808721"/>
              <a:gd name="connsiteX1421" fmla="*/ 523780 w 6251734"/>
              <a:gd name="connsiteY1421" fmla="*/ 2248563 h 5808721"/>
              <a:gd name="connsiteX1422" fmla="*/ 517779 w 6251734"/>
              <a:gd name="connsiteY1422" fmla="*/ 2259708 h 5808721"/>
              <a:gd name="connsiteX1423" fmla="*/ 496348 w 6251734"/>
              <a:gd name="connsiteY1423" fmla="*/ 2255421 h 5808721"/>
              <a:gd name="connsiteX1424" fmla="*/ 484347 w 6251734"/>
              <a:gd name="connsiteY1424" fmla="*/ 2252849 h 5808721"/>
              <a:gd name="connsiteX1425" fmla="*/ 485204 w 6251734"/>
              <a:gd name="connsiteY1425" fmla="*/ 2248563 h 5808721"/>
              <a:gd name="connsiteX1426" fmla="*/ 497205 w 6251734"/>
              <a:gd name="connsiteY1426" fmla="*/ 2239989 h 5808721"/>
              <a:gd name="connsiteX1427" fmla="*/ 509207 w 6251734"/>
              <a:gd name="connsiteY1427" fmla="*/ 2233132 h 5808721"/>
              <a:gd name="connsiteX1428" fmla="*/ 503206 w 6251734"/>
              <a:gd name="connsiteY1428" fmla="*/ 2226275 h 5808721"/>
              <a:gd name="connsiteX1429" fmla="*/ 497205 w 6251734"/>
              <a:gd name="connsiteY1429" fmla="*/ 2231417 h 5808721"/>
              <a:gd name="connsiteX1430" fmla="*/ 472345 w 6251734"/>
              <a:gd name="connsiteY1430" fmla="*/ 2232275 h 5808721"/>
              <a:gd name="connsiteX1431" fmla="*/ 451771 w 6251734"/>
              <a:gd name="connsiteY1431" fmla="*/ 2233989 h 5808721"/>
              <a:gd name="connsiteX1432" fmla="*/ 448342 w 6251734"/>
              <a:gd name="connsiteY1432" fmla="*/ 2227131 h 5808721"/>
              <a:gd name="connsiteX1433" fmla="*/ 433769 w 6251734"/>
              <a:gd name="connsiteY1433" fmla="*/ 2233989 h 5808721"/>
              <a:gd name="connsiteX1434" fmla="*/ 413195 w 6251734"/>
              <a:gd name="connsiteY1434" fmla="*/ 2237419 h 5808721"/>
              <a:gd name="connsiteX1435" fmla="*/ 402908 w 6251734"/>
              <a:gd name="connsiteY1435" fmla="*/ 2239132 h 5808721"/>
              <a:gd name="connsiteX1436" fmla="*/ 402051 w 6251734"/>
              <a:gd name="connsiteY1436" fmla="*/ 2233132 h 5808721"/>
              <a:gd name="connsiteX1437" fmla="*/ 391764 w 6251734"/>
              <a:gd name="connsiteY1437" fmla="*/ 2241705 h 5808721"/>
              <a:gd name="connsiteX1438" fmla="*/ 379762 w 6251734"/>
              <a:gd name="connsiteY1438" fmla="*/ 2243418 h 5808721"/>
              <a:gd name="connsiteX1439" fmla="*/ 378048 w 6251734"/>
              <a:gd name="connsiteY1439" fmla="*/ 2257136 h 5808721"/>
              <a:gd name="connsiteX1440" fmla="*/ 393304 w 6251734"/>
              <a:gd name="connsiteY1440" fmla="*/ 2268105 h 5808721"/>
              <a:gd name="connsiteX1441" fmla="*/ 409649 w 6251734"/>
              <a:gd name="connsiteY1441" fmla="*/ 2273959 h 5808721"/>
              <a:gd name="connsiteX1442" fmla="*/ 353398 w 6251734"/>
              <a:gd name="connsiteY1442" fmla="*/ 2258117 h 5808721"/>
              <a:gd name="connsiteX1443" fmla="*/ 167164 w 6251734"/>
              <a:gd name="connsiteY1443" fmla="*/ 1913378 h 5808721"/>
              <a:gd name="connsiteX1444" fmla="*/ 170593 w 6251734"/>
              <a:gd name="connsiteY1444" fmla="*/ 1910806 h 5808721"/>
              <a:gd name="connsiteX1445" fmla="*/ 173165 w 6251734"/>
              <a:gd name="connsiteY1445" fmla="*/ 1921951 h 5808721"/>
              <a:gd name="connsiteX1446" fmla="*/ 179166 w 6251734"/>
              <a:gd name="connsiteY1446" fmla="*/ 1930522 h 5808721"/>
              <a:gd name="connsiteX1447" fmla="*/ 186024 w 6251734"/>
              <a:gd name="connsiteY1447" fmla="*/ 1939953 h 5808721"/>
              <a:gd name="connsiteX1448" fmla="*/ 181737 w 6251734"/>
              <a:gd name="connsiteY1448" fmla="*/ 1954526 h 5808721"/>
              <a:gd name="connsiteX1449" fmla="*/ 190310 w 6251734"/>
              <a:gd name="connsiteY1449" fmla="*/ 1978528 h 5808721"/>
              <a:gd name="connsiteX1450" fmla="*/ 189453 w 6251734"/>
              <a:gd name="connsiteY1450" fmla="*/ 2007674 h 5808721"/>
              <a:gd name="connsiteX1451" fmla="*/ 208312 w 6251734"/>
              <a:gd name="connsiteY1451" fmla="*/ 2052252 h 5808721"/>
              <a:gd name="connsiteX1452" fmla="*/ 215170 w 6251734"/>
              <a:gd name="connsiteY1452" fmla="*/ 2066825 h 5808721"/>
              <a:gd name="connsiteX1453" fmla="*/ 227172 w 6251734"/>
              <a:gd name="connsiteY1453" fmla="*/ 2076254 h 5808721"/>
              <a:gd name="connsiteX1454" fmla="*/ 233172 w 6251734"/>
              <a:gd name="connsiteY1454" fmla="*/ 2101972 h 5808721"/>
              <a:gd name="connsiteX1455" fmla="*/ 240888 w 6251734"/>
              <a:gd name="connsiteY1455" fmla="*/ 2124260 h 5808721"/>
              <a:gd name="connsiteX1456" fmla="*/ 250317 w 6251734"/>
              <a:gd name="connsiteY1456" fmla="*/ 2136262 h 5808721"/>
              <a:gd name="connsiteX1457" fmla="*/ 257175 w 6251734"/>
              <a:gd name="connsiteY1457" fmla="*/ 2149122 h 5808721"/>
              <a:gd name="connsiteX1458" fmla="*/ 264891 w 6251734"/>
              <a:gd name="connsiteY1458" fmla="*/ 2161123 h 5808721"/>
              <a:gd name="connsiteX1459" fmla="*/ 279464 w 6251734"/>
              <a:gd name="connsiteY1459" fmla="*/ 2189412 h 5808721"/>
              <a:gd name="connsiteX1460" fmla="*/ 286322 w 6251734"/>
              <a:gd name="connsiteY1460" fmla="*/ 2199699 h 5808721"/>
              <a:gd name="connsiteX1461" fmla="*/ 306039 w 6251734"/>
              <a:gd name="connsiteY1461" fmla="*/ 2211701 h 5808721"/>
              <a:gd name="connsiteX1462" fmla="*/ 318897 w 6251734"/>
              <a:gd name="connsiteY1462" fmla="*/ 2221987 h 5808721"/>
              <a:gd name="connsiteX1463" fmla="*/ 320612 w 6251734"/>
              <a:gd name="connsiteY1463" fmla="*/ 2215986 h 5808721"/>
              <a:gd name="connsiteX1464" fmla="*/ 312897 w 6251734"/>
              <a:gd name="connsiteY1464" fmla="*/ 2207414 h 5808721"/>
              <a:gd name="connsiteX1465" fmla="*/ 304324 w 6251734"/>
              <a:gd name="connsiteY1465" fmla="*/ 2196269 h 5808721"/>
              <a:gd name="connsiteX1466" fmla="*/ 300038 w 6251734"/>
              <a:gd name="connsiteY1466" fmla="*/ 2186840 h 5808721"/>
              <a:gd name="connsiteX1467" fmla="*/ 290608 w 6251734"/>
              <a:gd name="connsiteY1467" fmla="*/ 2173981 h 5808721"/>
              <a:gd name="connsiteX1468" fmla="*/ 294894 w 6251734"/>
              <a:gd name="connsiteY1468" fmla="*/ 2166267 h 5808721"/>
              <a:gd name="connsiteX1469" fmla="*/ 298323 w 6251734"/>
              <a:gd name="connsiteY1469" fmla="*/ 2161123 h 5808721"/>
              <a:gd name="connsiteX1470" fmla="*/ 294894 w 6251734"/>
              <a:gd name="connsiteY1470" fmla="*/ 2148263 h 5808721"/>
              <a:gd name="connsiteX1471" fmla="*/ 303467 w 6251734"/>
              <a:gd name="connsiteY1471" fmla="*/ 2119974 h 5808721"/>
              <a:gd name="connsiteX1472" fmla="*/ 303467 w 6251734"/>
              <a:gd name="connsiteY1472" fmla="*/ 2104544 h 5808721"/>
              <a:gd name="connsiteX1473" fmla="*/ 312897 w 6251734"/>
              <a:gd name="connsiteY1473" fmla="*/ 2097686 h 5808721"/>
              <a:gd name="connsiteX1474" fmla="*/ 326613 w 6251734"/>
              <a:gd name="connsiteY1474" fmla="*/ 2088256 h 5808721"/>
              <a:gd name="connsiteX1475" fmla="*/ 324898 w 6251734"/>
              <a:gd name="connsiteY1475" fmla="*/ 2079683 h 5808721"/>
              <a:gd name="connsiteX1476" fmla="*/ 329184 w 6251734"/>
              <a:gd name="connsiteY1476" fmla="*/ 2071111 h 5808721"/>
              <a:gd name="connsiteX1477" fmla="*/ 330042 w 6251734"/>
              <a:gd name="connsiteY1477" fmla="*/ 2057396 h 5808721"/>
              <a:gd name="connsiteX1478" fmla="*/ 325755 w 6251734"/>
              <a:gd name="connsiteY1478" fmla="*/ 2046251 h 5808721"/>
              <a:gd name="connsiteX1479" fmla="*/ 327470 w 6251734"/>
              <a:gd name="connsiteY1479" fmla="*/ 2035106 h 5808721"/>
              <a:gd name="connsiteX1480" fmla="*/ 336900 w 6251734"/>
              <a:gd name="connsiteY1480" fmla="*/ 2021391 h 5808721"/>
              <a:gd name="connsiteX1481" fmla="*/ 342043 w 6251734"/>
              <a:gd name="connsiteY1481" fmla="*/ 2008532 h 5808721"/>
              <a:gd name="connsiteX1482" fmla="*/ 336900 w 6251734"/>
              <a:gd name="connsiteY1482" fmla="*/ 2001674 h 5808721"/>
              <a:gd name="connsiteX1483" fmla="*/ 324041 w 6251734"/>
              <a:gd name="connsiteY1483" fmla="*/ 1994816 h 5808721"/>
              <a:gd name="connsiteX1484" fmla="*/ 315468 w 6251734"/>
              <a:gd name="connsiteY1484" fmla="*/ 1983671 h 5808721"/>
              <a:gd name="connsiteX1485" fmla="*/ 299181 w 6251734"/>
              <a:gd name="connsiteY1485" fmla="*/ 1982814 h 5808721"/>
              <a:gd name="connsiteX1486" fmla="*/ 295752 w 6251734"/>
              <a:gd name="connsiteY1486" fmla="*/ 1977671 h 5808721"/>
              <a:gd name="connsiteX1487" fmla="*/ 282893 w 6251734"/>
              <a:gd name="connsiteY1487" fmla="*/ 1972528 h 5808721"/>
              <a:gd name="connsiteX1488" fmla="*/ 281178 w 6251734"/>
              <a:gd name="connsiteY1488" fmla="*/ 1965669 h 5808721"/>
              <a:gd name="connsiteX1489" fmla="*/ 271749 w 6251734"/>
              <a:gd name="connsiteY1489" fmla="*/ 1963955 h 5808721"/>
              <a:gd name="connsiteX1490" fmla="*/ 270034 w 6251734"/>
              <a:gd name="connsiteY1490" fmla="*/ 1957954 h 5808721"/>
              <a:gd name="connsiteX1491" fmla="*/ 269177 w 6251734"/>
              <a:gd name="connsiteY1491" fmla="*/ 1948525 h 5808721"/>
              <a:gd name="connsiteX1492" fmla="*/ 264033 w 6251734"/>
              <a:gd name="connsiteY1492" fmla="*/ 1939095 h 5808721"/>
              <a:gd name="connsiteX1493" fmla="*/ 259747 w 6251734"/>
              <a:gd name="connsiteY1493" fmla="*/ 1933095 h 5808721"/>
              <a:gd name="connsiteX1494" fmla="*/ 248603 w 6251734"/>
              <a:gd name="connsiteY1494" fmla="*/ 1931380 h 5808721"/>
              <a:gd name="connsiteX1495" fmla="*/ 239173 w 6251734"/>
              <a:gd name="connsiteY1495" fmla="*/ 1926236 h 5808721"/>
              <a:gd name="connsiteX1496" fmla="*/ 236601 w 6251734"/>
              <a:gd name="connsiteY1496" fmla="*/ 1917664 h 5808721"/>
              <a:gd name="connsiteX1497" fmla="*/ 232315 w 6251734"/>
              <a:gd name="connsiteY1497" fmla="*/ 1908233 h 5808721"/>
              <a:gd name="connsiteX1498" fmla="*/ 226314 w 6251734"/>
              <a:gd name="connsiteY1498" fmla="*/ 1903948 h 5808721"/>
              <a:gd name="connsiteX1499" fmla="*/ 214313 w 6251734"/>
              <a:gd name="connsiteY1499" fmla="*/ 1906521 h 5808721"/>
              <a:gd name="connsiteX1500" fmla="*/ 213456 w 6251734"/>
              <a:gd name="connsiteY1500" fmla="*/ 1898805 h 5808721"/>
              <a:gd name="connsiteX1501" fmla="*/ 206598 w 6251734"/>
              <a:gd name="connsiteY1501" fmla="*/ 1897090 h 5808721"/>
              <a:gd name="connsiteX1502" fmla="*/ 201454 w 6251734"/>
              <a:gd name="connsiteY1502" fmla="*/ 1900518 h 5808721"/>
              <a:gd name="connsiteX1503" fmla="*/ 198882 w 6251734"/>
              <a:gd name="connsiteY1503" fmla="*/ 1903948 h 5808721"/>
              <a:gd name="connsiteX1504" fmla="*/ 192882 w 6251734"/>
              <a:gd name="connsiteY1504" fmla="*/ 1912520 h 5808721"/>
              <a:gd name="connsiteX1505" fmla="*/ 191167 w 6251734"/>
              <a:gd name="connsiteY1505" fmla="*/ 1910806 h 5808721"/>
              <a:gd name="connsiteX1506" fmla="*/ 188595 w 6251734"/>
              <a:gd name="connsiteY1506" fmla="*/ 1907378 h 5808721"/>
              <a:gd name="connsiteX1507" fmla="*/ 185166 w 6251734"/>
              <a:gd name="connsiteY1507" fmla="*/ 1895375 h 5808721"/>
              <a:gd name="connsiteX1508" fmla="*/ 188595 w 6251734"/>
              <a:gd name="connsiteY1508" fmla="*/ 1885946 h 5808721"/>
              <a:gd name="connsiteX1509" fmla="*/ 187738 w 6251734"/>
              <a:gd name="connsiteY1509" fmla="*/ 1873087 h 5808721"/>
              <a:gd name="connsiteX1510" fmla="*/ 188595 w 6251734"/>
              <a:gd name="connsiteY1510" fmla="*/ 1862801 h 5808721"/>
              <a:gd name="connsiteX1511" fmla="*/ 187738 w 6251734"/>
              <a:gd name="connsiteY1511" fmla="*/ 1855084 h 5808721"/>
              <a:gd name="connsiteX1512" fmla="*/ 183452 w 6251734"/>
              <a:gd name="connsiteY1512" fmla="*/ 1853370 h 5808721"/>
              <a:gd name="connsiteX1513" fmla="*/ 197168 w 6251734"/>
              <a:gd name="connsiteY1513" fmla="*/ 1817366 h 5808721"/>
              <a:gd name="connsiteX1514" fmla="*/ 195453 w 6251734"/>
              <a:gd name="connsiteY1514" fmla="*/ 1828509 h 5808721"/>
              <a:gd name="connsiteX1515" fmla="*/ 194596 w 6251734"/>
              <a:gd name="connsiteY1515" fmla="*/ 1835368 h 5808721"/>
              <a:gd name="connsiteX1516" fmla="*/ 193739 w 6251734"/>
              <a:gd name="connsiteY1516" fmla="*/ 1843085 h 5808721"/>
              <a:gd name="connsiteX1517" fmla="*/ 196311 w 6251734"/>
              <a:gd name="connsiteY1517" fmla="*/ 1843941 h 5808721"/>
              <a:gd name="connsiteX1518" fmla="*/ 201454 w 6251734"/>
              <a:gd name="connsiteY1518" fmla="*/ 1847369 h 5808721"/>
              <a:gd name="connsiteX1519" fmla="*/ 203169 w 6251734"/>
              <a:gd name="connsiteY1519" fmla="*/ 1847369 h 5808721"/>
              <a:gd name="connsiteX1520" fmla="*/ 207455 w 6251734"/>
              <a:gd name="connsiteY1520" fmla="*/ 1852513 h 5808721"/>
              <a:gd name="connsiteX1521" fmla="*/ 206598 w 6251734"/>
              <a:gd name="connsiteY1521" fmla="*/ 1859371 h 5808721"/>
              <a:gd name="connsiteX1522" fmla="*/ 208312 w 6251734"/>
              <a:gd name="connsiteY1522" fmla="*/ 1861087 h 5808721"/>
              <a:gd name="connsiteX1523" fmla="*/ 213456 w 6251734"/>
              <a:gd name="connsiteY1523" fmla="*/ 1863658 h 5808721"/>
              <a:gd name="connsiteX1524" fmla="*/ 220314 w 6251734"/>
              <a:gd name="connsiteY1524" fmla="*/ 1862801 h 5808721"/>
              <a:gd name="connsiteX1525" fmla="*/ 223743 w 6251734"/>
              <a:gd name="connsiteY1525" fmla="*/ 1867085 h 5808721"/>
              <a:gd name="connsiteX1526" fmla="*/ 225457 w 6251734"/>
              <a:gd name="connsiteY1526" fmla="*/ 1870514 h 5808721"/>
              <a:gd name="connsiteX1527" fmla="*/ 228886 w 6251734"/>
              <a:gd name="connsiteY1527" fmla="*/ 1867085 h 5808721"/>
              <a:gd name="connsiteX1528" fmla="*/ 230601 w 6251734"/>
              <a:gd name="connsiteY1528" fmla="*/ 1862801 h 5808721"/>
              <a:gd name="connsiteX1529" fmla="*/ 227172 w 6251734"/>
              <a:gd name="connsiteY1529" fmla="*/ 1860230 h 5808721"/>
              <a:gd name="connsiteX1530" fmla="*/ 222028 w 6251734"/>
              <a:gd name="connsiteY1530" fmla="*/ 1856798 h 5808721"/>
              <a:gd name="connsiteX1531" fmla="*/ 216027 w 6251734"/>
              <a:gd name="connsiteY1531" fmla="*/ 1855084 h 5808721"/>
              <a:gd name="connsiteX1532" fmla="*/ 210027 w 6251734"/>
              <a:gd name="connsiteY1532" fmla="*/ 1854227 h 5808721"/>
              <a:gd name="connsiteX1533" fmla="*/ 210027 w 6251734"/>
              <a:gd name="connsiteY1533" fmla="*/ 1847369 h 5808721"/>
              <a:gd name="connsiteX1534" fmla="*/ 210027 w 6251734"/>
              <a:gd name="connsiteY1534" fmla="*/ 1839654 h 5808721"/>
              <a:gd name="connsiteX1535" fmla="*/ 205740 w 6251734"/>
              <a:gd name="connsiteY1535" fmla="*/ 1838796 h 5808721"/>
              <a:gd name="connsiteX1536" fmla="*/ 201454 w 6251734"/>
              <a:gd name="connsiteY1536" fmla="*/ 1834510 h 5808721"/>
              <a:gd name="connsiteX1537" fmla="*/ 204883 w 6251734"/>
              <a:gd name="connsiteY1537" fmla="*/ 1827653 h 5808721"/>
              <a:gd name="connsiteX1538" fmla="*/ 215170 w 6251734"/>
              <a:gd name="connsiteY1538" fmla="*/ 1823367 h 5808721"/>
              <a:gd name="connsiteX1539" fmla="*/ 220314 w 6251734"/>
              <a:gd name="connsiteY1539" fmla="*/ 1819081 h 5808721"/>
              <a:gd name="connsiteX1540" fmla="*/ 223743 w 6251734"/>
              <a:gd name="connsiteY1540" fmla="*/ 1811365 h 5808721"/>
              <a:gd name="connsiteX1541" fmla="*/ 227172 w 6251734"/>
              <a:gd name="connsiteY1541" fmla="*/ 1802793 h 5808721"/>
              <a:gd name="connsiteX1542" fmla="*/ 228886 w 6251734"/>
              <a:gd name="connsiteY1542" fmla="*/ 1793363 h 5808721"/>
              <a:gd name="connsiteX1543" fmla="*/ 234030 w 6251734"/>
              <a:gd name="connsiteY1543" fmla="*/ 1786504 h 5808721"/>
              <a:gd name="connsiteX1544" fmla="*/ 246031 w 6251734"/>
              <a:gd name="connsiteY1544" fmla="*/ 1777076 h 5808721"/>
              <a:gd name="connsiteX1545" fmla="*/ 252889 w 6251734"/>
              <a:gd name="connsiteY1545" fmla="*/ 1771073 h 5808721"/>
              <a:gd name="connsiteX1546" fmla="*/ 255461 w 6251734"/>
              <a:gd name="connsiteY1546" fmla="*/ 1765075 h 5808721"/>
              <a:gd name="connsiteX1547" fmla="*/ 261462 w 6251734"/>
              <a:gd name="connsiteY1547" fmla="*/ 1762502 h 5808721"/>
              <a:gd name="connsiteX1548" fmla="*/ 269177 w 6251734"/>
              <a:gd name="connsiteY1548" fmla="*/ 1758215 h 5808721"/>
              <a:gd name="connsiteX1549" fmla="*/ 271749 w 6251734"/>
              <a:gd name="connsiteY1549" fmla="*/ 1750501 h 5808721"/>
              <a:gd name="connsiteX1550" fmla="*/ 274320 w 6251734"/>
              <a:gd name="connsiteY1550" fmla="*/ 1747928 h 5808721"/>
              <a:gd name="connsiteX1551" fmla="*/ 282893 w 6251734"/>
              <a:gd name="connsiteY1551" fmla="*/ 1741932 h 5808721"/>
              <a:gd name="connsiteX1552" fmla="*/ 286322 w 6251734"/>
              <a:gd name="connsiteY1552" fmla="*/ 1739360 h 5808721"/>
              <a:gd name="connsiteX1553" fmla="*/ 293180 w 6251734"/>
              <a:gd name="connsiteY1553" fmla="*/ 1740217 h 5808721"/>
              <a:gd name="connsiteX1554" fmla="*/ 302610 w 6251734"/>
              <a:gd name="connsiteY1554" fmla="*/ 1742789 h 5808721"/>
              <a:gd name="connsiteX1555" fmla="*/ 307753 w 6251734"/>
              <a:gd name="connsiteY1555" fmla="*/ 1741932 h 5808721"/>
              <a:gd name="connsiteX1556" fmla="*/ 309468 w 6251734"/>
              <a:gd name="connsiteY1556" fmla="*/ 1735930 h 5808721"/>
              <a:gd name="connsiteX1557" fmla="*/ 308610 w 6251734"/>
              <a:gd name="connsiteY1557" fmla="*/ 1732501 h 5808721"/>
              <a:gd name="connsiteX1558" fmla="*/ 304324 w 6251734"/>
              <a:gd name="connsiteY1558" fmla="*/ 1730788 h 5808721"/>
              <a:gd name="connsiteX1559" fmla="*/ 306039 w 6251734"/>
              <a:gd name="connsiteY1559" fmla="*/ 1723929 h 5808721"/>
              <a:gd name="connsiteX1560" fmla="*/ 312039 w 6251734"/>
              <a:gd name="connsiteY1560" fmla="*/ 1719643 h 5808721"/>
              <a:gd name="connsiteX1561" fmla="*/ 320612 w 6251734"/>
              <a:gd name="connsiteY1561" fmla="*/ 1714500 h 5808721"/>
              <a:gd name="connsiteX1562" fmla="*/ 325755 w 6251734"/>
              <a:gd name="connsiteY1562" fmla="*/ 1718786 h 5808721"/>
              <a:gd name="connsiteX1563" fmla="*/ 326613 w 6251734"/>
              <a:gd name="connsiteY1563" fmla="*/ 1721357 h 5808721"/>
              <a:gd name="connsiteX1564" fmla="*/ 319755 w 6251734"/>
              <a:gd name="connsiteY1564" fmla="*/ 1725643 h 5808721"/>
              <a:gd name="connsiteX1565" fmla="*/ 323184 w 6251734"/>
              <a:gd name="connsiteY1565" fmla="*/ 1731644 h 5808721"/>
              <a:gd name="connsiteX1566" fmla="*/ 330899 w 6251734"/>
              <a:gd name="connsiteY1566" fmla="*/ 1731644 h 5808721"/>
              <a:gd name="connsiteX1567" fmla="*/ 336042 w 6251734"/>
              <a:gd name="connsiteY1567" fmla="*/ 1728216 h 5808721"/>
              <a:gd name="connsiteX1568" fmla="*/ 337757 w 6251734"/>
              <a:gd name="connsiteY1568" fmla="*/ 1723929 h 5808721"/>
              <a:gd name="connsiteX1569" fmla="*/ 337757 w 6251734"/>
              <a:gd name="connsiteY1569" fmla="*/ 1717072 h 5808721"/>
              <a:gd name="connsiteX1570" fmla="*/ 336900 w 6251734"/>
              <a:gd name="connsiteY1570" fmla="*/ 1711070 h 5808721"/>
              <a:gd name="connsiteX1571" fmla="*/ 339471 w 6251734"/>
              <a:gd name="connsiteY1571" fmla="*/ 1706785 h 5808721"/>
              <a:gd name="connsiteX1572" fmla="*/ 342900 w 6251734"/>
              <a:gd name="connsiteY1572" fmla="*/ 1704213 h 5808721"/>
              <a:gd name="connsiteX1573" fmla="*/ 345472 w 6251734"/>
              <a:gd name="connsiteY1573" fmla="*/ 1699927 h 5808721"/>
              <a:gd name="connsiteX1574" fmla="*/ 345472 w 6251734"/>
              <a:gd name="connsiteY1574" fmla="*/ 1693069 h 5808721"/>
              <a:gd name="connsiteX1575" fmla="*/ 351473 w 6251734"/>
              <a:gd name="connsiteY1575" fmla="*/ 1684495 h 5808721"/>
              <a:gd name="connsiteX1576" fmla="*/ 354045 w 6251734"/>
              <a:gd name="connsiteY1576" fmla="*/ 1680211 h 5808721"/>
              <a:gd name="connsiteX1577" fmla="*/ 345472 w 6251734"/>
              <a:gd name="connsiteY1577" fmla="*/ 1676780 h 5808721"/>
              <a:gd name="connsiteX1578" fmla="*/ 315281 w 6251734"/>
              <a:gd name="connsiteY1578" fmla="*/ 1686424 h 5808721"/>
              <a:gd name="connsiteX1579" fmla="*/ 289975 w 6251734"/>
              <a:gd name="connsiteY1579" fmla="*/ 1703570 h 5808721"/>
              <a:gd name="connsiteX1580" fmla="*/ 311879 w 6251734"/>
              <a:gd name="connsiteY1580" fmla="*/ 1684683 h 5808721"/>
              <a:gd name="connsiteX1581" fmla="*/ 440627 w 6251734"/>
              <a:gd name="connsiteY1581" fmla="*/ 1634775 h 5808721"/>
              <a:gd name="connsiteX1582" fmla="*/ 493776 w 6251734"/>
              <a:gd name="connsiteY1582" fmla="*/ 1630488 h 5808721"/>
              <a:gd name="connsiteX1583" fmla="*/ 5782152 w 6251734"/>
              <a:gd name="connsiteY1583" fmla="*/ 1596198 h 5808721"/>
              <a:gd name="connsiteX1584" fmla="*/ 5866161 w 6251734"/>
              <a:gd name="connsiteY1584" fmla="*/ 1665861 h 5808721"/>
              <a:gd name="connsiteX1585" fmla="*/ 5894202 w 6251734"/>
              <a:gd name="connsiteY1585" fmla="*/ 1735228 h 5808721"/>
              <a:gd name="connsiteX1586" fmla="*/ 5937599 w 6251734"/>
              <a:gd name="connsiteY1586" fmla="*/ 1713557 h 5808721"/>
              <a:gd name="connsiteX1587" fmla="*/ 6007126 w 6251734"/>
              <a:gd name="connsiteY1587" fmla="*/ 1696509 h 5808721"/>
              <a:gd name="connsiteX1588" fmla="*/ 6071045 w 6251734"/>
              <a:gd name="connsiteY1588" fmla="*/ 1715354 h 5808721"/>
              <a:gd name="connsiteX1589" fmla="*/ 6061402 w 6251734"/>
              <a:gd name="connsiteY1589" fmla="*/ 1875016 h 5808721"/>
              <a:gd name="connsiteX1590" fmla="*/ 6052430 w 6251734"/>
              <a:gd name="connsiteY1590" fmla="*/ 1891847 h 5808721"/>
              <a:gd name="connsiteX1591" fmla="*/ 6120539 w 6251734"/>
              <a:gd name="connsiteY1591" fmla="*/ 1919379 h 5808721"/>
              <a:gd name="connsiteX1592" fmla="*/ 6190203 w 6251734"/>
              <a:gd name="connsiteY1592" fmla="*/ 2003388 h 5808721"/>
              <a:gd name="connsiteX1593" fmla="*/ 6120539 w 6251734"/>
              <a:gd name="connsiteY1593" fmla="*/ 2087623 h 5808721"/>
              <a:gd name="connsiteX1594" fmla="*/ 6052202 w 6251734"/>
              <a:gd name="connsiteY1594" fmla="*/ 2115361 h 5808721"/>
              <a:gd name="connsiteX1595" fmla="*/ 6061402 w 6251734"/>
              <a:gd name="connsiteY1595" fmla="*/ 2132621 h 5808721"/>
              <a:gd name="connsiteX1596" fmla="*/ 6071045 w 6251734"/>
              <a:gd name="connsiteY1596" fmla="*/ 2292283 h 5808721"/>
              <a:gd name="connsiteX1597" fmla="*/ 5911061 w 6251734"/>
              <a:gd name="connsiteY1597" fmla="*/ 2282960 h 5808721"/>
              <a:gd name="connsiteX1598" fmla="*/ 5893744 w 6251734"/>
              <a:gd name="connsiteY1598" fmla="*/ 2273685 h 5808721"/>
              <a:gd name="connsiteX1599" fmla="*/ 5865784 w 6251734"/>
              <a:gd name="connsiteY1599" fmla="*/ 2342634 h 5808721"/>
              <a:gd name="connsiteX1600" fmla="*/ 5782152 w 6251734"/>
              <a:gd name="connsiteY1600" fmla="*/ 2412297 h 5808721"/>
              <a:gd name="connsiteX1601" fmla="*/ 5698520 w 6251734"/>
              <a:gd name="connsiteY1601" fmla="*/ 2342634 h 5808721"/>
              <a:gd name="connsiteX1602" fmla="*/ 5670749 w 6251734"/>
              <a:gd name="connsiteY1602" fmla="*/ 2274150 h 5808721"/>
              <a:gd name="connsiteX1603" fmla="*/ 5653242 w 6251734"/>
              <a:gd name="connsiteY1603" fmla="*/ 2283496 h 5808721"/>
              <a:gd name="connsiteX1604" fmla="*/ 5493258 w 6251734"/>
              <a:gd name="connsiteY1604" fmla="*/ 2293141 h 5808721"/>
              <a:gd name="connsiteX1605" fmla="*/ 5502902 w 6251734"/>
              <a:gd name="connsiteY1605" fmla="*/ 2133155 h 5808721"/>
              <a:gd name="connsiteX1606" fmla="*/ 5512498 w 6251734"/>
              <a:gd name="connsiteY1606" fmla="*/ 2115182 h 5808721"/>
              <a:gd name="connsiteX1607" fmla="*/ 5443764 w 6251734"/>
              <a:gd name="connsiteY1607" fmla="*/ 2087397 h 5808721"/>
              <a:gd name="connsiteX1608" fmla="*/ 5374100 w 6251734"/>
              <a:gd name="connsiteY1608" fmla="*/ 2003388 h 5808721"/>
              <a:gd name="connsiteX1609" fmla="*/ 5443764 w 6251734"/>
              <a:gd name="connsiteY1609" fmla="*/ 1919379 h 5808721"/>
              <a:gd name="connsiteX1610" fmla="*/ 5512121 w 6251734"/>
              <a:gd name="connsiteY1610" fmla="*/ 1891747 h 5808721"/>
              <a:gd name="connsiteX1611" fmla="*/ 5502902 w 6251734"/>
              <a:gd name="connsiteY1611" fmla="*/ 1874480 h 5808721"/>
              <a:gd name="connsiteX1612" fmla="*/ 5493258 w 6251734"/>
              <a:gd name="connsiteY1612" fmla="*/ 1714497 h 5808721"/>
              <a:gd name="connsiteX1613" fmla="*/ 5653242 w 6251734"/>
              <a:gd name="connsiteY1613" fmla="*/ 1724143 h 5808721"/>
              <a:gd name="connsiteX1614" fmla="*/ 5670795 w 6251734"/>
              <a:gd name="connsiteY1614" fmla="*/ 1733514 h 5808721"/>
              <a:gd name="connsiteX1615" fmla="*/ 5698143 w 6251734"/>
              <a:gd name="connsiteY1615" fmla="*/ 1665860 h 5808721"/>
              <a:gd name="connsiteX1616" fmla="*/ 5782152 w 6251734"/>
              <a:gd name="connsiteY1616" fmla="*/ 1596198 h 5808721"/>
              <a:gd name="connsiteX1617" fmla="*/ 3595306 w 6251734"/>
              <a:gd name="connsiteY1617" fmla="*/ 1531906 h 5808721"/>
              <a:gd name="connsiteX1618" fmla="*/ 3477006 w 6251734"/>
              <a:gd name="connsiteY1618" fmla="*/ 1651922 h 5808721"/>
              <a:gd name="connsiteX1619" fmla="*/ 3595306 w 6251734"/>
              <a:gd name="connsiteY1619" fmla="*/ 1771933 h 5808721"/>
              <a:gd name="connsiteX1620" fmla="*/ 3713607 w 6251734"/>
              <a:gd name="connsiteY1620" fmla="*/ 1651922 h 5808721"/>
              <a:gd name="connsiteX1621" fmla="*/ 3595306 w 6251734"/>
              <a:gd name="connsiteY1621" fmla="*/ 1531906 h 5808721"/>
              <a:gd name="connsiteX1622" fmla="*/ 1682785 w 6251734"/>
              <a:gd name="connsiteY1622" fmla="*/ 1496755 h 5808721"/>
              <a:gd name="connsiteX1623" fmla="*/ 2037137 w 6251734"/>
              <a:gd name="connsiteY1623" fmla="*/ 1655346 h 5808721"/>
              <a:gd name="connsiteX1624" fmla="*/ 2042829 w 6251734"/>
              <a:gd name="connsiteY1624" fmla="*/ 1655346 h 5808721"/>
              <a:gd name="connsiteX1625" fmla="*/ 2042829 w 6251734"/>
              <a:gd name="connsiteY1625" fmla="*/ 1657894 h 5808721"/>
              <a:gd name="connsiteX1626" fmla="*/ 2050545 w 6251734"/>
              <a:gd name="connsiteY1626" fmla="*/ 1661347 h 5808721"/>
              <a:gd name="connsiteX1627" fmla="*/ 2042829 w 6251734"/>
              <a:gd name="connsiteY1627" fmla="*/ 1664864 h 5808721"/>
              <a:gd name="connsiteX1628" fmla="*/ 2042829 w 6251734"/>
              <a:gd name="connsiteY1628" fmla="*/ 1878511 h 5808721"/>
              <a:gd name="connsiteX1629" fmla="*/ 2057832 w 6251734"/>
              <a:gd name="connsiteY1629" fmla="*/ 1884660 h 5808721"/>
              <a:gd name="connsiteX1630" fmla="*/ 2068547 w 6251734"/>
              <a:gd name="connsiteY1630" fmla="*/ 1910806 h 5808721"/>
              <a:gd name="connsiteX1631" fmla="*/ 2057832 w 6251734"/>
              <a:gd name="connsiteY1631" fmla="*/ 1937274 h 5808721"/>
              <a:gd name="connsiteX1632" fmla="*/ 2057578 w 6251734"/>
              <a:gd name="connsiteY1632" fmla="*/ 1937375 h 5808721"/>
              <a:gd name="connsiteX1633" fmla="*/ 2065332 w 6251734"/>
              <a:gd name="connsiteY1633" fmla="*/ 1965456 h 5808721"/>
              <a:gd name="connsiteX1634" fmla="*/ 2069404 w 6251734"/>
              <a:gd name="connsiteY1634" fmla="*/ 2078827 h 5808721"/>
              <a:gd name="connsiteX1635" fmla="*/ 2038543 w 6251734"/>
              <a:gd name="connsiteY1635" fmla="*/ 2078827 h 5808721"/>
              <a:gd name="connsiteX1636" fmla="*/ 2027398 w 6251734"/>
              <a:gd name="connsiteY1636" fmla="*/ 2078827 h 5808721"/>
              <a:gd name="connsiteX1637" fmla="*/ 1996538 w 6251734"/>
              <a:gd name="connsiteY1637" fmla="*/ 2078827 h 5808721"/>
              <a:gd name="connsiteX1638" fmla="*/ 2001360 w 6251734"/>
              <a:gd name="connsiteY1638" fmla="*/ 1965456 h 5808721"/>
              <a:gd name="connsiteX1639" fmla="*/ 2008928 w 6251734"/>
              <a:gd name="connsiteY1639" fmla="*/ 1938341 h 5808721"/>
              <a:gd name="connsiteX1640" fmla="*/ 2005539 w 6251734"/>
              <a:gd name="connsiteY1640" fmla="*/ 1936952 h 5808721"/>
              <a:gd name="connsiteX1641" fmla="*/ 1994823 w 6251734"/>
              <a:gd name="connsiteY1641" fmla="*/ 1910806 h 5808721"/>
              <a:gd name="connsiteX1642" fmla="*/ 2005539 w 6251734"/>
              <a:gd name="connsiteY1642" fmla="*/ 1884660 h 5808721"/>
              <a:gd name="connsiteX1643" fmla="*/ 2019683 w 6251734"/>
              <a:gd name="connsiteY1643" fmla="*/ 1878863 h 5808721"/>
              <a:gd name="connsiteX1644" fmla="*/ 2019683 w 6251734"/>
              <a:gd name="connsiteY1644" fmla="*/ 1675413 h 5808721"/>
              <a:gd name="connsiteX1645" fmla="*/ 1672498 w 6251734"/>
              <a:gd name="connsiteY1645" fmla="*/ 1833654 h 5808721"/>
              <a:gd name="connsiteX1646" fmla="*/ 1300450 w 6251734"/>
              <a:gd name="connsiteY1646" fmla="*/ 1665634 h 5808721"/>
              <a:gd name="connsiteX1647" fmla="*/ 5080921 w 6251734"/>
              <a:gd name="connsiteY1647" fmla="*/ 1438462 h 5808721"/>
              <a:gd name="connsiteX1648" fmla="*/ 5143500 w 6251734"/>
              <a:gd name="connsiteY1648" fmla="*/ 1438462 h 5808721"/>
              <a:gd name="connsiteX1649" fmla="*/ 5158931 w 6251734"/>
              <a:gd name="connsiteY1649" fmla="*/ 1457322 h 5808721"/>
              <a:gd name="connsiteX1650" fmla="*/ 5143500 w 6251734"/>
              <a:gd name="connsiteY1650" fmla="*/ 1476181 h 5808721"/>
              <a:gd name="connsiteX1651" fmla="*/ 5080921 w 6251734"/>
              <a:gd name="connsiteY1651" fmla="*/ 1476181 h 5808721"/>
              <a:gd name="connsiteX1652" fmla="*/ 5065490 w 6251734"/>
              <a:gd name="connsiteY1652" fmla="*/ 1457322 h 5808721"/>
              <a:gd name="connsiteX1653" fmla="*/ 5080921 w 6251734"/>
              <a:gd name="connsiteY1653" fmla="*/ 1438462 h 5808721"/>
              <a:gd name="connsiteX1654" fmla="*/ 2660050 w 6251734"/>
              <a:gd name="connsiteY1654" fmla="*/ 1421316 h 5808721"/>
              <a:gd name="connsiteX1655" fmla="*/ 2760348 w 6251734"/>
              <a:gd name="connsiteY1655" fmla="*/ 1591909 h 5808721"/>
              <a:gd name="connsiteX1656" fmla="*/ 2643762 w 6251734"/>
              <a:gd name="connsiteY1656" fmla="*/ 1672490 h 5808721"/>
              <a:gd name="connsiteX1657" fmla="*/ 2797210 w 6251734"/>
              <a:gd name="connsiteY1657" fmla="*/ 1599624 h 5808721"/>
              <a:gd name="connsiteX1658" fmla="*/ 2660050 w 6251734"/>
              <a:gd name="connsiteY1658" fmla="*/ 1421316 h 5808721"/>
              <a:gd name="connsiteX1659" fmla="*/ 5060347 w 6251734"/>
              <a:gd name="connsiteY1659" fmla="*/ 1398171 h 5808721"/>
              <a:gd name="connsiteX1660" fmla="*/ 5164075 w 6251734"/>
              <a:gd name="connsiteY1660" fmla="*/ 1398171 h 5808721"/>
              <a:gd name="connsiteX1661" fmla="*/ 5189792 w 6251734"/>
              <a:gd name="connsiteY1661" fmla="*/ 1417031 h 5808721"/>
              <a:gd name="connsiteX1662" fmla="*/ 5164075 w 6251734"/>
              <a:gd name="connsiteY1662" fmla="*/ 1435890 h 5808721"/>
              <a:gd name="connsiteX1663" fmla="*/ 5060347 w 6251734"/>
              <a:gd name="connsiteY1663" fmla="*/ 1435890 h 5808721"/>
              <a:gd name="connsiteX1664" fmla="*/ 5034629 w 6251734"/>
              <a:gd name="connsiteY1664" fmla="*/ 1417031 h 5808721"/>
              <a:gd name="connsiteX1665" fmla="*/ 5060347 w 6251734"/>
              <a:gd name="connsiteY1665" fmla="*/ 1398171 h 5808721"/>
              <a:gd name="connsiteX1666" fmla="*/ 3397282 w 6251734"/>
              <a:gd name="connsiteY1666" fmla="*/ 1360456 h 5808721"/>
              <a:gd name="connsiteX1667" fmla="*/ 3287554 w 6251734"/>
              <a:gd name="connsiteY1667" fmla="*/ 1471897 h 5808721"/>
              <a:gd name="connsiteX1668" fmla="*/ 3397282 w 6251734"/>
              <a:gd name="connsiteY1668" fmla="*/ 1582484 h 5808721"/>
              <a:gd name="connsiteX1669" fmla="*/ 3507010 w 6251734"/>
              <a:gd name="connsiteY1669" fmla="*/ 1471897 h 5808721"/>
              <a:gd name="connsiteX1670" fmla="*/ 3397282 w 6251734"/>
              <a:gd name="connsiteY1670" fmla="*/ 1360456 h 5808721"/>
              <a:gd name="connsiteX1671" fmla="*/ 5060347 w 6251734"/>
              <a:gd name="connsiteY1671" fmla="*/ 1358738 h 5808721"/>
              <a:gd name="connsiteX1672" fmla="*/ 5164075 w 6251734"/>
              <a:gd name="connsiteY1672" fmla="*/ 1358738 h 5808721"/>
              <a:gd name="connsiteX1673" fmla="*/ 5189792 w 6251734"/>
              <a:gd name="connsiteY1673" fmla="*/ 1377598 h 5808721"/>
              <a:gd name="connsiteX1674" fmla="*/ 5164075 w 6251734"/>
              <a:gd name="connsiteY1674" fmla="*/ 1396458 h 5808721"/>
              <a:gd name="connsiteX1675" fmla="*/ 5060347 w 6251734"/>
              <a:gd name="connsiteY1675" fmla="*/ 1396458 h 5808721"/>
              <a:gd name="connsiteX1676" fmla="*/ 5034629 w 6251734"/>
              <a:gd name="connsiteY1676" fmla="*/ 1377598 h 5808721"/>
              <a:gd name="connsiteX1677" fmla="*/ 5060347 w 6251734"/>
              <a:gd name="connsiteY1677" fmla="*/ 1358738 h 5808721"/>
              <a:gd name="connsiteX1678" fmla="*/ 3329559 w 6251734"/>
              <a:gd name="connsiteY1678" fmla="*/ 1134999 h 5808721"/>
              <a:gd name="connsiteX1679" fmla="*/ 3233547 w 6251734"/>
              <a:gd name="connsiteY1679" fmla="*/ 1232725 h 5808721"/>
              <a:gd name="connsiteX1680" fmla="*/ 3329559 w 6251734"/>
              <a:gd name="connsiteY1680" fmla="*/ 1330451 h 5808721"/>
              <a:gd name="connsiteX1681" fmla="*/ 3425571 w 6251734"/>
              <a:gd name="connsiteY1681" fmla="*/ 1232725 h 5808721"/>
              <a:gd name="connsiteX1682" fmla="*/ 3329559 w 6251734"/>
              <a:gd name="connsiteY1682" fmla="*/ 1134999 h 5808721"/>
              <a:gd name="connsiteX1683" fmla="*/ 2545178 w 6251734"/>
              <a:gd name="connsiteY1683" fmla="*/ 997834 h 5808721"/>
              <a:gd name="connsiteX1684" fmla="*/ 2649763 w 6251734"/>
              <a:gd name="connsiteY1684" fmla="*/ 1038125 h 5808721"/>
              <a:gd name="connsiteX1685" fmla="*/ 2649763 w 6251734"/>
              <a:gd name="connsiteY1685" fmla="*/ 1040697 h 5808721"/>
              <a:gd name="connsiteX1686" fmla="*/ 2654049 w 6251734"/>
              <a:gd name="connsiteY1686" fmla="*/ 1040697 h 5808721"/>
              <a:gd name="connsiteX1687" fmla="*/ 2654049 w 6251734"/>
              <a:gd name="connsiteY1687" fmla="*/ 1116135 h 5808721"/>
              <a:gd name="connsiteX1688" fmla="*/ 2649763 w 6251734"/>
              <a:gd name="connsiteY1688" fmla="*/ 1116135 h 5808721"/>
              <a:gd name="connsiteX1689" fmla="*/ 2632618 w 6251734"/>
              <a:gd name="connsiteY1689" fmla="*/ 1138423 h 5808721"/>
              <a:gd name="connsiteX1690" fmla="*/ 2632618 w 6251734"/>
              <a:gd name="connsiteY1690" fmla="*/ 1309873 h 5808721"/>
              <a:gd name="connsiteX1691" fmla="*/ 2648905 w 6251734"/>
              <a:gd name="connsiteY1691" fmla="*/ 1351879 h 5808721"/>
              <a:gd name="connsiteX1692" fmla="*/ 2810926 w 6251734"/>
              <a:gd name="connsiteY1692" fmla="*/ 1669918 h 5808721"/>
              <a:gd name="connsiteX1693" fmla="*/ 2546035 w 6251734"/>
              <a:gd name="connsiteY1693" fmla="*/ 1728211 h 5808721"/>
              <a:gd name="connsiteX1694" fmla="*/ 2281144 w 6251734"/>
              <a:gd name="connsiteY1694" fmla="*/ 1669918 h 5808721"/>
              <a:gd name="connsiteX1695" fmla="*/ 2447452 w 6251734"/>
              <a:gd name="connsiteY1695" fmla="*/ 1351879 h 5808721"/>
              <a:gd name="connsiteX1696" fmla="*/ 2470597 w 6251734"/>
              <a:gd name="connsiteY1696" fmla="*/ 1309873 h 5808721"/>
              <a:gd name="connsiteX1697" fmla="*/ 2470597 w 6251734"/>
              <a:gd name="connsiteY1697" fmla="*/ 1139281 h 5808721"/>
              <a:gd name="connsiteX1698" fmla="*/ 2440594 w 6251734"/>
              <a:gd name="connsiteY1698" fmla="*/ 1116135 h 5808721"/>
              <a:gd name="connsiteX1699" fmla="*/ 2438022 w 6251734"/>
              <a:gd name="connsiteY1699" fmla="*/ 1116135 h 5808721"/>
              <a:gd name="connsiteX1700" fmla="*/ 2438022 w 6251734"/>
              <a:gd name="connsiteY1700" fmla="*/ 1040697 h 5808721"/>
              <a:gd name="connsiteX1701" fmla="*/ 2440594 w 6251734"/>
              <a:gd name="connsiteY1701" fmla="*/ 1040697 h 5808721"/>
              <a:gd name="connsiteX1702" fmla="*/ 2440594 w 6251734"/>
              <a:gd name="connsiteY1702" fmla="*/ 1038125 h 5808721"/>
              <a:gd name="connsiteX1703" fmla="*/ 2545178 w 6251734"/>
              <a:gd name="connsiteY1703" fmla="*/ 997834 h 5808721"/>
              <a:gd name="connsiteX1704" fmla="*/ 1963962 w 6251734"/>
              <a:gd name="connsiteY1704" fmla="*/ 956688 h 5808721"/>
              <a:gd name="connsiteX1705" fmla="*/ 2026541 w 6251734"/>
              <a:gd name="connsiteY1705" fmla="*/ 956688 h 5808721"/>
              <a:gd name="connsiteX1706" fmla="*/ 2042829 w 6251734"/>
              <a:gd name="connsiteY1706" fmla="*/ 975549 h 5808721"/>
              <a:gd name="connsiteX1707" fmla="*/ 2027398 w 6251734"/>
              <a:gd name="connsiteY1707" fmla="*/ 994408 h 5808721"/>
              <a:gd name="connsiteX1708" fmla="*/ 1963962 w 6251734"/>
              <a:gd name="connsiteY1708" fmla="*/ 994408 h 5808721"/>
              <a:gd name="connsiteX1709" fmla="*/ 1948531 w 6251734"/>
              <a:gd name="connsiteY1709" fmla="*/ 975549 h 5808721"/>
              <a:gd name="connsiteX1710" fmla="*/ 1963962 w 6251734"/>
              <a:gd name="connsiteY1710" fmla="*/ 956688 h 5808721"/>
              <a:gd name="connsiteX1711" fmla="*/ 3402425 w 6251734"/>
              <a:gd name="connsiteY1711" fmla="*/ 943831 h 5808721"/>
              <a:gd name="connsiteX1712" fmla="*/ 3330416 w 6251734"/>
              <a:gd name="connsiteY1712" fmla="*/ 1016699 h 5808721"/>
              <a:gd name="connsiteX1713" fmla="*/ 3402425 w 6251734"/>
              <a:gd name="connsiteY1713" fmla="*/ 1089565 h 5808721"/>
              <a:gd name="connsiteX1714" fmla="*/ 3474434 w 6251734"/>
              <a:gd name="connsiteY1714" fmla="*/ 1016699 h 5808721"/>
              <a:gd name="connsiteX1715" fmla="*/ 3402425 w 6251734"/>
              <a:gd name="connsiteY1715" fmla="*/ 943831 h 5808721"/>
              <a:gd name="connsiteX1716" fmla="*/ 4083082 w 6251734"/>
              <a:gd name="connsiteY1716" fmla="*/ 928402 h 5808721"/>
              <a:gd name="connsiteX1717" fmla="*/ 3939064 w 6251734"/>
              <a:gd name="connsiteY1717" fmla="*/ 1072419 h 5808721"/>
              <a:gd name="connsiteX1718" fmla="*/ 4083082 w 6251734"/>
              <a:gd name="connsiteY1718" fmla="*/ 1216437 h 5808721"/>
              <a:gd name="connsiteX1719" fmla="*/ 4227100 w 6251734"/>
              <a:gd name="connsiteY1719" fmla="*/ 1072419 h 5808721"/>
              <a:gd name="connsiteX1720" fmla="*/ 4083082 w 6251734"/>
              <a:gd name="connsiteY1720" fmla="*/ 928402 h 5808721"/>
              <a:gd name="connsiteX1721" fmla="*/ 1944245 w 6251734"/>
              <a:gd name="connsiteY1721" fmla="*/ 916397 h 5808721"/>
              <a:gd name="connsiteX1722" fmla="*/ 2047973 w 6251734"/>
              <a:gd name="connsiteY1722" fmla="*/ 916397 h 5808721"/>
              <a:gd name="connsiteX1723" fmla="*/ 2073690 w 6251734"/>
              <a:gd name="connsiteY1723" fmla="*/ 935258 h 5808721"/>
              <a:gd name="connsiteX1724" fmla="*/ 2047973 w 6251734"/>
              <a:gd name="connsiteY1724" fmla="*/ 954117 h 5808721"/>
              <a:gd name="connsiteX1725" fmla="*/ 1944245 w 6251734"/>
              <a:gd name="connsiteY1725" fmla="*/ 954117 h 5808721"/>
              <a:gd name="connsiteX1726" fmla="*/ 1918527 w 6251734"/>
              <a:gd name="connsiteY1726" fmla="*/ 935258 h 5808721"/>
              <a:gd name="connsiteX1727" fmla="*/ 1944245 w 6251734"/>
              <a:gd name="connsiteY1727" fmla="*/ 916397 h 5808721"/>
              <a:gd name="connsiteX1728" fmla="*/ 1944245 w 6251734"/>
              <a:gd name="connsiteY1728" fmla="*/ 876106 h 5808721"/>
              <a:gd name="connsiteX1729" fmla="*/ 2047973 w 6251734"/>
              <a:gd name="connsiteY1729" fmla="*/ 876106 h 5808721"/>
              <a:gd name="connsiteX1730" fmla="*/ 2073690 w 6251734"/>
              <a:gd name="connsiteY1730" fmla="*/ 894967 h 5808721"/>
              <a:gd name="connsiteX1731" fmla="*/ 2047973 w 6251734"/>
              <a:gd name="connsiteY1731" fmla="*/ 913826 h 5808721"/>
              <a:gd name="connsiteX1732" fmla="*/ 1944245 w 6251734"/>
              <a:gd name="connsiteY1732" fmla="*/ 913826 h 5808721"/>
              <a:gd name="connsiteX1733" fmla="*/ 1918527 w 6251734"/>
              <a:gd name="connsiteY1733" fmla="*/ 894967 h 5808721"/>
              <a:gd name="connsiteX1734" fmla="*/ 1944245 w 6251734"/>
              <a:gd name="connsiteY1734" fmla="*/ 876106 h 5808721"/>
              <a:gd name="connsiteX1735" fmla="*/ 5177790 w 6251734"/>
              <a:gd name="connsiteY1735" fmla="*/ 825530 h 5808721"/>
              <a:gd name="connsiteX1736" fmla="*/ 5272088 w 6251734"/>
              <a:gd name="connsiteY1736" fmla="*/ 1060415 h 5808721"/>
              <a:gd name="connsiteX1737" fmla="*/ 5177790 w 6251734"/>
              <a:gd name="connsiteY1737" fmla="*/ 825530 h 5808721"/>
              <a:gd name="connsiteX1738" fmla="*/ 5101495 w 6251734"/>
              <a:gd name="connsiteY1738" fmla="*/ 760378 h 5808721"/>
              <a:gd name="connsiteX1739" fmla="*/ 5107496 w 6251734"/>
              <a:gd name="connsiteY1739" fmla="*/ 760378 h 5808721"/>
              <a:gd name="connsiteX1740" fmla="*/ 5108353 w 6251734"/>
              <a:gd name="connsiteY1740" fmla="*/ 760378 h 5808721"/>
              <a:gd name="connsiteX1741" fmla="*/ 5114354 w 6251734"/>
              <a:gd name="connsiteY1741" fmla="*/ 760378 h 5808721"/>
              <a:gd name="connsiteX1742" fmla="*/ 5275516 w 6251734"/>
              <a:gd name="connsiteY1742" fmla="*/ 1171000 h 5808721"/>
              <a:gd name="connsiteX1743" fmla="*/ 5192363 w 6251734"/>
              <a:gd name="connsiteY1743" fmla="*/ 1351880 h 5808721"/>
              <a:gd name="connsiteX1744" fmla="*/ 5120354 w 6251734"/>
              <a:gd name="connsiteY1744" fmla="*/ 1351880 h 5808721"/>
              <a:gd name="connsiteX1745" fmla="*/ 5107496 w 6251734"/>
              <a:gd name="connsiteY1745" fmla="*/ 1351880 h 5808721"/>
              <a:gd name="connsiteX1746" fmla="*/ 5029486 w 6251734"/>
              <a:gd name="connsiteY1746" fmla="*/ 1351880 h 5808721"/>
              <a:gd name="connsiteX1747" fmla="*/ 4943761 w 6251734"/>
              <a:gd name="connsiteY1747" fmla="*/ 1171000 h 5808721"/>
              <a:gd name="connsiteX1748" fmla="*/ 5101495 w 6251734"/>
              <a:gd name="connsiteY1748" fmla="*/ 760378 h 5808721"/>
              <a:gd name="connsiteX1749" fmla="*/ 3975068 w 6251734"/>
              <a:gd name="connsiteY1749" fmla="*/ 748379 h 5808721"/>
              <a:gd name="connsiteX1750" fmla="*/ 4329113 w 6251734"/>
              <a:gd name="connsiteY1750" fmla="*/ 991837 h 5808721"/>
              <a:gd name="connsiteX1751" fmla="*/ 4023074 w 6251734"/>
              <a:gd name="connsiteY1751" fmla="*/ 1384458 h 5808721"/>
              <a:gd name="connsiteX1752" fmla="*/ 3545586 w 6251734"/>
              <a:gd name="connsiteY1752" fmla="*/ 1825939 h 5808721"/>
              <a:gd name="connsiteX1753" fmla="*/ 3975068 w 6251734"/>
              <a:gd name="connsiteY1753" fmla="*/ 748379 h 5808721"/>
              <a:gd name="connsiteX1754" fmla="*/ 912543 w 6251734"/>
              <a:gd name="connsiteY1754" fmla="*/ 703049 h 5808721"/>
              <a:gd name="connsiteX1755" fmla="*/ 921544 w 6251734"/>
              <a:gd name="connsiteY1755" fmla="*/ 710657 h 5808721"/>
              <a:gd name="connsiteX1756" fmla="*/ 942953 w 6251734"/>
              <a:gd name="connsiteY1756" fmla="*/ 752806 h 5808721"/>
              <a:gd name="connsiteX1757" fmla="*/ 953423 w 6251734"/>
              <a:gd name="connsiteY1757" fmla="*/ 749943 h 5808721"/>
              <a:gd name="connsiteX1758" fmla="*/ 1032987 w 6251734"/>
              <a:gd name="connsiteY1758" fmla="*/ 794666 h 5808721"/>
              <a:gd name="connsiteX1759" fmla="*/ 1041260 w 6251734"/>
              <a:gd name="connsiteY1759" fmla="*/ 842585 h 5808721"/>
              <a:gd name="connsiteX1760" fmla="*/ 1028104 w 6251734"/>
              <a:gd name="connsiteY1760" fmla="*/ 872891 h 5808721"/>
              <a:gd name="connsiteX1761" fmla="*/ 1072875 w 6251734"/>
              <a:gd name="connsiteY1761" fmla="*/ 914092 h 5808721"/>
              <a:gd name="connsiteX1762" fmla="*/ 1425608 w 6251734"/>
              <a:gd name="connsiteY1762" fmla="*/ 1247295 h 5808721"/>
              <a:gd name="connsiteX1763" fmla="*/ 1321023 w 6251734"/>
              <a:gd name="connsiteY1763" fmla="*/ 1216434 h 5808721"/>
              <a:gd name="connsiteX1764" fmla="*/ 1018681 w 6251734"/>
              <a:gd name="connsiteY1764" fmla="*/ 943748 h 5808721"/>
              <a:gd name="connsiteX1765" fmla="*/ 1011064 w 6251734"/>
              <a:gd name="connsiteY1765" fmla="*/ 936811 h 5808721"/>
              <a:gd name="connsiteX1766" fmla="*/ 1026129 w 6251734"/>
              <a:gd name="connsiteY1766" fmla="*/ 1357885 h 5808721"/>
              <a:gd name="connsiteX1767" fmla="*/ 993553 w 6251734"/>
              <a:gd name="connsiteY1767" fmla="*/ 1456468 h 5808721"/>
              <a:gd name="connsiteX1768" fmla="*/ 966978 w 6251734"/>
              <a:gd name="connsiteY1768" fmla="*/ 1357028 h 5808721"/>
              <a:gd name="connsiteX1769" fmla="*/ 946039 w 6251734"/>
              <a:gd name="connsiteY1769" fmla="*/ 912474 h 5808721"/>
              <a:gd name="connsiteX1770" fmla="*/ 933546 w 6251734"/>
              <a:gd name="connsiteY1770" fmla="*/ 910931 h 5808721"/>
              <a:gd name="connsiteX1771" fmla="*/ 885540 w 6251734"/>
              <a:gd name="connsiteY1771" fmla="*/ 870104 h 5808721"/>
              <a:gd name="connsiteX1772" fmla="*/ 896028 w 6251734"/>
              <a:gd name="connsiteY1772" fmla="*/ 778968 h 5808721"/>
              <a:gd name="connsiteX1773" fmla="*/ 914412 w 6251734"/>
              <a:gd name="connsiteY1773" fmla="*/ 764338 h 5808721"/>
              <a:gd name="connsiteX1774" fmla="*/ 894112 w 6251734"/>
              <a:gd name="connsiteY1774" fmla="*/ 724373 h 5808721"/>
              <a:gd name="connsiteX1775" fmla="*/ 900970 w 6251734"/>
              <a:gd name="connsiteY1775" fmla="*/ 703799 h 5808721"/>
              <a:gd name="connsiteX1776" fmla="*/ 912543 w 6251734"/>
              <a:gd name="connsiteY1776" fmla="*/ 703049 h 5808721"/>
              <a:gd name="connsiteX1777" fmla="*/ 2061687 w 6251734"/>
              <a:gd name="connsiteY1777" fmla="*/ 342898 h 5808721"/>
              <a:gd name="connsiteX1778" fmla="*/ 2155984 w 6251734"/>
              <a:gd name="connsiteY1778" fmla="*/ 577785 h 5808721"/>
              <a:gd name="connsiteX1779" fmla="*/ 2061687 w 6251734"/>
              <a:gd name="connsiteY1779" fmla="*/ 342898 h 5808721"/>
              <a:gd name="connsiteX1780" fmla="*/ 1985392 w 6251734"/>
              <a:gd name="connsiteY1780" fmla="*/ 278605 h 5808721"/>
              <a:gd name="connsiteX1781" fmla="*/ 1991393 w 6251734"/>
              <a:gd name="connsiteY1781" fmla="*/ 278605 h 5808721"/>
              <a:gd name="connsiteX1782" fmla="*/ 1992250 w 6251734"/>
              <a:gd name="connsiteY1782" fmla="*/ 278605 h 5808721"/>
              <a:gd name="connsiteX1783" fmla="*/ 1998250 w 6251734"/>
              <a:gd name="connsiteY1783" fmla="*/ 278605 h 5808721"/>
              <a:gd name="connsiteX1784" fmla="*/ 2159413 w 6251734"/>
              <a:gd name="connsiteY1784" fmla="*/ 689228 h 5808721"/>
              <a:gd name="connsiteX1785" fmla="*/ 2076260 w 6251734"/>
              <a:gd name="connsiteY1785" fmla="*/ 870108 h 5808721"/>
              <a:gd name="connsiteX1786" fmla="*/ 2004251 w 6251734"/>
              <a:gd name="connsiteY1786" fmla="*/ 870108 h 5808721"/>
              <a:gd name="connsiteX1787" fmla="*/ 1991393 w 6251734"/>
              <a:gd name="connsiteY1787" fmla="*/ 870108 h 5808721"/>
              <a:gd name="connsiteX1788" fmla="*/ 1913383 w 6251734"/>
              <a:gd name="connsiteY1788" fmla="*/ 870108 h 5808721"/>
              <a:gd name="connsiteX1789" fmla="*/ 1827658 w 6251734"/>
              <a:gd name="connsiteY1789" fmla="*/ 689228 h 5808721"/>
              <a:gd name="connsiteX1790" fmla="*/ 1985392 w 6251734"/>
              <a:gd name="connsiteY1790" fmla="*/ 278605 h 5808721"/>
              <a:gd name="connsiteX1791" fmla="*/ 2776633 w 6251734"/>
              <a:gd name="connsiteY1791" fmla="*/ 269173 h 5808721"/>
              <a:gd name="connsiteX1792" fmla="*/ 2994375 w 6251734"/>
              <a:gd name="connsiteY1792" fmla="*/ 372043 h 5808721"/>
              <a:gd name="connsiteX1793" fmla="*/ 3212117 w 6251734"/>
              <a:gd name="connsiteY1793" fmla="*/ 269173 h 5808721"/>
              <a:gd name="connsiteX1794" fmla="*/ 3212117 w 6251734"/>
              <a:gd name="connsiteY1794" fmla="*/ 519491 h 5808721"/>
              <a:gd name="connsiteX1795" fmla="*/ 3000376 w 6251734"/>
              <a:gd name="connsiteY1795" fmla="*/ 593215 h 5808721"/>
              <a:gd name="connsiteX1796" fmla="*/ 2994375 w 6251734"/>
              <a:gd name="connsiteY1796" fmla="*/ 593215 h 5808721"/>
              <a:gd name="connsiteX1797" fmla="*/ 2988374 w 6251734"/>
              <a:gd name="connsiteY1797" fmla="*/ 593215 h 5808721"/>
              <a:gd name="connsiteX1798" fmla="*/ 2776633 w 6251734"/>
              <a:gd name="connsiteY1798" fmla="*/ 519491 h 5808721"/>
              <a:gd name="connsiteX1799" fmla="*/ 4064357 w 6251734"/>
              <a:gd name="connsiteY1799" fmla="*/ 122787 h 5808721"/>
              <a:gd name="connsiteX1800" fmla="*/ 4135375 w 6251734"/>
              <a:gd name="connsiteY1800" fmla="*/ 158590 h 5808721"/>
              <a:gd name="connsiteX1801" fmla="*/ 4367690 w 6251734"/>
              <a:gd name="connsiteY1801" fmla="*/ 158590 h 5808721"/>
              <a:gd name="connsiteX1802" fmla="*/ 4367690 w 6251734"/>
              <a:gd name="connsiteY1802" fmla="*/ 498920 h 5808721"/>
              <a:gd name="connsiteX1803" fmla="*/ 4130231 w 6251734"/>
              <a:gd name="connsiteY1803" fmla="*/ 500634 h 5808721"/>
              <a:gd name="connsiteX1804" fmla="*/ 3903059 w 6251734"/>
              <a:gd name="connsiteY1804" fmla="*/ 497205 h 5808721"/>
              <a:gd name="connsiteX1805" fmla="*/ 3903059 w 6251734"/>
              <a:gd name="connsiteY1805" fmla="*/ 158590 h 5808721"/>
              <a:gd name="connsiteX1806" fmla="*/ 4064357 w 6251734"/>
              <a:gd name="connsiteY1806" fmla="*/ 122787 h 5808721"/>
              <a:gd name="connsiteX1807" fmla="*/ 3009805 w 6251734"/>
              <a:gd name="connsiteY1807" fmla="*/ 0 h 5808721"/>
              <a:gd name="connsiteX1808" fmla="*/ 3364979 w 6251734"/>
              <a:gd name="connsiteY1808" fmla="*/ 158588 h 5808721"/>
              <a:gd name="connsiteX1809" fmla="*/ 3370707 w 6251734"/>
              <a:gd name="connsiteY1809" fmla="*/ 158588 h 5808721"/>
              <a:gd name="connsiteX1810" fmla="*/ 3370707 w 6251734"/>
              <a:gd name="connsiteY1810" fmla="*/ 161146 h 5808721"/>
              <a:gd name="connsiteX1811" fmla="*/ 3378423 w 6251734"/>
              <a:gd name="connsiteY1811" fmla="*/ 164591 h 5808721"/>
              <a:gd name="connsiteX1812" fmla="*/ 3370707 w 6251734"/>
              <a:gd name="connsiteY1812" fmla="*/ 168108 h 5808721"/>
              <a:gd name="connsiteX1813" fmla="*/ 3370707 w 6251734"/>
              <a:gd name="connsiteY1813" fmla="*/ 381755 h 5808721"/>
              <a:gd name="connsiteX1814" fmla="*/ 3385709 w 6251734"/>
              <a:gd name="connsiteY1814" fmla="*/ 387903 h 5808721"/>
              <a:gd name="connsiteX1815" fmla="*/ 3396425 w 6251734"/>
              <a:gd name="connsiteY1815" fmla="*/ 414049 h 5808721"/>
              <a:gd name="connsiteX1816" fmla="*/ 3385388 w 6251734"/>
              <a:gd name="connsiteY1816" fmla="*/ 440517 h 5808721"/>
              <a:gd name="connsiteX1817" fmla="*/ 3384653 w 6251734"/>
              <a:gd name="connsiteY1817" fmla="*/ 440813 h 5808721"/>
              <a:gd name="connsiteX1818" fmla="*/ 3392352 w 6251734"/>
              <a:gd name="connsiteY1818" fmla="*/ 468698 h 5808721"/>
              <a:gd name="connsiteX1819" fmla="*/ 3396424 w 6251734"/>
              <a:gd name="connsiteY1819" fmla="*/ 582069 h 5808721"/>
              <a:gd name="connsiteX1820" fmla="*/ 3366421 w 6251734"/>
              <a:gd name="connsiteY1820" fmla="*/ 582069 h 5808721"/>
              <a:gd name="connsiteX1821" fmla="*/ 3324416 w 6251734"/>
              <a:gd name="connsiteY1821" fmla="*/ 582069 h 5808721"/>
              <a:gd name="connsiteX1822" fmla="*/ 3329238 w 6251734"/>
              <a:gd name="connsiteY1822" fmla="*/ 468698 h 5808721"/>
              <a:gd name="connsiteX1823" fmla="*/ 3336806 w 6251734"/>
              <a:gd name="connsiteY1823" fmla="*/ 441584 h 5808721"/>
              <a:gd name="connsiteX1824" fmla="*/ 3333417 w 6251734"/>
              <a:gd name="connsiteY1824" fmla="*/ 440196 h 5808721"/>
              <a:gd name="connsiteX1825" fmla="*/ 3322701 w 6251734"/>
              <a:gd name="connsiteY1825" fmla="*/ 414049 h 5808721"/>
              <a:gd name="connsiteX1826" fmla="*/ 3333417 w 6251734"/>
              <a:gd name="connsiteY1826" fmla="*/ 387903 h 5808721"/>
              <a:gd name="connsiteX1827" fmla="*/ 3347562 w 6251734"/>
              <a:gd name="connsiteY1827" fmla="*/ 382106 h 5808721"/>
              <a:gd name="connsiteX1828" fmla="*/ 3347562 w 6251734"/>
              <a:gd name="connsiteY1828" fmla="*/ 178657 h 5808721"/>
              <a:gd name="connsiteX1829" fmla="*/ 3000375 w 6251734"/>
              <a:gd name="connsiteY1829" fmla="*/ 336899 h 5808721"/>
              <a:gd name="connsiteX1830" fmla="*/ 2628328 w 6251734"/>
              <a:gd name="connsiteY1830" fmla="*/ 168878 h 5808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Lst>
            <a:rect l="l" t="t" r="r" b="b"/>
            <a:pathLst>
              <a:path w="6251734" h="5808721">
                <a:moveTo>
                  <a:pt x="3807697" y="5598000"/>
                </a:moveTo>
                <a:lnTo>
                  <a:pt x="3792649" y="5610966"/>
                </a:lnTo>
                <a:lnTo>
                  <a:pt x="3724407" y="5654281"/>
                </a:lnTo>
                <a:lnTo>
                  <a:pt x="3737518" y="5683584"/>
                </a:lnTo>
                <a:cubicBezTo>
                  <a:pt x="3757635" y="5720397"/>
                  <a:pt x="3781865" y="5741855"/>
                  <a:pt x="3807904" y="5741855"/>
                </a:cubicBezTo>
                <a:cubicBezTo>
                  <a:pt x="3833943" y="5741855"/>
                  <a:pt x="3858174" y="5720397"/>
                  <a:pt x="3878291" y="5683584"/>
                </a:cubicBezTo>
                <a:lnTo>
                  <a:pt x="3891370" y="5654352"/>
                </a:lnTo>
                <a:lnTo>
                  <a:pt x="3821929" y="5610228"/>
                </a:lnTo>
                <a:close/>
                <a:moveTo>
                  <a:pt x="3827101" y="5549255"/>
                </a:moveTo>
                <a:lnTo>
                  <a:pt x="3807904" y="5550689"/>
                </a:lnTo>
                <a:lnTo>
                  <a:pt x="3788212" y="5549599"/>
                </a:lnTo>
                <a:lnTo>
                  <a:pt x="3807470" y="5566172"/>
                </a:lnTo>
                <a:close/>
                <a:moveTo>
                  <a:pt x="3694058" y="5544387"/>
                </a:moveTo>
                <a:lnTo>
                  <a:pt x="3703452" y="5591293"/>
                </a:lnTo>
                <a:lnTo>
                  <a:pt x="3714172" y="5626491"/>
                </a:lnTo>
                <a:lnTo>
                  <a:pt x="3722717" y="5622628"/>
                </a:lnTo>
                <a:lnTo>
                  <a:pt x="3788068" y="5581136"/>
                </a:lnTo>
                <a:lnTo>
                  <a:pt x="3748826" y="5547419"/>
                </a:lnTo>
                <a:close/>
                <a:moveTo>
                  <a:pt x="3922198" y="5542152"/>
                </a:moveTo>
                <a:lnTo>
                  <a:pt x="3867799" y="5546215"/>
                </a:lnTo>
                <a:lnTo>
                  <a:pt x="3827145" y="5581244"/>
                </a:lnTo>
                <a:lnTo>
                  <a:pt x="3901775" y="5626039"/>
                </a:lnTo>
                <a:lnTo>
                  <a:pt x="3912357" y="5591293"/>
                </a:lnTo>
                <a:close/>
                <a:moveTo>
                  <a:pt x="3568695" y="5521810"/>
                </a:moveTo>
                <a:lnTo>
                  <a:pt x="3557706" y="5550648"/>
                </a:lnTo>
                <a:cubicBezTo>
                  <a:pt x="3545907" y="5590927"/>
                  <a:pt x="3547836" y="5623235"/>
                  <a:pt x="3566160" y="5641559"/>
                </a:cubicBezTo>
                <a:cubicBezTo>
                  <a:pt x="3586774" y="5662535"/>
                  <a:pt x="3625087" y="5662456"/>
                  <a:pt x="3672538" y="5645312"/>
                </a:cubicBezTo>
                <a:lnTo>
                  <a:pt x="3686711" y="5638905"/>
                </a:lnTo>
                <a:lnTo>
                  <a:pt x="3683653" y="5628857"/>
                </a:lnTo>
                <a:cubicBezTo>
                  <a:pt x="3678238" y="5607150"/>
                  <a:pt x="3673570" y="5583954"/>
                  <a:pt x="3669753" y="5559542"/>
                </a:cubicBezTo>
                <a:lnTo>
                  <a:pt x="3668350" y="5540767"/>
                </a:lnTo>
                <a:lnTo>
                  <a:pt x="3579717" y="5525147"/>
                </a:lnTo>
                <a:close/>
                <a:moveTo>
                  <a:pt x="4046585" y="5520939"/>
                </a:moveTo>
                <a:lnTo>
                  <a:pt x="3966777" y="5538822"/>
                </a:lnTo>
                <a:lnTo>
                  <a:pt x="3947602" y="5540254"/>
                </a:lnTo>
                <a:lnTo>
                  <a:pt x="3946176" y="5559542"/>
                </a:lnTo>
                <a:cubicBezTo>
                  <a:pt x="3942392" y="5583954"/>
                  <a:pt x="3937761" y="5607150"/>
                  <a:pt x="3932381" y="5628857"/>
                </a:cubicBezTo>
                <a:lnTo>
                  <a:pt x="3929132" y="5639587"/>
                </a:lnTo>
                <a:lnTo>
                  <a:pt x="3958740" y="5650869"/>
                </a:lnTo>
                <a:cubicBezTo>
                  <a:pt x="3999019" y="5662668"/>
                  <a:pt x="4031327" y="5660739"/>
                  <a:pt x="4049650" y="5642415"/>
                </a:cubicBezTo>
                <a:cubicBezTo>
                  <a:pt x="4067974" y="5623770"/>
                  <a:pt x="4069903" y="5591382"/>
                  <a:pt x="4058104" y="5551128"/>
                </a:cubicBezTo>
                <a:close/>
                <a:moveTo>
                  <a:pt x="3688846" y="5493292"/>
                </a:moveTo>
                <a:lnTo>
                  <a:pt x="3690677" y="5517905"/>
                </a:lnTo>
                <a:lnTo>
                  <a:pt x="3706306" y="5520689"/>
                </a:lnTo>
                <a:lnTo>
                  <a:pt x="3718556" y="5521412"/>
                </a:lnTo>
                <a:lnTo>
                  <a:pt x="3700748" y="5506112"/>
                </a:lnTo>
                <a:close/>
                <a:moveTo>
                  <a:pt x="3927084" y="5491676"/>
                </a:moveTo>
                <a:lnTo>
                  <a:pt x="3913348" y="5506970"/>
                </a:lnTo>
                <a:lnTo>
                  <a:pt x="3898270" y="5519961"/>
                </a:lnTo>
                <a:lnTo>
                  <a:pt x="3925127" y="5517962"/>
                </a:lnTo>
                <a:close/>
                <a:moveTo>
                  <a:pt x="2666906" y="5428104"/>
                </a:moveTo>
                <a:lnTo>
                  <a:pt x="2906936" y="5566121"/>
                </a:lnTo>
                <a:lnTo>
                  <a:pt x="2986661" y="5428961"/>
                </a:lnTo>
                <a:close/>
                <a:moveTo>
                  <a:pt x="2421698" y="5427947"/>
                </a:moveTo>
                <a:lnTo>
                  <a:pt x="2911499" y="5711122"/>
                </a:lnTo>
                <a:lnTo>
                  <a:pt x="2873313" y="5777171"/>
                </a:lnTo>
                <a:lnTo>
                  <a:pt x="2383512" y="5493996"/>
                </a:lnTo>
                <a:close/>
                <a:moveTo>
                  <a:pt x="3626020" y="5422235"/>
                </a:moveTo>
                <a:lnTo>
                  <a:pt x="3598818" y="5461243"/>
                </a:lnTo>
                <a:lnTo>
                  <a:pt x="3581388" y="5494011"/>
                </a:lnTo>
                <a:lnTo>
                  <a:pt x="3616801" y="5504746"/>
                </a:lnTo>
                <a:lnTo>
                  <a:pt x="3666318" y="5513566"/>
                </a:lnTo>
                <a:lnTo>
                  <a:pt x="3662700" y="5465131"/>
                </a:lnTo>
                <a:lnTo>
                  <a:pt x="3644732" y="5445778"/>
                </a:lnTo>
                <a:close/>
                <a:moveTo>
                  <a:pt x="3990100" y="5421513"/>
                </a:moveTo>
                <a:lnTo>
                  <a:pt x="3953357" y="5462423"/>
                </a:lnTo>
                <a:lnTo>
                  <a:pt x="3949475" y="5514925"/>
                </a:lnTo>
                <a:lnTo>
                  <a:pt x="4025703" y="5497859"/>
                </a:lnTo>
                <a:lnTo>
                  <a:pt x="4034309" y="5494362"/>
                </a:lnTo>
                <a:lnTo>
                  <a:pt x="4016993" y="5461874"/>
                </a:lnTo>
                <a:close/>
                <a:moveTo>
                  <a:pt x="3956426" y="5380419"/>
                </a:moveTo>
                <a:lnTo>
                  <a:pt x="3957923" y="5400670"/>
                </a:lnTo>
                <a:lnTo>
                  <a:pt x="3956295" y="5422687"/>
                </a:lnTo>
                <a:lnTo>
                  <a:pt x="3964989" y="5412959"/>
                </a:lnTo>
                <a:lnTo>
                  <a:pt x="3973699" y="5400468"/>
                </a:lnTo>
                <a:close/>
                <a:moveTo>
                  <a:pt x="3659650" y="5376790"/>
                </a:moveTo>
                <a:lnTo>
                  <a:pt x="3650822" y="5386669"/>
                </a:lnTo>
                <a:lnTo>
                  <a:pt x="3641492" y="5400048"/>
                </a:lnTo>
                <a:lnTo>
                  <a:pt x="3659392" y="5420848"/>
                </a:lnTo>
                <a:lnTo>
                  <a:pt x="3657885" y="5400670"/>
                </a:lnTo>
                <a:close/>
                <a:moveTo>
                  <a:pt x="2450878" y="5356093"/>
                </a:moveTo>
                <a:lnTo>
                  <a:pt x="3103247" y="5381811"/>
                </a:lnTo>
                <a:lnTo>
                  <a:pt x="2950656" y="5644988"/>
                </a:lnTo>
                <a:close/>
                <a:moveTo>
                  <a:pt x="3808763" y="5338091"/>
                </a:moveTo>
                <a:cubicBezTo>
                  <a:pt x="3843053" y="5338091"/>
                  <a:pt x="3871342" y="5365523"/>
                  <a:pt x="3871342" y="5400671"/>
                </a:cubicBezTo>
                <a:cubicBezTo>
                  <a:pt x="3871342" y="5434961"/>
                  <a:pt x="3843053" y="5463250"/>
                  <a:pt x="3808763" y="5463250"/>
                </a:cubicBezTo>
                <a:cubicBezTo>
                  <a:pt x="3774473" y="5463250"/>
                  <a:pt x="3746183" y="5435818"/>
                  <a:pt x="3746183" y="5400671"/>
                </a:cubicBezTo>
                <a:cubicBezTo>
                  <a:pt x="3746183" y="5366381"/>
                  <a:pt x="3773615" y="5338091"/>
                  <a:pt x="3808763" y="5338091"/>
                </a:cubicBezTo>
                <a:close/>
                <a:moveTo>
                  <a:pt x="3553198" y="5318476"/>
                </a:moveTo>
                <a:lnTo>
                  <a:pt x="3524133" y="5330284"/>
                </a:lnTo>
                <a:cubicBezTo>
                  <a:pt x="3487320" y="5350400"/>
                  <a:pt x="3465862" y="5374631"/>
                  <a:pt x="3465862" y="5400670"/>
                </a:cubicBezTo>
                <a:cubicBezTo>
                  <a:pt x="3465862" y="5426709"/>
                  <a:pt x="3487440" y="5450819"/>
                  <a:pt x="3524359" y="5470831"/>
                </a:cubicBezTo>
                <a:lnTo>
                  <a:pt x="3552494" y="5483326"/>
                </a:lnTo>
                <a:lnTo>
                  <a:pt x="3557534" y="5473887"/>
                </a:lnTo>
                <a:lnTo>
                  <a:pt x="3608797" y="5400567"/>
                </a:lnTo>
                <a:lnTo>
                  <a:pt x="3596753" y="5385414"/>
                </a:lnTo>
                <a:cubicBezTo>
                  <a:pt x="3582180" y="5365463"/>
                  <a:pt x="3569066" y="5345769"/>
                  <a:pt x="3557534" y="5326597"/>
                </a:cubicBezTo>
                <a:close/>
                <a:moveTo>
                  <a:pt x="4062445" y="5317336"/>
                </a:moveTo>
                <a:lnTo>
                  <a:pt x="4057165" y="5327229"/>
                </a:lnTo>
                <a:lnTo>
                  <a:pt x="4006091" y="5400156"/>
                </a:lnTo>
                <a:lnTo>
                  <a:pt x="4017343" y="5414333"/>
                </a:lnTo>
                <a:cubicBezTo>
                  <a:pt x="4031916" y="5434318"/>
                  <a:pt x="4045029" y="5454048"/>
                  <a:pt x="4056562" y="5473256"/>
                </a:cubicBezTo>
                <a:lnTo>
                  <a:pt x="4061849" y="5483174"/>
                </a:lnTo>
                <a:lnTo>
                  <a:pt x="4091676" y="5471057"/>
                </a:lnTo>
                <a:cubicBezTo>
                  <a:pt x="4128489" y="5450940"/>
                  <a:pt x="4149947" y="5426709"/>
                  <a:pt x="4149947" y="5400670"/>
                </a:cubicBezTo>
                <a:cubicBezTo>
                  <a:pt x="4149947" y="5374631"/>
                  <a:pt x="4128368" y="5350401"/>
                  <a:pt x="4091450" y="5330284"/>
                </a:cubicBezTo>
                <a:close/>
                <a:moveTo>
                  <a:pt x="3949551" y="5287441"/>
                </a:moveTo>
                <a:lnTo>
                  <a:pt x="3953173" y="5336435"/>
                </a:lnTo>
                <a:lnTo>
                  <a:pt x="3969364" y="5353884"/>
                </a:lnTo>
                <a:lnTo>
                  <a:pt x="3988964" y="5378578"/>
                </a:lnTo>
                <a:lnTo>
                  <a:pt x="4016993" y="5338385"/>
                </a:lnTo>
                <a:lnTo>
                  <a:pt x="4033793" y="5306800"/>
                </a:lnTo>
                <a:lnTo>
                  <a:pt x="3999007" y="5296218"/>
                </a:lnTo>
                <a:close/>
                <a:moveTo>
                  <a:pt x="3666333" y="5286416"/>
                </a:moveTo>
                <a:lnTo>
                  <a:pt x="3590106" y="5303482"/>
                </a:lnTo>
                <a:lnTo>
                  <a:pt x="3581629" y="5306926"/>
                </a:lnTo>
                <a:lnTo>
                  <a:pt x="3598818" y="5339241"/>
                </a:lnTo>
                <a:lnTo>
                  <a:pt x="3625164" y="5378866"/>
                </a:lnTo>
                <a:lnTo>
                  <a:pt x="3662590" y="5337028"/>
                </a:lnTo>
                <a:close/>
                <a:moveTo>
                  <a:pt x="1925384" y="5284084"/>
                </a:moveTo>
                <a:cubicBezTo>
                  <a:pt x="1892808" y="5284084"/>
                  <a:pt x="1867091" y="5310659"/>
                  <a:pt x="1867091" y="5343235"/>
                </a:cubicBezTo>
                <a:cubicBezTo>
                  <a:pt x="1867091" y="5375810"/>
                  <a:pt x="1892808" y="5402385"/>
                  <a:pt x="1925384" y="5402385"/>
                </a:cubicBezTo>
                <a:cubicBezTo>
                  <a:pt x="1957959" y="5402385"/>
                  <a:pt x="1983677" y="5375810"/>
                  <a:pt x="1983677" y="5343235"/>
                </a:cubicBezTo>
                <a:cubicBezTo>
                  <a:pt x="1983677" y="5310659"/>
                  <a:pt x="1957959" y="5284084"/>
                  <a:pt x="1925384" y="5284084"/>
                </a:cubicBezTo>
                <a:close/>
                <a:moveTo>
                  <a:pt x="3715682" y="5281518"/>
                </a:moveTo>
                <a:lnTo>
                  <a:pt x="3690553" y="5283388"/>
                </a:lnTo>
                <a:lnTo>
                  <a:pt x="3688737" y="5307799"/>
                </a:lnTo>
                <a:lnTo>
                  <a:pt x="3700748" y="5294372"/>
                </a:lnTo>
                <a:close/>
                <a:moveTo>
                  <a:pt x="3897255" y="5279649"/>
                </a:moveTo>
                <a:lnTo>
                  <a:pt x="3913348" y="5293515"/>
                </a:lnTo>
                <a:lnTo>
                  <a:pt x="3927113" y="5308350"/>
                </a:lnTo>
                <a:lnTo>
                  <a:pt x="3925236" y="5283126"/>
                </a:lnTo>
                <a:lnTo>
                  <a:pt x="3909502" y="5280333"/>
                </a:lnTo>
                <a:close/>
                <a:moveTo>
                  <a:pt x="3807904" y="5274654"/>
                </a:moveTo>
                <a:lnTo>
                  <a:pt x="3756063" y="5278512"/>
                </a:lnTo>
                <a:lnTo>
                  <a:pt x="3718751" y="5310660"/>
                </a:lnTo>
                <a:lnTo>
                  <a:pt x="3685778" y="5347555"/>
                </a:lnTo>
                <a:lnTo>
                  <a:pt x="3681889" y="5399812"/>
                </a:lnTo>
                <a:lnTo>
                  <a:pt x="3685732" y="5451455"/>
                </a:lnTo>
                <a:lnTo>
                  <a:pt x="3718751" y="5489824"/>
                </a:lnTo>
                <a:lnTo>
                  <a:pt x="3758175" y="5523751"/>
                </a:lnTo>
                <a:lnTo>
                  <a:pt x="3807904" y="5526686"/>
                </a:lnTo>
                <a:lnTo>
                  <a:pt x="3857581" y="5522989"/>
                </a:lnTo>
                <a:lnTo>
                  <a:pt x="3897060" y="5488968"/>
                </a:lnTo>
                <a:lnTo>
                  <a:pt x="3930031" y="5452075"/>
                </a:lnTo>
                <a:lnTo>
                  <a:pt x="3933920" y="5399812"/>
                </a:lnTo>
                <a:lnTo>
                  <a:pt x="3930213" y="5349995"/>
                </a:lnTo>
                <a:lnTo>
                  <a:pt x="3897060" y="5311517"/>
                </a:lnTo>
                <a:lnTo>
                  <a:pt x="3857442" y="5277423"/>
                </a:lnTo>
                <a:close/>
                <a:moveTo>
                  <a:pt x="3807355" y="5234320"/>
                </a:moveTo>
                <a:lnTo>
                  <a:pt x="3786569" y="5252229"/>
                </a:lnTo>
                <a:lnTo>
                  <a:pt x="3807904" y="5250651"/>
                </a:lnTo>
                <a:lnTo>
                  <a:pt x="3827599" y="5251741"/>
                </a:lnTo>
                <a:close/>
                <a:moveTo>
                  <a:pt x="1827657" y="5200074"/>
                </a:moveTo>
                <a:cubicBezTo>
                  <a:pt x="1797654" y="5200074"/>
                  <a:pt x="1773650" y="5224934"/>
                  <a:pt x="1773650" y="5254938"/>
                </a:cubicBezTo>
                <a:cubicBezTo>
                  <a:pt x="1773650" y="5284942"/>
                  <a:pt x="1797654" y="5309802"/>
                  <a:pt x="1827657" y="5309802"/>
                </a:cubicBezTo>
                <a:cubicBezTo>
                  <a:pt x="1857661" y="5309802"/>
                  <a:pt x="1881664" y="5284942"/>
                  <a:pt x="1881664" y="5254938"/>
                </a:cubicBezTo>
                <a:cubicBezTo>
                  <a:pt x="1881664" y="5224934"/>
                  <a:pt x="1857661" y="5200074"/>
                  <a:pt x="1827657" y="5200074"/>
                </a:cubicBezTo>
                <a:close/>
                <a:moveTo>
                  <a:pt x="3713592" y="5175036"/>
                </a:moveTo>
                <a:lnTo>
                  <a:pt x="3703452" y="5208333"/>
                </a:lnTo>
                <a:lnTo>
                  <a:pt x="3693280" y="5259127"/>
                </a:lnTo>
                <a:lnTo>
                  <a:pt x="3746245" y="5255210"/>
                </a:lnTo>
                <a:lnTo>
                  <a:pt x="3787708" y="5219522"/>
                </a:lnTo>
                <a:close/>
                <a:moveTo>
                  <a:pt x="3901951" y="5174164"/>
                </a:moveTo>
                <a:lnTo>
                  <a:pt x="3827088" y="5219192"/>
                </a:lnTo>
                <a:lnTo>
                  <a:pt x="3867424" y="5253946"/>
                </a:lnTo>
                <a:lnTo>
                  <a:pt x="3922098" y="5256973"/>
                </a:lnTo>
                <a:lnTo>
                  <a:pt x="3912357" y="5208333"/>
                </a:lnTo>
                <a:close/>
                <a:moveTo>
                  <a:pt x="4932831" y="5171785"/>
                </a:moveTo>
                <a:cubicBezTo>
                  <a:pt x="4907114" y="5167928"/>
                  <a:pt x="4879896" y="5173928"/>
                  <a:pt x="4857179" y="5190645"/>
                </a:cubicBezTo>
                <a:cubicBezTo>
                  <a:pt x="4811745" y="5224077"/>
                  <a:pt x="4802315" y="5287514"/>
                  <a:pt x="4836605" y="5332091"/>
                </a:cubicBezTo>
                <a:cubicBezTo>
                  <a:pt x="4869181" y="5377525"/>
                  <a:pt x="4932617" y="5386955"/>
                  <a:pt x="4978051" y="5353523"/>
                </a:cubicBezTo>
                <a:cubicBezTo>
                  <a:pt x="5023486" y="5320947"/>
                  <a:pt x="5032916" y="5256653"/>
                  <a:pt x="4999483" y="5212076"/>
                </a:cubicBezTo>
                <a:cubicBezTo>
                  <a:pt x="4982766" y="5189359"/>
                  <a:pt x="4958549" y="5175643"/>
                  <a:pt x="4932831" y="5171785"/>
                </a:cubicBezTo>
                <a:close/>
                <a:moveTo>
                  <a:pt x="3619671" y="5143348"/>
                </a:moveTo>
                <a:cubicBezTo>
                  <a:pt x="3596806" y="5141780"/>
                  <a:pt x="3578376" y="5146710"/>
                  <a:pt x="3566160" y="5158925"/>
                </a:cubicBezTo>
                <a:cubicBezTo>
                  <a:pt x="3547836" y="5177249"/>
                  <a:pt x="3545907" y="5209557"/>
                  <a:pt x="3557706" y="5249836"/>
                </a:cubicBezTo>
                <a:lnTo>
                  <a:pt x="3569257" y="5280149"/>
                </a:lnTo>
                <a:lnTo>
                  <a:pt x="3649032" y="5262398"/>
                </a:lnTo>
                <a:lnTo>
                  <a:pt x="3668214" y="5260980"/>
                </a:lnTo>
                <a:lnTo>
                  <a:pt x="3669632" y="5241797"/>
                </a:lnTo>
                <a:cubicBezTo>
                  <a:pt x="3673416" y="5217386"/>
                  <a:pt x="3678047" y="5194190"/>
                  <a:pt x="3683427" y="5172482"/>
                </a:cubicBezTo>
                <a:lnTo>
                  <a:pt x="3686676" y="5161753"/>
                </a:lnTo>
                <a:lnTo>
                  <a:pt x="3657070" y="5150472"/>
                </a:lnTo>
                <a:cubicBezTo>
                  <a:pt x="3643644" y="5146539"/>
                  <a:pt x="3631103" y="5144131"/>
                  <a:pt x="3619671" y="5143348"/>
                </a:cubicBezTo>
                <a:close/>
                <a:moveTo>
                  <a:pt x="3995778" y="5142491"/>
                </a:moveTo>
                <a:cubicBezTo>
                  <a:pt x="3984325" y="5143275"/>
                  <a:pt x="3971781" y="5145682"/>
                  <a:pt x="3958364" y="5149615"/>
                </a:cubicBezTo>
                <a:lnTo>
                  <a:pt x="3928865" y="5160870"/>
                </a:lnTo>
                <a:lnTo>
                  <a:pt x="3932381" y="5172482"/>
                </a:lnTo>
                <a:cubicBezTo>
                  <a:pt x="3937761" y="5194190"/>
                  <a:pt x="3942392" y="5217386"/>
                  <a:pt x="3946176" y="5241797"/>
                </a:cubicBezTo>
                <a:lnTo>
                  <a:pt x="3947566" y="5260592"/>
                </a:lnTo>
                <a:lnTo>
                  <a:pt x="4036092" y="5276193"/>
                </a:lnTo>
                <a:lnTo>
                  <a:pt x="4046530" y="5279354"/>
                </a:lnTo>
                <a:lnTo>
                  <a:pt x="4058104" y="5248980"/>
                </a:lnTo>
                <a:cubicBezTo>
                  <a:pt x="4069903" y="5208700"/>
                  <a:pt x="4067974" y="5176393"/>
                  <a:pt x="4049650" y="5158069"/>
                </a:cubicBezTo>
                <a:cubicBezTo>
                  <a:pt x="4037220" y="5145853"/>
                  <a:pt x="4018682" y="5140924"/>
                  <a:pt x="3995778" y="5142491"/>
                </a:cubicBezTo>
                <a:close/>
                <a:moveTo>
                  <a:pt x="1795082" y="5089489"/>
                </a:moveTo>
                <a:cubicBezTo>
                  <a:pt x="1769364" y="5089489"/>
                  <a:pt x="1747933" y="5110920"/>
                  <a:pt x="1747933" y="5137495"/>
                </a:cubicBezTo>
                <a:cubicBezTo>
                  <a:pt x="1747933" y="5164069"/>
                  <a:pt x="1768507" y="5185501"/>
                  <a:pt x="1795082" y="5185501"/>
                </a:cubicBezTo>
                <a:cubicBezTo>
                  <a:pt x="1801511" y="5185501"/>
                  <a:pt x="1807672" y="5184161"/>
                  <a:pt x="1813298" y="5181737"/>
                </a:cubicBezTo>
                <a:lnTo>
                  <a:pt x="1824372" y="5174153"/>
                </a:lnTo>
                <a:lnTo>
                  <a:pt x="1839840" y="5131531"/>
                </a:lnTo>
                <a:lnTo>
                  <a:pt x="1828621" y="5103526"/>
                </a:lnTo>
                <a:cubicBezTo>
                  <a:pt x="1820156" y="5094847"/>
                  <a:pt x="1808369" y="5089489"/>
                  <a:pt x="1795082" y="5089489"/>
                </a:cubicBezTo>
                <a:close/>
                <a:moveTo>
                  <a:pt x="3807904" y="5057770"/>
                </a:moveTo>
                <a:cubicBezTo>
                  <a:pt x="3781865" y="5057770"/>
                  <a:pt x="3757635" y="5079228"/>
                  <a:pt x="3737518" y="5116041"/>
                </a:cubicBezTo>
                <a:lnTo>
                  <a:pt x="3724435" y="5145282"/>
                </a:lnTo>
                <a:lnTo>
                  <a:pt x="3733832" y="5150300"/>
                </a:lnTo>
                <a:cubicBezTo>
                  <a:pt x="3753004" y="5161833"/>
                  <a:pt x="3772698" y="5174946"/>
                  <a:pt x="3792649" y="5189519"/>
                </a:cubicBezTo>
                <a:lnTo>
                  <a:pt x="3807599" y="5202400"/>
                </a:lnTo>
                <a:lnTo>
                  <a:pt x="3821568" y="5190377"/>
                </a:lnTo>
                <a:cubicBezTo>
                  <a:pt x="3841553" y="5175804"/>
                  <a:pt x="3861283" y="5162690"/>
                  <a:pt x="3880491" y="5151158"/>
                </a:cubicBezTo>
                <a:lnTo>
                  <a:pt x="3891401" y="5145342"/>
                </a:lnTo>
                <a:lnTo>
                  <a:pt x="3878291" y="5116041"/>
                </a:lnTo>
                <a:cubicBezTo>
                  <a:pt x="3858174" y="5079228"/>
                  <a:pt x="3833943" y="5057770"/>
                  <a:pt x="3807904" y="5057770"/>
                </a:cubicBezTo>
                <a:close/>
                <a:moveTo>
                  <a:pt x="1830229" y="4995190"/>
                </a:moveTo>
                <a:cubicBezTo>
                  <a:pt x="1810512" y="4995190"/>
                  <a:pt x="1795082" y="5011478"/>
                  <a:pt x="1795082" y="5031195"/>
                </a:cubicBezTo>
                <a:cubicBezTo>
                  <a:pt x="1795082" y="5050913"/>
                  <a:pt x="1810512" y="5067200"/>
                  <a:pt x="1830229" y="5067200"/>
                </a:cubicBezTo>
                <a:cubicBezTo>
                  <a:pt x="1849089" y="5067200"/>
                  <a:pt x="1865376" y="5050913"/>
                  <a:pt x="1865376" y="5031195"/>
                </a:cubicBezTo>
                <a:cubicBezTo>
                  <a:pt x="1865376" y="5011478"/>
                  <a:pt x="1849946" y="4995190"/>
                  <a:pt x="1830229" y="4995190"/>
                </a:cubicBezTo>
                <a:close/>
                <a:moveTo>
                  <a:pt x="3807904" y="4992618"/>
                </a:moveTo>
                <a:cubicBezTo>
                  <a:pt x="3849481" y="4992618"/>
                  <a:pt x="3886985" y="5038267"/>
                  <a:pt x="3914096" y="5112098"/>
                </a:cubicBezTo>
                <a:lnTo>
                  <a:pt x="3919610" y="5130307"/>
                </a:lnTo>
                <a:lnTo>
                  <a:pt x="3936279" y="5121422"/>
                </a:lnTo>
                <a:cubicBezTo>
                  <a:pt x="3972069" y="5104920"/>
                  <a:pt x="4004698" y="5095222"/>
                  <a:pt x="4032023" y="5093293"/>
                </a:cubicBezTo>
                <a:cubicBezTo>
                  <a:pt x="4059348" y="5091364"/>
                  <a:pt x="4081369" y="5097204"/>
                  <a:pt x="4095942" y="5111777"/>
                </a:cubicBezTo>
                <a:cubicBezTo>
                  <a:pt x="4125517" y="5140924"/>
                  <a:pt x="4119945" y="5199860"/>
                  <a:pt x="4086941" y="5271440"/>
                </a:cubicBezTo>
                <a:lnTo>
                  <a:pt x="4077682" y="5288787"/>
                </a:lnTo>
                <a:lnTo>
                  <a:pt x="4096476" y="5294478"/>
                </a:lnTo>
                <a:cubicBezTo>
                  <a:pt x="4170307" y="5321589"/>
                  <a:pt x="4215956" y="5359094"/>
                  <a:pt x="4215956" y="5400670"/>
                </a:cubicBezTo>
                <a:cubicBezTo>
                  <a:pt x="4215956" y="5431531"/>
                  <a:pt x="4190279" y="5460343"/>
                  <a:pt x="4146292" y="5484302"/>
                </a:cubicBezTo>
                <a:lnTo>
                  <a:pt x="4077351" y="5512259"/>
                </a:lnTo>
                <a:lnTo>
                  <a:pt x="4086298" y="5529044"/>
                </a:lnTo>
                <a:cubicBezTo>
                  <a:pt x="4119302" y="5600625"/>
                  <a:pt x="4125089" y="5659561"/>
                  <a:pt x="4095942" y="5688707"/>
                </a:cubicBezTo>
                <a:cubicBezTo>
                  <a:pt x="4074082" y="5710888"/>
                  <a:pt x="4035586" y="5713179"/>
                  <a:pt x="3987551" y="5698969"/>
                </a:cubicBezTo>
                <a:lnTo>
                  <a:pt x="3919857" y="5670215"/>
                </a:lnTo>
                <a:lnTo>
                  <a:pt x="3914096" y="5689242"/>
                </a:lnTo>
                <a:cubicBezTo>
                  <a:pt x="3886985" y="5763073"/>
                  <a:pt x="3849481" y="5808721"/>
                  <a:pt x="3807904" y="5808721"/>
                </a:cubicBezTo>
                <a:cubicBezTo>
                  <a:pt x="3766756" y="5808721"/>
                  <a:pt x="3729251" y="5763073"/>
                  <a:pt x="3702033" y="5689242"/>
                </a:cubicBezTo>
                <a:lnTo>
                  <a:pt x="3696238" y="5670203"/>
                </a:lnTo>
                <a:lnTo>
                  <a:pt x="3627147" y="5699451"/>
                </a:lnTo>
                <a:cubicBezTo>
                  <a:pt x="3579033" y="5713635"/>
                  <a:pt x="3540336" y="5711425"/>
                  <a:pt x="3518154" y="5689565"/>
                </a:cubicBezTo>
                <a:cubicBezTo>
                  <a:pt x="3489007" y="5659990"/>
                  <a:pt x="3494794" y="5601054"/>
                  <a:pt x="3527798" y="5529580"/>
                </a:cubicBezTo>
                <a:lnTo>
                  <a:pt x="3537061" y="5512231"/>
                </a:lnTo>
                <a:lnTo>
                  <a:pt x="3519332" y="5506862"/>
                </a:lnTo>
                <a:cubicBezTo>
                  <a:pt x="3445502" y="5479751"/>
                  <a:pt x="3399853" y="5442247"/>
                  <a:pt x="3399853" y="5400670"/>
                </a:cubicBezTo>
                <a:cubicBezTo>
                  <a:pt x="3399853" y="5369488"/>
                  <a:pt x="3425530" y="5340596"/>
                  <a:pt x="3469516" y="5316662"/>
                </a:cubicBezTo>
                <a:lnTo>
                  <a:pt x="3537546" y="5289161"/>
                </a:lnTo>
                <a:lnTo>
                  <a:pt x="3527798" y="5270904"/>
                </a:lnTo>
                <a:cubicBezTo>
                  <a:pt x="3494794" y="5199430"/>
                  <a:pt x="3489007" y="5140494"/>
                  <a:pt x="3518154" y="5110919"/>
                </a:cubicBezTo>
                <a:cubicBezTo>
                  <a:pt x="3532942" y="5096346"/>
                  <a:pt x="3555069" y="5090506"/>
                  <a:pt x="3582435" y="5092435"/>
                </a:cubicBezTo>
                <a:cubicBezTo>
                  <a:pt x="3609800" y="5094364"/>
                  <a:pt x="3642402" y="5104061"/>
                  <a:pt x="3678139" y="5120564"/>
                </a:cubicBezTo>
                <a:lnTo>
                  <a:pt x="3696224" y="5130220"/>
                </a:lnTo>
                <a:lnTo>
                  <a:pt x="3701712" y="5112098"/>
                </a:lnTo>
                <a:cubicBezTo>
                  <a:pt x="3728823" y="5038267"/>
                  <a:pt x="3766328" y="4992618"/>
                  <a:pt x="3807904" y="4992618"/>
                </a:cubicBezTo>
                <a:close/>
                <a:moveTo>
                  <a:pt x="2165414" y="4987475"/>
                </a:moveTo>
                <a:cubicBezTo>
                  <a:pt x="2135838" y="4987475"/>
                  <a:pt x="2110603" y="5005317"/>
                  <a:pt x="2099834" y="5030874"/>
                </a:cubicBezTo>
                <a:lnTo>
                  <a:pt x="2095529" y="5052318"/>
                </a:lnTo>
                <a:lnTo>
                  <a:pt x="2115842" y="5109524"/>
                </a:lnTo>
                <a:lnTo>
                  <a:pt x="2137660" y="5124207"/>
                </a:lnTo>
                <a:cubicBezTo>
                  <a:pt x="2146179" y="5127796"/>
                  <a:pt x="2155555" y="5129779"/>
                  <a:pt x="2165414" y="5129779"/>
                </a:cubicBezTo>
                <a:cubicBezTo>
                  <a:pt x="2203990" y="5129779"/>
                  <a:pt x="2235708" y="5098061"/>
                  <a:pt x="2236565" y="5058628"/>
                </a:cubicBezTo>
                <a:cubicBezTo>
                  <a:pt x="2236565" y="5019193"/>
                  <a:pt x="2204847" y="4987475"/>
                  <a:pt x="2165414" y="4987475"/>
                </a:cubicBezTo>
                <a:close/>
                <a:moveTo>
                  <a:pt x="5334024" y="4966796"/>
                </a:moveTo>
                <a:cubicBezTo>
                  <a:pt x="5320952" y="4964760"/>
                  <a:pt x="5307236" y="4967760"/>
                  <a:pt x="5296091" y="4976333"/>
                </a:cubicBezTo>
                <a:cubicBezTo>
                  <a:pt x="5273803" y="4993478"/>
                  <a:pt x="5268659" y="5025196"/>
                  <a:pt x="5285804" y="5048341"/>
                </a:cubicBezTo>
                <a:cubicBezTo>
                  <a:pt x="5302092" y="5071487"/>
                  <a:pt x="5334668" y="5076631"/>
                  <a:pt x="5356956" y="5059486"/>
                </a:cubicBezTo>
                <a:cubicBezTo>
                  <a:pt x="5379245" y="5043198"/>
                  <a:pt x="5383531" y="5010623"/>
                  <a:pt x="5368100" y="4987477"/>
                </a:cubicBezTo>
                <a:cubicBezTo>
                  <a:pt x="5359527" y="4975904"/>
                  <a:pt x="5347097" y="4968831"/>
                  <a:pt x="5334024" y="4966796"/>
                </a:cubicBezTo>
                <a:close/>
                <a:moveTo>
                  <a:pt x="1939100" y="4858031"/>
                </a:moveTo>
                <a:lnTo>
                  <a:pt x="2026539" y="4858031"/>
                </a:lnTo>
                <a:lnTo>
                  <a:pt x="2042850" y="4903966"/>
                </a:lnTo>
                <a:lnTo>
                  <a:pt x="2112264" y="4899178"/>
                </a:lnTo>
                <a:cubicBezTo>
                  <a:pt x="2112264" y="4899178"/>
                  <a:pt x="2247710" y="4912037"/>
                  <a:pt x="2286286" y="5018336"/>
                </a:cubicBezTo>
                <a:cubicBezTo>
                  <a:pt x="2324862" y="5124636"/>
                  <a:pt x="2235708" y="5171785"/>
                  <a:pt x="2136267" y="5212076"/>
                </a:cubicBezTo>
                <a:cubicBezTo>
                  <a:pt x="2035969" y="5251509"/>
                  <a:pt x="2059115" y="5440962"/>
                  <a:pt x="1901381" y="5428960"/>
                </a:cubicBezTo>
                <a:cubicBezTo>
                  <a:pt x="1773222" y="5419209"/>
                  <a:pt x="1589037" y="5081224"/>
                  <a:pt x="1852317" y="4950224"/>
                </a:cubicBezTo>
                <a:lnTo>
                  <a:pt x="1914216" y="4926595"/>
                </a:lnTo>
                <a:close/>
                <a:moveTo>
                  <a:pt x="5285697" y="4798238"/>
                </a:moveTo>
                <a:cubicBezTo>
                  <a:pt x="5268445" y="4795666"/>
                  <a:pt x="5250228" y="4799738"/>
                  <a:pt x="5235226" y="4810882"/>
                </a:cubicBezTo>
                <a:cubicBezTo>
                  <a:pt x="5205223" y="4833172"/>
                  <a:pt x="5199222" y="4875177"/>
                  <a:pt x="5221511" y="4906038"/>
                </a:cubicBezTo>
                <a:cubicBezTo>
                  <a:pt x="5243799" y="4936042"/>
                  <a:pt x="5286661" y="4942900"/>
                  <a:pt x="5316665" y="4920611"/>
                </a:cubicBezTo>
                <a:cubicBezTo>
                  <a:pt x="5346669" y="4898322"/>
                  <a:pt x="5352670" y="4856318"/>
                  <a:pt x="5330381" y="4825456"/>
                </a:cubicBezTo>
                <a:cubicBezTo>
                  <a:pt x="5319237" y="4810025"/>
                  <a:pt x="5302949" y="4800810"/>
                  <a:pt x="5285697" y="4798238"/>
                </a:cubicBezTo>
                <a:close/>
                <a:moveTo>
                  <a:pt x="5149716" y="4681759"/>
                </a:moveTo>
                <a:cubicBezTo>
                  <a:pt x="5129999" y="4678652"/>
                  <a:pt x="5109211" y="4683152"/>
                  <a:pt x="5092066" y="4696011"/>
                </a:cubicBezTo>
                <a:cubicBezTo>
                  <a:pt x="5057776" y="4721728"/>
                  <a:pt x="5050061" y="4770591"/>
                  <a:pt x="5076635" y="4804881"/>
                </a:cubicBezTo>
                <a:cubicBezTo>
                  <a:pt x="5102353" y="4840030"/>
                  <a:pt x="5151216" y="4847745"/>
                  <a:pt x="5185506" y="4822027"/>
                </a:cubicBezTo>
                <a:cubicBezTo>
                  <a:pt x="5219796" y="4796309"/>
                  <a:pt x="5226654" y="4747446"/>
                  <a:pt x="5200936" y="4713156"/>
                </a:cubicBezTo>
                <a:cubicBezTo>
                  <a:pt x="5188077" y="4695583"/>
                  <a:pt x="5169433" y="4684867"/>
                  <a:pt x="5149716" y="4681759"/>
                </a:cubicBezTo>
                <a:close/>
                <a:moveTo>
                  <a:pt x="4961978" y="4656899"/>
                </a:moveTo>
                <a:cubicBezTo>
                  <a:pt x="4940761" y="4653577"/>
                  <a:pt x="4918473" y="4658292"/>
                  <a:pt x="4900042" y="4672008"/>
                </a:cubicBezTo>
                <a:cubicBezTo>
                  <a:pt x="4863180" y="4699440"/>
                  <a:pt x="4855465" y="4752589"/>
                  <a:pt x="4882897" y="4789451"/>
                </a:cubicBezTo>
                <a:cubicBezTo>
                  <a:pt x="4910329" y="4826314"/>
                  <a:pt x="4963478" y="4834886"/>
                  <a:pt x="5000340" y="4807453"/>
                </a:cubicBezTo>
                <a:cubicBezTo>
                  <a:pt x="5038059" y="4780021"/>
                  <a:pt x="5044917" y="4727729"/>
                  <a:pt x="5017485" y="4690010"/>
                </a:cubicBezTo>
                <a:cubicBezTo>
                  <a:pt x="5003340" y="4671579"/>
                  <a:pt x="4983195" y="4660221"/>
                  <a:pt x="4961978" y="4656899"/>
                </a:cubicBezTo>
                <a:close/>
                <a:moveTo>
                  <a:pt x="4998395" y="4598030"/>
                </a:moveTo>
                <a:cubicBezTo>
                  <a:pt x="5253309" y="4596998"/>
                  <a:pt x="5722680" y="4945793"/>
                  <a:pt x="5114354" y="5410101"/>
                </a:cubicBezTo>
                <a:cubicBezTo>
                  <a:pt x="5114354" y="5410101"/>
                  <a:pt x="4946333" y="5510399"/>
                  <a:pt x="4811745" y="5421245"/>
                </a:cubicBezTo>
                <a:cubicBezTo>
                  <a:pt x="4677157" y="5331234"/>
                  <a:pt x="4738879" y="5201789"/>
                  <a:pt x="4821175" y="5069772"/>
                </a:cubicBezTo>
                <a:cubicBezTo>
                  <a:pt x="4902613" y="4938613"/>
                  <a:pt x="4714018" y="4741445"/>
                  <a:pt x="4906043" y="4620573"/>
                </a:cubicBezTo>
                <a:cubicBezTo>
                  <a:pt x="4929939" y="4605464"/>
                  <a:pt x="4961978" y="4598177"/>
                  <a:pt x="4998395" y="4598030"/>
                </a:cubicBezTo>
                <a:close/>
                <a:moveTo>
                  <a:pt x="4274249" y="4584568"/>
                </a:moveTo>
                <a:cubicBezTo>
                  <a:pt x="4274249" y="4584568"/>
                  <a:pt x="4379691" y="4696011"/>
                  <a:pt x="4374548" y="4755161"/>
                </a:cubicBezTo>
                <a:cubicBezTo>
                  <a:pt x="4369404" y="4814311"/>
                  <a:pt x="4257961" y="4835742"/>
                  <a:pt x="4257961" y="4835742"/>
                </a:cubicBezTo>
                <a:cubicBezTo>
                  <a:pt x="4257961" y="4835742"/>
                  <a:pt x="4409695" y="4835742"/>
                  <a:pt x="4411409" y="4762876"/>
                </a:cubicBezTo>
                <a:cubicBezTo>
                  <a:pt x="4412266" y="4690867"/>
                  <a:pt x="4274249" y="4584568"/>
                  <a:pt x="4274249" y="4584568"/>
                </a:cubicBezTo>
                <a:close/>
                <a:moveTo>
                  <a:pt x="3351982" y="4540192"/>
                </a:moveTo>
                <a:cubicBezTo>
                  <a:pt x="3377619" y="4544170"/>
                  <a:pt x="3402426" y="4554779"/>
                  <a:pt x="3423000" y="4575995"/>
                </a:cubicBezTo>
                <a:lnTo>
                  <a:pt x="3655315" y="4575995"/>
                </a:lnTo>
                <a:lnTo>
                  <a:pt x="3655315" y="4916325"/>
                </a:lnTo>
                <a:lnTo>
                  <a:pt x="3417856" y="4918039"/>
                </a:lnTo>
                <a:cubicBezTo>
                  <a:pt x="3417856" y="4918039"/>
                  <a:pt x="3338132" y="4837458"/>
                  <a:pt x="3190684" y="4914610"/>
                </a:cubicBezTo>
                <a:lnTo>
                  <a:pt x="3190684" y="4575995"/>
                </a:lnTo>
                <a:cubicBezTo>
                  <a:pt x="3190684" y="4575995"/>
                  <a:pt x="3275070" y="4528258"/>
                  <a:pt x="3351982" y="4540192"/>
                </a:cubicBezTo>
                <a:close/>
                <a:moveTo>
                  <a:pt x="2448416" y="4421371"/>
                </a:moveTo>
                <a:cubicBezTo>
                  <a:pt x="2452166" y="4422121"/>
                  <a:pt x="2455595" y="4424264"/>
                  <a:pt x="2457738" y="4427692"/>
                </a:cubicBezTo>
                <a:lnTo>
                  <a:pt x="2484119" y="4467601"/>
                </a:lnTo>
                <a:lnTo>
                  <a:pt x="2494346" y="4463537"/>
                </a:lnTo>
                <a:cubicBezTo>
                  <a:pt x="2526051" y="4457750"/>
                  <a:pt x="2559323" y="4470769"/>
                  <a:pt x="2578610" y="4499701"/>
                </a:cubicBezTo>
                <a:cubicBezTo>
                  <a:pt x="2591040" y="4518990"/>
                  <a:pt x="2594684" y="4541279"/>
                  <a:pt x="2590397" y="4561960"/>
                </a:cubicBezTo>
                <a:lnTo>
                  <a:pt x="2583304" y="4578864"/>
                </a:lnTo>
                <a:lnTo>
                  <a:pt x="2600248" y="4591301"/>
                </a:lnTo>
                <a:cubicBezTo>
                  <a:pt x="2715712" y="4676099"/>
                  <a:pt x="3023094" y="4902555"/>
                  <a:pt x="3017521" y="4906038"/>
                </a:cubicBezTo>
                <a:cubicBezTo>
                  <a:pt x="3010663" y="4910324"/>
                  <a:pt x="2910365" y="4886321"/>
                  <a:pt x="2910365" y="4886321"/>
                </a:cubicBezTo>
                <a:cubicBezTo>
                  <a:pt x="2910365" y="4886321"/>
                  <a:pt x="2690962" y="4728640"/>
                  <a:pt x="2580176" y="4648353"/>
                </a:cubicBezTo>
                <a:lnTo>
                  <a:pt x="2571469" y="4642020"/>
                </a:lnTo>
                <a:lnTo>
                  <a:pt x="2632617" y="5059485"/>
                </a:lnTo>
                <a:lnTo>
                  <a:pt x="2611186" y="5161498"/>
                </a:lnTo>
                <a:lnTo>
                  <a:pt x="2574324" y="5065486"/>
                </a:lnTo>
                <a:lnTo>
                  <a:pt x="2504337" y="4626262"/>
                </a:lnTo>
                <a:lnTo>
                  <a:pt x="2492028" y="4626039"/>
                </a:lnTo>
                <a:cubicBezTo>
                  <a:pt x="2471240" y="4621646"/>
                  <a:pt x="2452166" y="4609430"/>
                  <a:pt x="2439736" y="4590570"/>
                </a:cubicBezTo>
                <a:cubicBezTo>
                  <a:pt x="2421091" y="4561638"/>
                  <a:pt x="2422216" y="4525955"/>
                  <a:pt x="2440218" y="4499073"/>
                </a:cubicBezTo>
                <a:lnTo>
                  <a:pt x="2457768" y="4481633"/>
                </a:lnTo>
                <a:lnTo>
                  <a:pt x="2432878" y="4443980"/>
                </a:lnTo>
                <a:cubicBezTo>
                  <a:pt x="2428592" y="4437122"/>
                  <a:pt x="2430306" y="4427692"/>
                  <a:pt x="2437164" y="4423406"/>
                </a:cubicBezTo>
                <a:cubicBezTo>
                  <a:pt x="2440593" y="4421263"/>
                  <a:pt x="2444665" y="4420621"/>
                  <a:pt x="2448416" y="4421371"/>
                </a:cubicBezTo>
                <a:close/>
                <a:moveTo>
                  <a:pt x="1177862" y="4374542"/>
                </a:moveTo>
                <a:cubicBezTo>
                  <a:pt x="1177862" y="4374542"/>
                  <a:pt x="1327023" y="4458553"/>
                  <a:pt x="1272159" y="4609429"/>
                </a:cubicBezTo>
                <a:cubicBezTo>
                  <a:pt x="1272159" y="4609429"/>
                  <a:pt x="1399889" y="4409689"/>
                  <a:pt x="1177862" y="4374542"/>
                </a:cubicBezTo>
                <a:close/>
                <a:moveTo>
                  <a:pt x="1102424" y="4309391"/>
                </a:moveTo>
                <a:lnTo>
                  <a:pt x="1108424" y="4309391"/>
                </a:lnTo>
                <a:lnTo>
                  <a:pt x="1109281" y="4309391"/>
                </a:lnTo>
                <a:lnTo>
                  <a:pt x="1115282" y="4309391"/>
                </a:lnTo>
                <a:cubicBezTo>
                  <a:pt x="1440180" y="4317964"/>
                  <a:pt x="1363885" y="4640290"/>
                  <a:pt x="1276445" y="4720014"/>
                </a:cubicBezTo>
                <a:cubicBezTo>
                  <a:pt x="1186434" y="4799738"/>
                  <a:pt x="1193292" y="4900894"/>
                  <a:pt x="1193292" y="4900894"/>
                </a:cubicBezTo>
                <a:lnTo>
                  <a:pt x="1121283" y="4900894"/>
                </a:lnTo>
                <a:lnTo>
                  <a:pt x="1108424" y="4900894"/>
                </a:lnTo>
                <a:lnTo>
                  <a:pt x="1030415" y="4900894"/>
                </a:lnTo>
                <a:cubicBezTo>
                  <a:pt x="1030415" y="4900894"/>
                  <a:pt x="1033844" y="4800596"/>
                  <a:pt x="944690" y="4720014"/>
                </a:cubicBezTo>
                <a:cubicBezTo>
                  <a:pt x="856393" y="4640290"/>
                  <a:pt x="777526" y="4317964"/>
                  <a:pt x="1102424" y="4309391"/>
                </a:cubicBezTo>
                <a:close/>
                <a:moveTo>
                  <a:pt x="4160235" y="4161086"/>
                </a:moveTo>
                <a:cubicBezTo>
                  <a:pt x="4217671" y="4161086"/>
                  <a:pt x="4264820" y="4179089"/>
                  <a:pt x="4264820" y="4201377"/>
                </a:cubicBezTo>
                <a:cubicBezTo>
                  <a:pt x="4264820" y="4202235"/>
                  <a:pt x="4264820" y="4203092"/>
                  <a:pt x="4264820" y="4203949"/>
                </a:cubicBezTo>
                <a:lnTo>
                  <a:pt x="4269106" y="4203949"/>
                </a:lnTo>
                <a:lnTo>
                  <a:pt x="4269106" y="4279387"/>
                </a:lnTo>
                <a:lnTo>
                  <a:pt x="4264820" y="4279387"/>
                </a:lnTo>
                <a:cubicBezTo>
                  <a:pt x="4263962" y="4287960"/>
                  <a:pt x="4258819" y="4295675"/>
                  <a:pt x="4247675" y="4301676"/>
                </a:cubicBezTo>
                <a:cubicBezTo>
                  <a:pt x="4247675" y="4337680"/>
                  <a:pt x="4247675" y="4444836"/>
                  <a:pt x="4247675" y="4473126"/>
                </a:cubicBezTo>
                <a:cubicBezTo>
                  <a:pt x="4247675" y="4506559"/>
                  <a:pt x="4263962" y="4515131"/>
                  <a:pt x="4263962" y="4515131"/>
                </a:cubicBezTo>
                <a:cubicBezTo>
                  <a:pt x="4302538" y="4538276"/>
                  <a:pt x="4524566" y="4764591"/>
                  <a:pt x="4425983" y="4833171"/>
                </a:cubicBezTo>
                <a:cubicBezTo>
                  <a:pt x="4337686" y="4894893"/>
                  <a:pt x="4190239" y="4892321"/>
                  <a:pt x="4161091" y="4891464"/>
                </a:cubicBezTo>
                <a:cubicBezTo>
                  <a:pt x="4131945" y="4892321"/>
                  <a:pt x="3983640" y="4894893"/>
                  <a:pt x="3896201" y="4833171"/>
                </a:cubicBezTo>
                <a:cubicBezTo>
                  <a:pt x="3798475" y="4764591"/>
                  <a:pt x="4023931" y="4538276"/>
                  <a:pt x="4062507" y="4515131"/>
                </a:cubicBezTo>
                <a:cubicBezTo>
                  <a:pt x="4062507" y="4515131"/>
                  <a:pt x="4085653" y="4506559"/>
                  <a:pt x="4085653" y="4473126"/>
                </a:cubicBezTo>
                <a:cubicBezTo>
                  <a:pt x="4085653" y="4445693"/>
                  <a:pt x="4085653" y="4339395"/>
                  <a:pt x="4085653" y="4302533"/>
                </a:cubicBezTo>
                <a:cubicBezTo>
                  <a:pt x="4064222" y="4296532"/>
                  <a:pt x="4057364" y="4287960"/>
                  <a:pt x="4055650" y="4279387"/>
                </a:cubicBezTo>
                <a:lnTo>
                  <a:pt x="4053935" y="4279387"/>
                </a:lnTo>
                <a:lnTo>
                  <a:pt x="4053935" y="4203949"/>
                </a:lnTo>
                <a:lnTo>
                  <a:pt x="4055650" y="4203949"/>
                </a:lnTo>
                <a:cubicBezTo>
                  <a:pt x="4055650" y="4203092"/>
                  <a:pt x="4055650" y="4202235"/>
                  <a:pt x="4055650" y="4201377"/>
                </a:cubicBezTo>
                <a:cubicBezTo>
                  <a:pt x="4055650" y="4179089"/>
                  <a:pt x="4102798" y="4161086"/>
                  <a:pt x="4160235" y="4161086"/>
                </a:cubicBezTo>
                <a:close/>
                <a:moveTo>
                  <a:pt x="1690622" y="3905928"/>
                </a:moveTo>
                <a:cubicBezTo>
                  <a:pt x="1643577" y="3910087"/>
                  <a:pt x="1597165" y="3927808"/>
                  <a:pt x="1557624" y="3959633"/>
                </a:cubicBezTo>
                <a:cubicBezTo>
                  <a:pt x="1452182" y="4044502"/>
                  <a:pt x="1436751" y="4198807"/>
                  <a:pt x="1521619" y="4304248"/>
                </a:cubicBezTo>
                <a:cubicBezTo>
                  <a:pt x="1606488" y="4409690"/>
                  <a:pt x="1760793" y="4425121"/>
                  <a:pt x="1866235" y="4340253"/>
                </a:cubicBezTo>
                <a:cubicBezTo>
                  <a:pt x="1970819" y="4255385"/>
                  <a:pt x="1987107" y="4101080"/>
                  <a:pt x="1902239" y="3995637"/>
                </a:cubicBezTo>
                <a:cubicBezTo>
                  <a:pt x="1849197" y="3929737"/>
                  <a:pt x="1769030" y="3898996"/>
                  <a:pt x="1690622" y="3905928"/>
                </a:cubicBezTo>
                <a:close/>
                <a:moveTo>
                  <a:pt x="1684921" y="3849926"/>
                </a:moveTo>
                <a:cubicBezTo>
                  <a:pt x="1781219" y="3841547"/>
                  <a:pt x="1879736" y="3879587"/>
                  <a:pt x="1945102" y="3960490"/>
                </a:cubicBezTo>
                <a:cubicBezTo>
                  <a:pt x="2037364" y="4073005"/>
                  <a:pt x="2033801" y="4232775"/>
                  <a:pt x="1944751" y="4341023"/>
                </a:cubicBezTo>
                <a:lnTo>
                  <a:pt x="1930222" y="4355411"/>
                </a:lnTo>
                <a:lnTo>
                  <a:pt x="1980119" y="4416919"/>
                </a:lnTo>
                <a:lnTo>
                  <a:pt x="1986891" y="4416333"/>
                </a:lnTo>
                <a:cubicBezTo>
                  <a:pt x="2003394" y="4418048"/>
                  <a:pt x="2019253" y="4425977"/>
                  <a:pt x="2030826" y="4439693"/>
                </a:cubicBezTo>
                <a:lnTo>
                  <a:pt x="2204848" y="4654864"/>
                </a:lnTo>
                <a:cubicBezTo>
                  <a:pt x="2227136" y="4683153"/>
                  <a:pt x="2222850" y="4723444"/>
                  <a:pt x="2195418" y="4746590"/>
                </a:cubicBezTo>
                <a:cubicBezTo>
                  <a:pt x="2167129" y="4768878"/>
                  <a:pt x="2126838" y="4764592"/>
                  <a:pt x="2103692" y="4737160"/>
                </a:cubicBezTo>
                <a:lnTo>
                  <a:pt x="1929670" y="4521990"/>
                </a:lnTo>
                <a:cubicBezTo>
                  <a:pt x="1918526" y="4507845"/>
                  <a:pt x="1914026" y="4490700"/>
                  <a:pt x="1915740" y="4474198"/>
                </a:cubicBezTo>
                <a:lnTo>
                  <a:pt x="1917360" y="4468826"/>
                </a:lnTo>
                <a:lnTo>
                  <a:pt x="1866912" y="4406639"/>
                </a:lnTo>
                <a:lnTo>
                  <a:pt x="1850557" y="4417393"/>
                </a:lnTo>
                <a:cubicBezTo>
                  <a:pt x="1726557" y="4481914"/>
                  <a:pt x="1569412" y="4452660"/>
                  <a:pt x="1477899" y="4339396"/>
                </a:cubicBezTo>
                <a:cubicBezTo>
                  <a:pt x="1372458" y="4210808"/>
                  <a:pt x="1392174" y="4020499"/>
                  <a:pt x="1521619" y="3915913"/>
                </a:cubicBezTo>
                <a:cubicBezTo>
                  <a:pt x="1570161" y="3876694"/>
                  <a:pt x="1627142" y="3854954"/>
                  <a:pt x="1684921" y="3849926"/>
                </a:cubicBezTo>
                <a:close/>
                <a:moveTo>
                  <a:pt x="812246" y="3781539"/>
                </a:moveTo>
                <a:cubicBezTo>
                  <a:pt x="816103" y="3781325"/>
                  <a:pt x="819961" y="3782611"/>
                  <a:pt x="822961" y="3785611"/>
                </a:cubicBezTo>
                <a:cubicBezTo>
                  <a:pt x="828962" y="3791612"/>
                  <a:pt x="829819" y="3801042"/>
                  <a:pt x="823818" y="3807042"/>
                </a:cubicBezTo>
                <a:lnTo>
                  <a:pt x="792194" y="3842032"/>
                </a:lnTo>
                <a:lnTo>
                  <a:pt x="798502" y="3850722"/>
                </a:lnTo>
                <a:cubicBezTo>
                  <a:pt x="811923" y="3880016"/>
                  <a:pt x="807744" y="3915699"/>
                  <a:pt x="785241" y="3940773"/>
                </a:cubicBezTo>
                <a:cubicBezTo>
                  <a:pt x="769810" y="3957489"/>
                  <a:pt x="749022" y="3966490"/>
                  <a:pt x="727912" y="3967562"/>
                </a:cubicBezTo>
                <a:lnTo>
                  <a:pt x="709923" y="3965051"/>
                </a:lnTo>
                <a:lnTo>
                  <a:pt x="701209" y="3986914"/>
                </a:lnTo>
                <a:cubicBezTo>
                  <a:pt x="648195" y="4119828"/>
                  <a:pt x="506367" y="4473875"/>
                  <a:pt x="501492" y="4469697"/>
                </a:cubicBezTo>
                <a:cubicBezTo>
                  <a:pt x="496348" y="4464553"/>
                  <a:pt x="493776" y="4360826"/>
                  <a:pt x="493776" y="4360826"/>
                </a:cubicBezTo>
                <a:cubicBezTo>
                  <a:pt x="493776" y="4360826"/>
                  <a:pt x="591181" y="4108151"/>
                  <a:pt x="640969" y="3980729"/>
                </a:cubicBezTo>
                <a:lnTo>
                  <a:pt x="644840" y="3970847"/>
                </a:lnTo>
                <a:lnTo>
                  <a:pt x="257175" y="4134512"/>
                </a:lnTo>
                <a:lnTo>
                  <a:pt x="152590" y="4139655"/>
                </a:lnTo>
                <a:lnTo>
                  <a:pt x="236601" y="4079647"/>
                </a:lnTo>
                <a:lnTo>
                  <a:pt x="644257" y="3901600"/>
                </a:lnTo>
                <a:lnTo>
                  <a:pt x="641223" y="3889445"/>
                </a:lnTo>
                <a:cubicBezTo>
                  <a:pt x="640151" y="3868336"/>
                  <a:pt x="647223" y="3846904"/>
                  <a:pt x="662654" y="3830188"/>
                </a:cubicBezTo>
                <a:cubicBezTo>
                  <a:pt x="678084" y="3813043"/>
                  <a:pt x="698873" y="3803828"/>
                  <a:pt x="719983" y="3802756"/>
                </a:cubicBezTo>
                <a:cubicBezTo>
                  <a:pt x="730538" y="3802220"/>
                  <a:pt x="741174" y="3803720"/>
                  <a:pt x="751260" y="3807283"/>
                </a:cubicBezTo>
                <a:lnTo>
                  <a:pt x="771606" y="3819575"/>
                </a:lnTo>
                <a:lnTo>
                  <a:pt x="801530" y="3786468"/>
                </a:lnTo>
                <a:cubicBezTo>
                  <a:pt x="804530" y="3783468"/>
                  <a:pt x="808388" y="3781754"/>
                  <a:pt x="812246" y="3781539"/>
                </a:cubicBezTo>
                <a:close/>
                <a:moveTo>
                  <a:pt x="5496913" y="3702672"/>
                </a:moveTo>
                <a:lnTo>
                  <a:pt x="5456397" y="3737606"/>
                </a:lnTo>
                <a:cubicBezTo>
                  <a:pt x="5456397" y="3737606"/>
                  <a:pt x="5471399" y="3722175"/>
                  <a:pt x="5490901" y="3706745"/>
                </a:cubicBezTo>
                <a:close/>
                <a:moveTo>
                  <a:pt x="5797583" y="3639879"/>
                </a:moveTo>
                <a:cubicBezTo>
                  <a:pt x="5797583" y="3639879"/>
                  <a:pt x="5800289" y="3640884"/>
                  <a:pt x="5805112" y="3642965"/>
                </a:cubicBezTo>
                <a:lnTo>
                  <a:pt x="5820840" y="3650383"/>
                </a:lnTo>
                <a:close/>
                <a:moveTo>
                  <a:pt x="5699857" y="3627877"/>
                </a:moveTo>
                <a:lnTo>
                  <a:pt x="5704143" y="3631306"/>
                </a:lnTo>
                <a:cubicBezTo>
                  <a:pt x="5704143" y="3631306"/>
                  <a:pt x="5701571" y="3635593"/>
                  <a:pt x="5699857" y="3638164"/>
                </a:cubicBezTo>
                <a:cubicBezTo>
                  <a:pt x="5698999" y="3640736"/>
                  <a:pt x="5703285" y="3639022"/>
                  <a:pt x="5703285" y="3639022"/>
                </a:cubicBezTo>
                <a:cubicBezTo>
                  <a:pt x="5703285" y="3639022"/>
                  <a:pt x="5717002" y="3645880"/>
                  <a:pt x="5717002" y="3648451"/>
                </a:cubicBezTo>
                <a:cubicBezTo>
                  <a:pt x="5717002" y="3651023"/>
                  <a:pt x="5711001" y="3653595"/>
                  <a:pt x="5698999" y="3652738"/>
                </a:cubicBezTo>
                <a:cubicBezTo>
                  <a:pt x="5686997" y="3651881"/>
                  <a:pt x="5692998" y="3654452"/>
                  <a:pt x="5677567" y="3646737"/>
                </a:cubicBezTo>
                <a:cubicBezTo>
                  <a:pt x="5661279" y="3639022"/>
                  <a:pt x="5662994" y="3659596"/>
                  <a:pt x="5656993" y="3664739"/>
                </a:cubicBezTo>
                <a:cubicBezTo>
                  <a:pt x="5650135" y="3669883"/>
                  <a:pt x="5650135" y="3671597"/>
                  <a:pt x="5645849" y="3681027"/>
                </a:cubicBezTo>
                <a:cubicBezTo>
                  <a:pt x="5642420" y="3690457"/>
                  <a:pt x="5645849" y="3681027"/>
                  <a:pt x="5656136" y="3687028"/>
                </a:cubicBezTo>
                <a:cubicBezTo>
                  <a:pt x="5666423" y="3693028"/>
                  <a:pt x="5660422" y="3688742"/>
                  <a:pt x="5665566" y="3687885"/>
                </a:cubicBezTo>
                <a:cubicBezTo>
                  <a:pt x="5670709" y="3687885"/>
                  <a:pt x="5685282" y="3684456"/>
                  <a:pt x="5689569" y="3683599"/>
                </a:cubicBezTo>
                <a:cubicBezTo>
                  <a:pt x="5693855" y="3682741"/>
                  <a:pt x="5696427" y="3683599"/>
                  <a:pt x="5695569" y="3698172"/>
                </a:cubicBezTo>
                <a:cubicBezTo>
                  <a:pt x="5694713" y="3713602"/>
                  <a:pt x="5695569" y="3698172"/>
                  <a:pt x="5717859" y="3709316"/>
                </a:cubicBezTo>
                <a:cubicBezTo>
                  <a:pt x="5740148" y="3719603"/>
                  <a:pt x="5713573" y="3719603"/>
                  <a:pt x="5730718" y="3723889"/>
                </a:cubicBezTo>
                <a:cubicBezTo>
                  <a:pt x="5747863" y="3728176"/>
                  <a:pt x="5728146" y="3729033"/>
                  <a:pt x="5715287" y="3734176"/>
                </a:cubicBezTo>
                <a:cubicBezTo>
                  <a:pt x="5702427" y="3740177"/>
                  <a:pt x="5708429" y="3733319"/>
                  <a:pt x="5699857" y="3744463"/>
                </a:cubicBezTo>
                <a:cubicBezTo>
                  <a:pt x="5691283" y="3755608"/>
                  <a:pt x="5701571" y="3752179"/>
                  <a:pt x="5705857" y="3753893"/>
                </a:cubicBezTo>
                <a:cubicBezTo>
                  <a:pt x="5710143" y="3755608"/>
                  <a:pt x="5717859" y="3753893"/>
                  <a:pt x="5722145" y="3750464"/>
                </a:cubicBezTo>
                <a:cubicBezTo>
                  <a:pt x="5725574" y="3747035"/>
                  <a:pt x="5729003" y="3748750"/>
                  <a:pt x="5729003" y="3748750"/>
                </a:cubicBezTo>
                <a:cubicBezTo>
                  <a:pt x="5729003" y="3748750"/>
                  <a:pt x="5738433" y="3740177"/>
                  <a:pt x="5747863" y="3745321"/>
                </a:cubicBezTo>
                <a:cubicBezTo>
                  <a:pt x="5757293" y="3750464"/>
                  <a:pt x="5747863" y="3745321"/>
                  <a:pt x="5750435" y="3742749"/>
                </a:cubicBezTo>
                <a:cubicBezTo>
                  <a:pt x="5753006" y="3741034"/>
                  <a:pt x="5757293" y="3741892"/>
                  <a:pt x="5760722" y="3738463"/>
                </a:cubicBezTo>
                <a:cubicBezTo>
                  <a:pt x="5764150" y="3735891"/>
                  <a:pt x="5771866" y="3733319"/>
                  <a:pt x="5794154" y="3741892"/>
                </a:cubicBezTo>
                <a:cubicBezTo>
                  <a:pt x="5817300" y="3750464"/>
                  <a:pt x="5795869" y="3748750"/>
                  <a:pt x="5806156" y="3753036"/>
                </a:cubicBezTo>
                <a:cubicBezTo>
                  <a:pt x="5815585" y="3757322"/>
                  <a:pt x="5809585" y="3755608"/>
                  <a:pt x="5810442" y="3749607"/>
                </a:cubicBezTo>
                <a:cubicBezTo>
                  <a:pt x="5811299" y="3743606"/>
                  <a:pt x="5811299" y="3735034"/>
                  <a:pt x="5814728" y="3733319"/>
                </a:cubicBezTo>
                <a:cubicBezTo>
                  <a:pt x="5818157" y="3732462"/>
                  <a:pt x="5820729" y="3734176"/>
                  <a:pt x="5825015" y="3737606"/>
                </a:cubicBezTo>
                <a:cubicBezTo>
                  <a:pt x="5829302" y="3741034"/>
                  <a:pt x="5838731" y="3718746"/>
                  <a:pt x="5849018" y="3723032"/>
                </a:cubicBezTo>
                <a:cubicBezTo>
                  <a:pt x="5858448" y="3727318"/>
                  <a:pt x="5851590" y="3724747"/>
                  <a:pt x="5861877" y="3731605"/>
                </a:cubicBezTo>
                <a:cubicBezTo>
                  <a:pt x="5872164" y="3738463"/>
                  <a:pt x="5861877" y="3741892"/>
                  <a:pt x="5856733" y="3746178"/>
                </a:cubicBezTo>
                <a:cubicBezTo>
                  <a:pt x="5850733" y="3751321"/>
                  <a:pt x="5853305" y="3743606"/>
                  <a:pt x="5844732" y="3741034"/>
                </a:cubicBezTo>
                <a:cubicBezTo>
                  <a:pt x="5836160" y="3738463"/>
                  <a:pt x="5841303" y="3742749"/>
                  <a:pt x="5828444" y="3754751"/>
                </a:cubicBezTo>
                <a:cubicBezTo>
                  <a:pt x="5815585" y="3765895"/>
                  <a:pt x="5828444" y="3754751"/>
                  <a:pt x="5831016" y="3761608"/>
                </a:cubicBezTo>
                <a:cubicBezTo>
                  <a:pt x="5833588" y="3768466"/>
                  <a:pt x="5840446" y="3759037"/>
                  <a:pt x="5847304" y="3761608"/>
                </a:cubicBezTo>
                <a:cubicBezTo>
                  <a:pt x="5854162" y="3764180"/>
                  <a:pt x="5852447" y="3764180"/>
                  <a:pt x="5861877" y="3765895"/>
                </a:cubicBezTo>
                <a:cubicBezTo>
                  <a:pt x="5871307" y="3767609"/>
                  <a:pt x="5861877" y="3765895"/>
                  <a:pt x="5863592" y="3771896"/>
                </a:cubicBezTo>
                <a:cubicBezTo>
                  <a:pt x="5864449" y="3777896"/>
                  <a:pt x="5867878" y="3772753"/>
                  <a:pt x="5877308" y="3777039"/>
                </a:cubicBezTo>
                <a:cubicBezTo>
                  <a:pt x="5886737" y="3782182"/>
                  <a:pt x="5880737" y="3779611"/>
                  <a:pt x="5877308" y="3786469"/>
                </a:cubicBezTo>
                <a:cubicBezTo>
                  <a:pt x="5874736" y="3793327"/>
                  <a:pt x="5874736" y="3786469"/>
                  <a:pt x="5871307" y="3784754"/>
                </a:cubicBezTo>
                <a:cubicBezTo>
                  <a:pt x="5867878" y="3783040"/>
                  <a:pt x="5867020" y="3783040"/>
                  <a:pt x="5859305" y="3787326"/>
                </a:cubicBezTo>
                <a:cubicBezTo>
                  <a:pt x="5851590" y="3791612"/>
                  <a:pt x="5850733" y="3788183"/>
                  <a:pt x="5847304" y="3789898"/>
                </a:cubicBezTo>
                <a:cubicBezTo>
                  <a:pt x="5843875" y="3791612"/>
                  <a:pt x="5842160" y="3788183"/>
                  <a:pt x="5824158" y="3786469"/>
                </a:cubicBezTo>
                <a:cubicBezTo>
                  <a:pt x="5806156" y="3784754"/>
                  <a:pt x="5824158" y="3786469"/>
                  <a:pt x="5813871" y="3796756"/>
                </a:cubicBezTo>
                <a:cubicBezTo>
                  <a:pt x="5803584" y="3807043"/>
                  <a:pt x="5813871" y="3796756"/>
                  <a:pt x="5807013" y="3796756"/>
                </a:cubicBezTo>
                <a:cubicBezTo>
                  <a:pt x="5800155" y="3796756"/>
                  <a:pt x="5797583" y="3794184"/>
                  <a:pt x="5793297" y="3791612"/>
                </a:cubicBezTo>
                <a:cubicBezTo>
                  <a:pt x="5788153" y="3789041"/>
                  <a:pt x="5790725" y="3787326"/>
                  <a:pt x="5781295" y="3787326"/>
                </a:cubicBezTo>
                <a:cubicBezTo>
                  <a:pt x="5771866" y="3787326"/>
                  <a:pt x="5781295" y="3787326"/>
                  <a:pt x="5771866" y="3786469"/>
                </a:cubicBezTo>
                <a:cubicBezTo>
                  <a:pt x="5763293" y="3785611"/>
                  <a:pt x="5768437" y="3780468"/>
                  <a:pt x="5767580" y="3768466"/>
                </a:cubicBezTo>
                <a:cubicBezTo>
                  <a:pt x="5766722" y="3756465"/>
                  <a:pt x="5767580" y="3768466"/>
                  <a:pt x="5762436" y="3767609"/>
                </a:cubicBezTo>
                <a:cubicBezTo>
                  <a:pt x="5757293" y="3766752"/>
                  <a:pt x="5759007" y="3765895"/>
                  <a:pt x="5755578" y="3765895"/>
                </a:cubicBezTo>
                <a:cubicBezTo>
                  <a:pt x="5753006" y="3765895"/>
                  <a:pt x="5755578" y="3765895"/>
                  <a:pt x="5742719" y="3768466"/>
                </a:cubicBezTo>
                <a:cubicBezTo>
                  <a:pt x="5729860" y="3771038"/>
                  <a:pt x="5738433" y="3769324"/>
                  <a:pt x="5734147" y="3769324"/>
                </a:cubicBezTo>
                <a:cubicBezTo>
                  <a:pt x="5729860" y="3769324"/>
                  <a:pt x="5728146" y="3770181"/>
                  <a:pt x="5721288" y="3771896"/>
                </a:cubicBezTo>
                <a:cubicBezTo>
                  <a:pt x="5714430" y="3773610"/>
                  <a:pt x="5716145" y="3771896"/>
                  <a:pt x="5712715" y="3772753"/>
                </a:cubicBezTo>
                <a:cubicBezTo>
                  <a:pt x="5710143" y="3772753"/>
                  <a:pt x="5703285" y="3780468"/>
                  <a:pt x="5698999" y="3784754"/>
                </a:cubicBezTo>
                <a:cubicBezTo>
                  <a:pt x="5693855" y="3789041"/>
                  <a:pt x="5686140" y="3792469"/>
                  <a:pt x="5679282" y="3791612"/>
                </a:cubicBezTo>
                <a:cubicBezTo>
                  <a:pt x="5672424" y="3791612"/>
                  <a:pt x="5674996" y="3793327"/>
                  <a:pt x="5671567" y="3795898"/>
                </a:cubicBezTo>
                <a:cubicBezTo>
                  <a:pt x="5668137" y="3797613"/>
                  <a:pt x="5665566" y="3805328"/>
                  <a:pt x="5663851" y="3808757"/>
                </a:cubicBezTo>
                <a:cubicBezTo>
                  <a:pt x="5662137" y="3811329"/>
                  <a:pt x="5651850" y="3816472"/>
                  <a:pt x="5644134" y="3830188"/>
                </a:cubicBezTo>
                <a:cubicBezTo>
                  <a:pt x="5636419" y="3843904"/>
                  <a:pt x="5638134" y="3839618"/>
                  <a:pt x="5646706" y="3858478"/>
                </a:cubicBezTo>
                <a:cubicBezTo>
                  <a:pt x="5655279" y="3877337"/>
                  <a:pt x="5641563" y="3863621"/>
                  <a:pt x="5641563" y="3873051"/>
                </a:cubicBezTo>
                <a:cubicBezTo>
                  <a:pt x="5641563" y="3881623"/>
                  <a:pt x="5639848" y="3877337"/>
                  <a:pt x="5636419" y="3885052"/>
                </a:cubicBezTo>
                <a:cubicBezTo>
                  <a:pt x="5632990" y="3892768"/>
                  <a:pt x="5636419" y="3885052"/>
                  <a:pt x="5644992" y="3894482"/>
                </a:cubicBezTo>
                <a:cubicBezTo>
                  <a:pt x="5653564" y="3903912"/>
                  <a:pt x="5644992" y="3894482"/>
                  <a:pt x="5650135" y="3900483"/>
                </a:cubicBezTo>
                <a:cubicBezTo>
                  <a:pt x="5656136" y="3907341"/>
                  <a:pt x="5651850" y="3905626"/>
                  <a:pt x="5652707" y="3912484"/>
                </a:cubicBezTo>
                <a:cubicBezTo>
                  <a:pt x="5653564" y="3919342"/>
                  <a:pt x="5655279" y="3915913"/>
                  <a:pt x="5662137" y="3920200"/>
                </a:cubicBezTo>
                <a:cubicBezTo>
                  <a:pt x="5668995" y="3924486"/>
                  <a:pt x="5665566" y="3923629"/>
                  <a:pt x="5668995" y="3931344"/>
                </a:cubicBezTo>
                <a:cubicBezTo>
                  <a:pt x="5672424" y="3939059"/>
                  <a:pt x="5673281" y="3933058"/>
                  <a:pt x="5680139" y="3937345"/>
                </a:cubicBezTo>
                <a:cubicBezTo>
                  <a:pt x="5687854" y="3941631"/>
                  <a:pt x="5698141" y="3938202"/>
                  <a:pt x="5707571" y="3938202"/>
                </a:cubicBezTo>
                <a:cubicBezTo>
                  <a:pt x="5717002" y="3938202"/>
                  <a:pt x="5719573" y="3939059"/>
                  <a:pt x="5726432" y="3935630"/>
                </a:cubicBezTo>
                <a:cubicBezTo>
                  <a:pt x="5734147" y="3933058"/>
                  <a:pt x="5741862" y="3933058"/>
                  <a:pt x="5746148" y="3929629"/>
                </a:cubicBezTo>
                <a:cubicBezTo>
                  <a:pt x="5750435" y="3926201"/>
                  <a:pt x="5754721" y="3927058"/>
                  <a:pt x="5757293" y="3928772"/>
                </a:cubicBezTo>
                <a:cubicBezTo>
                  <a:pt x="5759864" y="3930487"/>
                  <a:pt x="5758150" y="3934773"/>
                  <a:pt x="5765008" y="3939916"/>
                </a:cubicBezTo>
                <a:cubicBezTo>
                  <a:pt x="5771866" y="3945060"/>
                  <a:pt x="5771866" y="3938202"/>
                  <a:pt x="5776152" y="3937345"/>
                </a:cubicBezTo>
                <a:cubicBezTo>
                  <a:pt x="5780438" y="3936487"/>
                  <a:pt x="5792440" y="3944203"/>
                  <a:pt x="5792440" y="3944203"/>
                </a:cubicBezTo>
                <a:cubicBezTo>
                  <a:pt x="5792440" y="3944203"/>
                  <a:pt x="5791583" y="3950203"/>
                  <a:pt x="5789011" y="3960491"/>
                </a:cubicBezTo>
                <a:cubicBezTo>
                  <a:pt x="5786439" y="3970777"/>
                  <a:pt x="5789011" y="3960491"/>
                  <a:pt x="5789011" y="3966491"/>
                </a:cubicBezTo>
                <a:cubicBezTo>
                  <a:pt x="5789011" y="3972492"/>
                  <a:pt x="5790725" y="3988780"/>
                  <a:pt x="5790725" y="3988780"/>
                </a:cubicBezTo>
                <a:cubicBezTo>
                  <a:pt x="5790725" y="3988780"/>
                  <a:pt x="5794154" y="3993066"/>
                  <a:pt x="5798440" y="3999924"/>
                </a:cubicBezTo>
                <a:cubicBezTo>
                  <a:pt x="5802727" y="4006782"/>
                  <a:pt x="5802727" y="4005067"/>
                  <a:pt x="5803584" y="4007639"/>
                </a:cubicBezTo>
                <a:cubicBezTo>
                  <a:pt x="5804441" y="4010211"/>
                  <a:pt x="5810442" y="4016212"/>
                  <a:pt x="5812157" y="4020498"/>
                </a:cubicBezTo>
                <a:cubicBezTo>
                  <a:pt x="5813871" y="4023927"/>
                  <a:pt x="5813871" y="4026499"/>
                  <a:pt x="5814728" y="4032499"/>
                </a:cubicBezTo>
                <a:cubicBezTo>
                  <a:pt x="5815585" y="4039358"/>
                  <a:pt x="5809585" y="4040215"/>
                  <a:pt x="5803584" y="4044501"/>
                </a:cubicBezTo>
                <a:cubicBezTo>
                  <a:pt x="5797583" y="4048787"/>
                  <a:pt x="5801012" y="4050502"/>
                  <a:pt x="5798440" y="4060789"/>
                </a:cubicBezTo>
                <a:cubicBezTo>
                  <a:pt x="5795869" y="4071075"/>
                  <a:pt x="5798440" y="4060789"/>
                  <a:pt x="5794154" y="4071075"/>
                </a:cubicBezTo>
                <a:cubicBezTo>
                  <a:pt x="5789868" y="4081363"/>
                  <a:pt x="5795012" y="4075362"/>
                  <a:pt x="5801012" y="4081363"/>
                </a:cubicBezTo>
                <a:cubicBezTo>
                  <a:pt x="5807870" y="4087363"/>
                  <a:pt x="5807013" y="4083934"/>
                  <a:pt x="5811299" y="4094221"/>
                </a:cubicBezTo>
                <a:cubicBezTo>
                  <a:pt x="5816443" y="4103651"/>
                  <a:pt x="5813014" y="4097651"/>
                  <a:pt x="5813871" y="4106223"/>
                </a:cubicBezTo>
                <a:cubicBezTo>
                  <a:pt x="5814728" y="4114796"/>
                  <a:pt x="5813871" y="4106223"/>
                  <a:pt x="5813871" y="4115653"/>
                </a:cubicBezTo>
                <a:cubicBezTo>
                  <a:pt x="5813871" y="4124225"/>
                  <a:pt x="5813871" y="4115653"/>
                  <a:pt x="5819015" y="4127654"/>
                </a:cubicBezTo>
                <a:cubicBezTo>
                  <a:pt x="5824158" y="4139655"/>
                  <a:pt x="5819872" y="4132798"/>
                  <a:pt x="5825873" y="4143942"/>
                </a:cubicBezTo>
                <a:cubicBezTo>
                  <a:pt x="5832730" y="4155086"/>
                  <a:pt x="5825873" y="4143942"/>
                  <a:pt x="5830159" y="4143942"/>
                </a:cubicBezTo>
                <a:cubicBezTo>
                  <a:pt x="5834445" y="4143942"/>
                  <a:pt x="5845589" y="4138798"/>
                  <a:pt x="5848161" y="4136227"/>
                </a:cubicBezTo>
                <a:cubicBezTo>
                  <a:pt x="5850733" y="4133655"/>
                  <a:pt x="5866163" y="4127654"/>
                  <a:pt x="5870450" y="4126797"/>
                </a:cubicBezTo>
                <a:cubicBezTo>
                  <a:pt x="5875593" y="4125940"/>
                  <a:pt x="5873878" y="4117367"/>
                  <a:pt x="5873878" y="4117367"/>
                </a:cubicBezTo>
                <a:lnTo>
                  <a:pt x="5888452" y="4105365"/>
                </a:lnTo>
                <a:lnTo>
                  <a:pt x="5900453" y="4087363"/>
                </a:lnTo>
                <a:cubicBezTo>
                  <a:pt x="5900453" y="4087363"/>
                  <a:pt x="5900453" y="4077934"/>
                  <a:pt x="5900453" y="4075362"/>
                </a:cubicBezTo>
                <a:cubicBezTo>
                  <a:pt x="5900453" y="4073648"/>
                  <a:pt x="5907311" y="4072790"/>
                  <a:pt x="5911598" y="4071933"/>
                </a:cubicBezTo>
                <a:cubicBezTo>
                  <a:pt x="5915027" y="4071075"/>
                  <a:pt x="5914169" y="4066789"/>
                  <a:pt x="5915884" y="4064218"/>
                </a:cubicBezTo>
                <a:cubicBezTo>
                  <a:pt x="5917598" y="4062503"/>
                  <a:pt x="5923599" y="4053073"/>
                  <a:pt x="5929600" y="4051359"/>
                </a:cubicBezTo>
                <a:cubicBezTo>
                  <a:pt x="5936458" y="4050502"/>
                  <a:pt x="5924456" y="4039358"/>
                  <a:pt x="5924456" y="4039358"/>
                </a:cubicBezTo>
                <a:cubicBezTo>
                  <a:pt x="5924456" y="4039358"/>
                  <a:pt x="5933029" y="4033357"/>
                  <a:pt x="5934743" y="4027356"/>
                </a:cubicBezTo>
                <a:cubicBezTo>
                  <a:pt x="5936458" y="4021355"/>
                  <a:pt x="5934743" y="4009354"/>
                  <a:pt x="5933886" y="4005925"/>
                </a:cubicBezTo>
                <a:cubicBezTo>
                  <a:pt x="5933029" y="4003353"/>
                  <a:pt x="5933886" y="3991351"/>
                  <a:pt x="5933886" y="3991351"/>
                </a:cubicBezTo>
                <a:lnTo>
                  <a:pt x="5940744" y="3982779"/>
                </a:lnTo>
                <a:cubicBezTo>
                  <a:pt x="5940744" y="3982779"/>
                  <a:pt x="5941601" y="3967348"/>
                  <a:pt x="5944173" y="3965634"/>
                </a:cubicBezTo>
                <a:cubicBezTo>
                  <a:pt x="5946745" y="3963919"/>
                  <a:pt x="5951031" y="3953632"/>
                  <a:pt x="5955317" y="3953632"/>
                </a:cubicBezTo>
                <a:cubicBezTo>
                  <a:pt x="5959603" y="3953632"/>
                  <a:pt x="5958746" y="3930487"/>
                  <a:pt x="5958746" y="3930487"/>
                </a:cubicBezTo>
                <a:lnTo>
                  <a:pt x="5965604" y="3917628"/>
                </a:lnTo>
                <a:cubicBezTo>
                  <a:pt x="5965604" y="3917628"/>
                  <a:pt x="5968176" y="3904769"/>
                  <a:pt x="5968176" y="3902197"/>
                </a:cubicBezTo>
                <a:cubicBezTo>
                  <a:pt x="5968176" y="3899626"/>
                  <a:pt x="5961318" y="3894482"/>
                  <a:pt x="5961318" y="3894482"/>
                </a:cubicBezTo>
                <a:cubicBezTo>
                  <a:pt x="5961318" y="3894482"/>
                  <a:pt x="5954460" y="3894482"/>
                  <a:pt x="5949317" y="3897054"/>
                </a:cubicBezTo>
                <a:cubicBezTo>
                  <a:pt x="5944173" y="3899626"/>
                  <a:pt x="5945888" y="3897911"/>
                  <a:pt x="5942458" y="3898768"/>
                </a:cubicBezTo>
                <a:cubicBezTo>
                  <a:pt x="5939030" y="3899626"/>
                  <a:pt x="5938172" y="3897054"/>
                  <a:pt x="5933029" y="3895339"/>
                </a:cubicBezTo>
                <a:cubicBezTo>
                  <a:pt x="5927885" y="3893625"/>
                  <a:pt x="5932172" y="3888481"/>
                  <a:pt x="5933029" y="3884195"/>
                </a:cubicBezTo>
                <a:cubicBezTo>
                  <a:pt x="5933886" y="3879909"/>
                  <a:pt x="5925313" y="3880766"/>
                  <a:pt x="5921885" y="3879909"/>
                </a:cubicBezTo>
                <a:cubicBezTo>
                  <a:pt x="5919313" y="3879052"/>
                  <a:pt x="5918455" y="3869622"/>
                  <a:pt x="5915884" y="3867050"/>
                </a:cubicBezTo>
                <a:cubicBezTo>
                  <a:pt x="5914169" y="3865336"/>
                  <a:pt x="5913312" y="3861907"/>
                  <a:pt x="5909883" y="3855049"/>
                </a:cubicBezTo>
                <a:cubicBezTo>
                  <a:pt x="5906454" y="3848191"/>
                  <a:pt x="5904740" y="3851620"/>
                  <a:pt x="5900453" y="3850762"/>
                </a:cubicBezTo>
                <a:cubicBezTo>
                  <a:pt x="5896167" y="3849905"/>
                  <a:pt x="5901310" y="3841333"/>
                  <a:pt x="5897024" y="3833617"/>
                </a:cubicBezTo>
                <a:cubicBezTo>
                  <a:pt x="5892738" y="3825902"/>
                  <a:pt x="5906454" y="3830188"/>
                  <a:pt x="5906454" y="3830188"/>
                </a:cubicBezTo>
                <a:cubicBezTo>
                  <a:pt x="5906454" y="3830188"/>
                  <a:pt x="5906454" y="3830188"/>
                  <a:pt x="5912455" y="3835332"/>
                </a:cubicBezTo>
                <a:cubicBezTo>
                  <a:pt x="5918455" y="3841333"/>
                  <a:pt x="5914169" y="3839618"/>
                  <a:pt x="5918455" y="3845619"/>
                </a:cubicBezTo>
                <a:cubicBezTo>
                  <a:pt x="5923599" y="3851620"/>
                  <a:pt x="5919313" y="3855906"/>
                  <a:pt x="5921027" y="3858478"/>
                </a:cubicBezTo>
                <a:cubicBezTo>
                  <a:pt x="5922742" y="3861049"/>
                  <a:pt x="5932172" y="3862764"/>
                  <a:pt x="5935600" y="3867907"/>
                </a:cubicBezTo>
                <a:cubicBezTo>
                  <a:pt x="5939030" y="3873051"/>
                  <a:pt x="5944173" y="3879052"/>
                  <a:pt x="5944173" y="3879052"/>
                </a:cubicBezTo>
                <a:cubicBezTo>
                  <a:pt x="5944173" y="3879052"/>
                  <a:pt x="5961318" y="3876480"/>
                  <a:pt x="5964747" y="3874766"/>
                </a:cubicBezTo>
                <a:cubicBezTo>
                  <a:pt x="5967319" y="3873051"/>
                  <a:pt x="5969033" y="3863621"/>
                  <a:pt x="5969033" y="3863621"/>
                </a:cubicBezTo>
                <a:cubicBezTo>
                  <a:pt x="5969033" y="3863621"/>
                  <a:pt x="5972462" y="3855049"/>
                  <a:pt x="5972462" y="3851620"/>
                </a:cubicBezTo>
                <a:cubicBezTo>
                  <a:pt x="5972462" y="3849048"/>
                  <a:pt x="5968176" y="3837046"/>
                  <a:pt x="5968176" y="3837046"/>
                </a:cubicBezTo>
                <a:lnTo>
                  <a:pt x="5968176" y="3825045"/>
                </a:lnTo>
                <a:cubicBezTo>
                  <a:pt x="5968176" y="3825045"/>
                  <a:pt x="5962175" y="3819044"/>
                  <a:pt x="5963890" y="3814758"/>
                </a:cubicBezTo>
                <a:cubicBezTo>
                  <a:pt x="5965604" y="3811329"/>
                  <a:pt x="5963890" y="3814758"/>
                  <a:pt x="5967319" y="3815615"/>
                </a:cubicBezTo>
                <a:cubicBezTo>
                  <a:pt x="5969890" y="3816472"/>
                  <a:pt x="5976748" y="3816472"/>
                  <a:pt x="5979320" y="3819901"/>
                </a:cubicBezTo>
                <a:cubicBezTo>
                  <a:pt x="5981892" y="3823331"/>
                  <a:pt x="5984464" y="3832760"/>
                  <a:pt x="5987893" y="3836189"/>
                </a:cubicBezTo>
                <a:cubicBezTo>
                  <a:pt x="5991322" y="3839618"/>
                  <a:pt x="5991322" y="3838761"/>
                  <a:pt x="5995608" y="3843904"/>
                </a:cubicBezTo>
                <a:cubicBezTo>
                  <a:pt x="5999037" y="3849048"/>
                  <a:pt x="5998180" y="3845619"/>
                  <a:pt x="6001609" y="3850762"/>
                </a:cubicBezTo>
                <a:cubicBezTo>
                  <a:pt x="6005038" y="3856763"/>
                  <a:pt x="6001609" y="3855049"/>
                  <a:pt x="6005895" y="3862764"/>
                </a:cubicBezTo>
                <a:cubicBezTo>
                  <a:pt x="6010181" y="3870479"/>
                  <a:pt x="6010181" y="3868765"/>
                  <a:pt x="6014468" y="3873051"/>
                </a:cubicBezTo>
                <a:lnTo>
                  <a:pt x="6016182" y="3869622"/>
                </a:lnTo>
                <a:cubicBezTo>
                  <a:pt x="5982107" y="3745535"/>
                  <a:pt x="5876182" y="3678348"/>
                  <a:pt x="5825350" y="3652510"/>
                </a:cubicBezTo>
                <a:lnTo>
                  <a:pt x="5820840" y="3650383"/>
                </a:lnTo>
                <a:lnTo>
                  <a:pt x="5876805" y="3675659"/>
                </a:lnTo>
                <a:cubicBezTo>
                  <a:pt x="6043936" y="3773476"/>
                  <a:pt x="6086691" y="3965313"/>
                  <a:pt x="5998180" y="4119082"/>
                </a:cubicBezTo>
                <a:cubicBezTo>
                  <a:pt x="5897024" y="4294818"/>
                  <a:pt x="5717002" y="4286246"/>
                  <a:pt x="5717002" y="4286246"/>
                </a:cubicBezTo>
                <a:cubicBezTo>
                  <a:pt x="5797583" y="4285388"/>
                  <a:pt x="5835302" y="4250241"/>
                  <a:pt x="5835302" y="4250241"/>
                </a:cubicBezTo>
                <a:cubicBezTo>
                  <a:pt x="5835302" y="4250241"/>
                  <a:pt x="5821586" y="4249384"/>
                  <a:pt x="5819015" y="4251098"/>
                </a:cubicBezTo>
                <a:cubicBezTo>
                  <a:pt x="5816443" y="4252813"/>
                  <a:pt x="5805298" y="4244240"/>
                  <a:pt x="5802727" y="4244240"/>
                </a:cubicBezTo>
                <a:cubicBezTo>
                  <a:pt x="5800155" y="4244240"/>
                  <a:pt x="5795869" y="4243383"/>
                  <a:pt x="5793297" y="4242525"/>
                </a:cubicBezTo>
                <a:cubicBezTo>
                  <a:pt x="5790725" y="4241668"/>
                  <a:pt x="5783010" y="4244240"/>
                  <a:pt x="5777867" y="4245098"/>
                </a:cubicBezTo>
                <a:cubicBezTo>
                  <a:pt x="5771866" y="4245955"/>
                  <a:pt x="5771008" y="4245955"/>
                  <a:pt x="5765865" y="4251098"/>
                </a:cubicBezTo>
                <a:cubicBezTo>
                  <a:pt x="5759864" y="4256242"/>
                  <a:pt x="5759864" y="4250241"/>
                  <a:pt x="5755578" y="4250241"/>
                </a:cubicBezTo>
                <a:cubicBezTo>
                  <a:pt x="5752149" y="4250241"/>
                  <a:pt x="5742719" y="4251098"/>
                  <a:pt x="5742719" y="4251098"/>
                </a:cubicBezTo>
                <a:lnTo>
                  <a:pt x="5747005" y="4240811"/>
                </a:lnTo>
                <a:cubicBezTo>
                  <a:pt x="5747005" y="4240811"/>
                  <a:pt x="5741005" y="4239097"/>
                  <a:pt x="5735861" y="4239097"/>
                </a:cubicBezTo>
                <a:cubicBezTo>
                  <a:pt x="5730718" y="4239097"/>
                  <a:pt x="5731575" y="4243383"/>
                  <a:pt x="5729003" y="4247669"/>
                </a:cubicBezTo>
                <a:cubicBezTo>
                  <a:pt x="5726432" y="4251956"/>
                  <a:pt x="5726432" y="4252813"/>
                  <a:pt x="5723003" y="4258813"/>
                </a:cubicBezTo>
                <a:cubicBezTo>
                  <a:pt x="5720431" y="4265671"/>
                  <a:pt x="5706715" y="4255384"/>
                  <a:pt x="5701571" y="4254527"/>
                </a:cubicBezTo>
                <a:cubicBezTo>
                  <a:pt x="5696427" y="4253670"/>
                  <a:pt x="5693855" y="4254527"/>
                  <a:pt x="5689569" y="4251956"/>
                </a:cubicBezTo>
                <a:cubicBezTo>
                  <a:pt x="5685282" y="4249384"/>
                  <a:pt x="5690426" y="4247669"/>
                  <a:pt x="5690426" y="4247669"/>
                </a:cubicBezTo>
                <a:lnTo>
                  <a:pt x="5702427" y="4239097"/>
                </a:lnTo>
                <a:lnTo>
                  <a:pt x="5714430" y="4232239"/>
                </a:lnTo>
                <a:cubicBezTo>
                  <a:pt x="5714430" y="4232239"/>
                  <a:pt x="5712715" y="4226238"/>
                  <a:pt x="5708429" y="4225380"/>
                </a:cubicBezTo>
                <a:cubicBezTo>
                  <a:pt x="5704999" y="4224523"/>
                  <a:pt x="5704999" y="4227953"/>
                  <a:pt x="5702427" y="4230524"/>
                </a:cubicBezTo>
                <a:cubicBezTo>
                  <a:pt x="5699857" y="4233096"/>
                  <a:pt x="5677567" y="4231381"/>
                  <a:pt x="5677567" y="4231381"/>
                </a:cubicBezTo>
                <a:cubicBezTo>
                  <a:pt x="5677567" y="4231381"/>
                  <a:pt x="5663851" y="4236525"/>
                  <a:pt x="5656993" y="4233096"/>
                </a:cubicBezTo>
                <a:cubicBezTo>
                  <a:pt x="5649278" y="4229667"/>
                  <a:pt x="5656993" y="4233096"/>
                  <a:pt x="5653564" y="4226238"/>
                </a:cubicBezTo>
                <a:cubicBezTo>
                  <a:pt x="5650992" y="4219380"/>
                  <a:pt x="5644134" y="4230524"/>
                  <a:pt x="5638991" y="4233096"/>
                </a:cubicBezTo>
                <a:cubicBezTo>
                  <a:pt x="5632990" y="4235668"/>
                  <a:pt x="5632990" y="4233953"/>
                  <a:pt x="5618417" y="4236525"/>
                </a:cubicBezTo>
                <a:cubicBezTo>
                  <a:pt x="5603844" y="4239097"/>
                  <a:pt x="5608130" y="4238239"/>
                  <a:pt x="5608130" y="4238239"/>
                </a:cubicBezTo>
                <a:lnTo>
                  <a:pt x="5607273" y="4232239"/>
                </a:lnTo>
                <a:cubicBezTo>
                  <a:pt x="5607273" y="4232239"/>
                  <a:pt x="5601272" y="4236525"/>
                  <a:pt x="5596986" y="4240811"/>
                </a:cubicBezTo>
                <a:cubicBezTo>
                  <a:pt x="5592699" y="4245098"/>
                  <a:pt x="5588413" y="4242525"/>
                  <a:pt x="5584984" y="4242525"/>
                </a:cubicBezTo>
                <a:cubicBezTo>
                  <a:pt x="5581555" y="4242525"/>
                  <a:pt x="5583270" y="4256242"/>
                  <a:pt x="5583270" y="4256242"/>
                </a:cubicBezTo>
                <a:cubicBezTo>
                  <a:pt x="5589271" y="4270815"/>
                  <a:pt x="5664709" y="4287103"/>
                  <a:pt x="5664709" y="4287103"/>
                </a:cubicBezTo>
                <a:cubicBezTo>
                  <a:pt x="5338954" y="4239097"/>
                  <a:pt x="5372386" y="3912484"/>
                  <a:pt x="5372386" y="3912484"/>
                </a:cubicBezTo>
                <a:lnTo>
                  <a:pt x="5375815" y="3909913"/>
                </a:lnTo>
                <a:cubicBezTo>
                  <a:pt x="5375815" y="3909913"/>
                  <a:pt x="5377530" y="3917628"/>
                  <a:pt x="5378387" y="3921057"/>
                </a:cubicBezTo>
                <a:cubicBezTo>
                  <a:pt x="5380101" y="3924486"/>
                  <a:pt x="5380101" y="3923629"/>
                  <a:pt x="5384388" y="3929629"/>
                </a:cubicBezTo>
                <a:cubicBezTo>
                  <a:pt x="5387817" y="3935630"/>
                  <a:pt x="5389531" y="3934773"/>
                  <a:pt x="5391246" y="3939059"/>
                </a:cubicBezTo>
                <a:cubicBezTo>
                  <a:pt x="5392960" y="3944203"/>
                  <a:pt x="5391246" y="3939059"/>
                  <a:pt x="5386959" y="3953632"/>
                </a:cubicBezTo>
                <a:cubicBezTo>
                  <a:pt x="5383531" y="3968206"/>
                  <a:pt x="5395532" y="3977636"/>
                  <a:pt x="5395532" y="3977636"/>
                </a:cubicBezTo>
                <a:cubicBezTo>
                  <a:pt x="5395532" y="3977636"/>
                  <a:pt x="5395532" y="3981922"/>
                  <a:pt x="5394675" y="4006782"/>
                </a:cubicBezTo>
                <a:cubicBezTo>
                  <a:pt x="5393817" y="4030785"/>
                  <a:pt x="5404962" y="4036785"/>
                  <a:pt x="5413534" y="4051359"/>
                </a:cubicBezTo>
                <a:cubicBezTo>
                  <a:pt x="5421249" y="4065075"/>
                  <a:pt x="5416963" y="4059931"/>
                  <a:pt x="5420392" y="4065932"/>
                </a:cubicBezTo>
                <a:cubicBezTo>
                  <a:pt x="5423821" y="4071075"/>
                  <a:pt x="5422964" y="4066789"/>
                  <a:pt x="5432394" y="4075362"/>
                </a:cubicBezTo>
                <a:cubicBezTo>
                  <a:pt x="5441824" y="4083934"/>
                  <a:pt x="5434108" y="4083934"/>
                  <a:pt x="5438394" y="4101079"/>
                </a:cubicBezTo>
                <a:cubicBezTo>
                  <a:pt x="5442681" y="4118224"/>
                  <a:pt x="5442681" y="4108795"/>
                  <a:pt x="5446110" y="4123368"/>
                </a:cubicBezTo>
                <a:cubicBezTo>
                  <a:pt x="5448681" y="4138798"/>
                  <a:pt x="5449539" y="4126797"/>
                  <a:pt x="5455539" y="4135369"/>
                </a:cubicBezTo>
                <a:cubicBezTo>
                  <a:pt x="5461540" y="4143942"/>
                  <a:pt x="5455539" y="4135369"/>
                  <a:pt x="5462397" y="4148228"/>
                </a:cubicBezTo>
                <a:cubicBezTo>
                  <a:pt x="5469256" y="4161087"/>
                  <a:pt x="5467541" y="4154229"/>
                  <a:pt x="5470113" y="4160230"/>
                </a:cubicBezTo>
                <a:cubicBezTo>
                  <a:pt x="5472684" y="4165373"/>
                  <a:pt x="5475256" y="4162801"/>
                  <a:pt x="5484686" y="4188519"/>
                </a:cubicBezTo>
                <a:cubicBezTo>
                  <a:pt x="5494116" y="4214236"/>
                  <a:pt x="5486401" y="4192805"/>
                  <a:pt x="5491544" y="4198806"/>
                </a:cubicBezTo>
                <a:cubicBezTo>
                  <a:pt x="5496687" y="4204807"/>
                  <a:pt x="5499259" y="4201378"/>
                  <a:pt x="5511261" y="4210808"/>
                </a:cubicBezTo>
                <a:cubicBezTo>
                  <a:pt x="5523262" y="4220237"/>
                  <a:pt x="5514690" y="4215094"/>
                  <a:pt x="5524119" y="4221094"/>
                </a:cubicBezTo>
                <a:cubicBezTo>
                  <a:pt x="5533549" y="4227095"/>
                  <a:pt x="5525834" y="4218523"/>
                  <a:pt x="5525834" y="4215094"/>
                </a:cubicBezTo>
                <a:cubicBezTo>
                  <a:pt x="5525834" y="4211665"/>
                  <a:pt x="5521548" y="4209950"/>
                  <a:pt x="5518119" y="4206521"/>
                </a:cubicBezTo>
                <a:cubicBezTo>
                  <a:pt x="5513832" y="4203949"/>
                  <a:pt x="5512975" y="4199663"/>
                  <a:pt x="5509546" y="4195377"/>
                </a:cubicBezTo>
                <a:cubicBezTo>
                  <a:pt x="5506974" y="4191948"/>
                  <a:pt x="5506974" y="4190233"/>
                  <a:pt x="5505260" y="4185947"/>
                </a:cubicBezTo>
                <a:cubicBezTo>
                  <a:pt x="5502688" y="4181661"/>
                  <a:pt x="5500117" y="4179946"/>
                  <a:pt x="5495830" y="4173088"/>
                </a:cubicBezTo>
                <a:cubicBezTo>
                  <a:pt x="5491544" y="4166231"/>
                  <a:pt x="5499259" y="4167945"/>
                  <a:pt x="5500117" y="4165373"/>
                </a:cubicBezTo>
                <a:cubicBezTo>
                  <a:pt x="5500974" y="4162801"/>
                  <a:pt x="5502688" y="4163659"/>
                  <a:pt x="5503546" y="4160230"/>
                </a:cubicBezTo>
                <a:cubicBezTo>
                  <a:pt x="5504403" y="4156800"/>
                  <a:pt x="5504403" y="4151657"/>
                  <a:pt x="5500117" y="4147371"/>
                </a:cubicBezTo>
                <a:cubicBezTo>
                  <a:pt x="5496687" y="4142228"/>
                  <a:pt x="5507832" y="4121653"/>
                  <a:pt x="5508689" y="4119082"/>
                </a:cubicBezTo>
                <a:cubicBezTo>
                  <a:pt x="5509546" y="4116510"/>
                  <a:pt x="5508689" y="4103651"/>
                  <a:pt x="5508689" y="4103651"/>
                </a:cubicBezTo>
                <a:cubicBezTo>
                  <a:pt x="5508689" y="4103651"/>
                  <a:pt x="5514690" y="4097651"/>
                  <a:pt x="5518119" y="4096793"/>
                </a:cubicBezTo>
                <a:cubicBezTo>
                  <a:pt x="5521548" y="4095936"/>
                  <a:pt x="5527549" y="4091650"/>
                  <a:pt x="5531835" y="4087363"/>
                </a:cubicBezTo>
                <a:cubicBezTo>
                  <a:pt x="5536121" y="4083077"/>
                  <a:pt x="5530120" y="4078791"/>
                  <a:pt x="5530120" y="4078791"/>
                </a:cubicBezTo>
                <a:cubicBezTo>
                  <a:pt x="5530120" y="4078791"/>
                  <a:pt x="5532692" y="4073648"/>
                  <a:pt x="5534407" y="4070218"/>
                </a:cubicBezTo>
                <a:cubicBezTo>
                  <a:pt x="5536121" y="4066789"/>
                  <a:pt x="5535264" y="4059074"/>
                  <a:pt x="5535264" y="4056503"/>
                </a:cubicBezTo>
                <a:cubicBezTo>
                  <a:pt x="5535264" y="4053930"/>
                  <a:pt x="5532692" y="4049644"/>
                  <a:pt x="5530977" y="4045358"/>
                </a:cubicBezTo>
                <a:cubicBezTo>
                  <a:pt x="5528406" y="4041072"/>
                  <a:pt x="5530977" y="4036785"/>
                  <a:pt x="5532692" y="4034214"/>
                </a:cubicBezTo>
                <a:cubicBezTo>
                  <a:pt x="5535264" y="4031642"/>
                  <a:pt x="5538693" y="4023070"/>
                  <a:pt x="5542122" y="4020498"/>
                </a:cubicBezTo>
                <a:cubicBezTo>
                  <a:pt x="5545551" y="4017926"/>
                  <a:pt x="5546408" y="4013640"/>
                  <a:pt x="5547265" y="4007639"/>
                </a:cubicBezTo>
                <a:cubicBezTo>
                  <a:pt x="5548122" y="4001638"/>
                  <a:pt x="5543836" y="4001638"/>
                  <a:pt x="5542122" y="4000781"/>
                </a:cubicBezTo>
                <a:cubicBezTo>
                  <a:pt x="5540407" y="3999924"/>
                  <a:pt x="5537836" y="3998209"/>
                  <a:pt x="5529263" y="3993923"/>
                </a:cubicBezTo>
                <a:cubicBezTo>
                  <a:pt x="5521548" y="3988780"/>
                  <a:pt x="5524119" y="3985351"/>
                  <a:pt x="5520691" y="3982779"/>
                </a:cubicBezTo>
                <a:cubicBezTo>
                  <a:pt x="5517262" y="3980207"/>
                  <a:pt x="5511261" y="3981064"/>
                  <a:pt x="5504403" y="3981922"/>
                </a:cubicBezTo>
                <a:cubicBezTo>
                  <a:pt x="5497545" y="3982779"/>
                  <a:pt x="5502688" y="3977636"/>
                  <a:pt x="5500974" y="3976778"/>
                </a:cubicBezTo>
                <a:cubicBezTo>
                  <a:pt x="5499259" y="3975921"/>
                  <a:pt x="5494116" y="3973349"/>
                  <a:pt x="5488115" y="3971635"/>
                </a:cubicBezTo>
                <a:cubicBezTo>
                  <a:pt x="5482971" y="3969920"/>
                  <a:pt x="5486401" y="3964777"/>
                  <a:pt x="5486401" y="3964777"/>
                </a:cubicBezTo>
                <a:cubicBezTo>
                  <a:pt x="5486401" y="3964777"/>
                  <a:pt x="5479542" y="3963919"/>
                  <a:pt x="5476971" y="3963062"/>
                </a:cubicBezTo>
                <a:cubicBezTo>
                  <a:pt x="5474399" y="3963062"/>
                  <a:pt x="5474399" y="3958776"/>
                  <a:pt x="5475256" y="3957061"/>
                </a:cubicBezTo>
                <a:cubicBezTo>
                  <a:pt x="5476114" y="3954490"/>
                  <a:pt x="5474399" y="3947632"/>
                  <a:pt x="5474399" y="3947632"/>
                </a:cubicBezTo>
                <a:cubicBezTo>
                  <a:pt x="5474399" y="3947632"/>
                  <a:pt x="5473542" y="3939059"/>
                  <a:pt x="5469256" y="3938202"/>
                </a:cubicBezTo>
                <a:cubicBezTo>
                  <a:pt x="5464969" y="3936487"/>
                  <a:pt x="5466684" y="3933058"/>
                  <a:pt x="5464969" y="3932201"/>
                </a:cubicBezTo>
                <a:cubicBezTo>
                  <a:pt x="5462397" y="3931344"/>
                  <a:pt x="5455539" y="3930487"/>
                  <a:pt x="5453825" y="3930487"/>
                </a:cubicBezTo>
                <a:cubicBezTo>
                  <a:pt x="5452968" y="3930487"/>
                  <a:pt x="5445252" y="3928772"/>
                  <a:pt x="5444395" y="3925343"/>
                </a:cubicBezTo>
                <a:cubicBezTo>
                  <a:pt x="5443538" y="3922771"/>
                  <a:pt x="5443538" y="3917628"/>
                  <a:pt x="5441824" y="3916771"/>
                </a:cubicBezTo>
                <a:cubicBezTo>
                  <a:pt x="5440109" y="3915913"/>
                  <a:pt x="5438394" y="3910770"/>
                  <a:pt x="5437537" y="3907341"/>
                </a:cubicBezTo>
                <a:cubicBezTo>
                  <a:pt x="5435823" y="3903912"/>
                  <a:pt x="5433251" y="3903912"/>
                  <a:pt x="5431536" y="3903055"/>
                </a:cubicBezTo>
                <a:cubicBezTo>
                  <a:pt x="5429822" y="3902197"/>
                  <a:pt x="5422107" y="3906484"/>
                  <a:pt x="5419535" y="3905626"/>
                </a:cubicBezTo>
                <a:cubicBezTo>
                  <a:pt x="5416963" y="3904769"/>
                  <a:pt x="5420392" y="3899626"/>
                  <a:pt x="5418678" y="3897911"/>
                </a:cubicBezTo>
                <a:cubicBezTo>
                  <a:pt x="5417821" y="3896197"/>
                  <a:pt x="5416963" y="3897054"/>
                  <a:pt x="5411820" y="3896197"/>
                </a:cubicBezTo>
                <a:cubicBezTo>
                  <a:pt x="5406676" y="3895339"/>
                  <a:pt x="5406676" y="3899626"/>
                  <a:pt x="5406676" y="3899626"/>
                </a:cubicBezTo>
                <a:lnTo>
                  <a:pt x="5404104" y="3903055"/>
                </a:lnTo>
                <a:cubicBezTo>
                  <a:pt x="5404104" y="3903055"/>
                  <a:pt x="5402390" y="3905626"/>
                  <a:pt x="5398104" y="3911627"/>
                </a:cubicBezTo>
                <a:cubicBezTo>
                  <a:pt x="5393817" y="3917628"/>
                  <a:pt x="5398104" y="3911627"/>
                  <a:pt x="5396389" y="3909913"/>
                </a:cubicBezTo>
                <a:cubicBezTo>
                  <a:pt x="5394675" y="3908198"/>
                  <a:pt x="5394675" y="3908198"/>
                  <a:pt x="5393817" y="3906484"/>
                </a:cubicBezTo>
                <a:cubicBezTo>
                  <a:pt x="5392103" y="3904769"/>
                  <a:pt x="5389531" y="3897054"/>
                  <a:pt x="5390389" y="3893625"/>
                </a:cubicBezTo>
                <a:cubicBezTo>
                  <a:pt x="5391246" y="3890196"/>
                  <a:pt x="5392960" y="3886767"/>
                  <a:pt x="5393817" y="3884195"/>
                </a:cubicBezTo>
                <a:cubicBezTo>
                  <a:pt x="5394675" y="3881623"/>
                  <a:pt x="5392960" y="3879909"/>
                  <a:pt x="5392960" y="3871336"/>
                </a:cubicBezTo>
                <a:cubicBezTo>
                  <a:pt x="5392960" y="3862764"/>
                  <a:pt x="5392960" y="3863621"/>
                  <a:pt x="5393817" y="3861049"/>
                </a:cubicBezTo>
                <a:cubicBezTo>
                  <a:pt x="5393817" y="3858478"/>
                  <a:pt x="5392960" y="3855906"/>
                  <a:pt x="5392960" y="3853334"/>
                </a:cubicBezTo>
                <a:cubicBezTo>
                  <a:pt x="5392960" y="3850762"/>
                  <a:pt x="5388674" y="3851620"/>
                  <a:pt x="5388674" y="3851620"/>
                </a:cubicBezTo>
                <a:cubicBezTo>
                  <a:pt x="5392103" y="3836189"/>
                  <a:pt x="5402390" y="3815615"/>
                  <a:pt x="5402390" y="3815615"/>
                </a:cubicBezTo>
                <a:cubicBezTo>
                  <a:pt x="5402390" y="3815615"/>
                  <a:pt x="5400676" y="3825045"/>
                  <a:pt x="5400676" y="3826759"/>
                </a:cubicBezTo>
                <a:cubicBezTo>
                  <a:pt x="5400676" y="3828474"/>
                  <a:pt x="5399818" y="3831903"/>
                  <a:pt x="5399818" y="3833617"/>
                </a:cubicBezTo>
                <a:cubicBezTo>
                  <a:pt x="5399818" y="3835332"/>
                  <a:pt x="5398961" y="3839618"/>
                  <a:pt x="5398961" y="3841333"/>
                </a:cubicBezTo>
                <a:cubicBezTo>
                  <a:pt x="5398961" y="3843047"/>
                  <a:pt x="5400676" y="3842190"/>
                  <a:pt x="5401533" y="3842190"/>
                </a:cubicBezTo>
                <a:cubicBezTo>
                  <a:pt x="5403247" y="3841333"/>
                  <a:pt x="5404104" y="3842190"/>
                  <a:pt x="5406676" y="3845619"/>
                </a:cubicBezTo>
                <a:cubicBezTo>
                  <a:pt x="5409248" y="3849048"/>
                  <a:pt x="5406676" y="3845619"/>
                  <a:pt x="5408391" y="3845619"/>
                </a:cubicBezTo>
                <a:cubicBezTo>
                  <a:pt x="5409248" y="3845619"/>
                  <a:pt x="5411820" y="3849048"/>
                  <a:pt x="5412677" y="3850762"/>
                </a:cubicBezTo>
                <a:cubicBezTo>
                  <a:pt x="5413534" y="3852477"/>
                  <a:pt x="5411820" y="3854191"/>
                  <a:pt x="5411820" y="3857621"/>
                </a:cubicBezTo>
                <a:cubicBezTo>
                  <a:pt x="5410962" y="3861049"/>
                  <a:pt x="5411820" y="3857621"/>
                  <a:pt x="5413534" y="3859335"/>
                </a:cubicBezTo>
                <a:cubicBezTo>
                  <a:pt x="5415249" y="3861049"/>
                  <a:pt x="5417821" y="3861049"/>
                  <a:pt x="5418678" y="3861907"/>
                </a:cubicBezTo>
                <a:cubicBezTo>
                  <a:pt x="5420392" y="3862764"/>
                  <a:pt x="5422964" y="3860192"/>
                  <a:pt x="5425536" y="3861049"/>
                </a:cubicBezTo>
                <a:cubicBezTo>
                  <a:pt x="5428107" y="3861049"/>
                  <a:pt x="5428107" y="3862764"/>
                  <a:pt x="5428965" y="3865336"/>
                </a:cubicBezTo>
                <a:cubicBezTo>
                  <a:pt x="5429822" y="3868765"/>
                  <a:pt x="5429822" y="3868765"/>
                  <a:pt x="5430679" y="3868765"/>
                </a:cubicBezTo>
                <a:cubicBezTo>
                  <a:pt x="5431536" y="3868765"/>
                  <a:pt x="5433251" y="3866193"/>
                  <a:pt x="5434108" y="3865336"/>
                </a:cubicBezTo>
                <a:cubicBezTo>
                  <a:pt x="5434966" y="3864478"/>
                  <a:pt x="5435823" y="3861049"/>
                  <a:pt x="5435823" y="3861049"/>
                </a:cubicBezTo>
                <a:lnTo>
                  <a:pt x="5432394" y="3858478"/>
                </a:lnTo>
                <a:lnTo>
                  <a:pt x="5427250" y="3855049"/>
                </a:lnTo>
                <a:lnTo>
                  <a:pt x="5421249" y="3853334"/>
                </a:lnTo>
                <a:cubicBezTo>
                  <a:pt x="5421249" y="3853334"/>
                  <a:pt x="5417821" y="3852477"/>
                  <a:pt x="5415249" y="3852477"/>
                </a:cubicBezTo>
                <a:cubicBezTo>
                  <a:pt x="5412677" y="3852477"/>
                  <a:pt x="5415249" y="3846476"/>
                  <a:pt x="5415249" y="3845619"/>
                </a:cubicBezTo>
                <a:cubicBezTo>
                  <a:pt x="5415249" y="3843904"/>
                  <a:pt x="5415249" y="3837904"/>
                  <a:pt x="5415249" y="3837904"/>
                </a:cubicBezTo>
                <a:cubicBezTo>
                  <a:pt x="5415249" y="3837904"/>
                  <a:pt x="5411820" y="3837046"/>
                  <a:pt x="5410962" y="3837046"/>
                </a:cubicBezTo>
                <a:cubicBezTo>
                  <a:pt x="5410105" y="3837046"/>
                  <a:pt x="5406676" y="3834475"/>
                  <a:pt x="5406676" y="3833617"/>
                </a:cubicBezTo>
                <a:cubicBezTo>
                  <a:pt x="5406676" y="3831903"/>
                  <a:pt x="5407534" y="3828474"/>
                  <a:pt x="5410105" y="3826759"/>
                </a:cubicBezTo>
                <a:cubicBezTo>
                  <a:pt x="5411820" y="3825045"/>
                  <a:pt x="5419535" y="3822473"/>
                  <a:pt x="5420392" y="3822473"/>
                </a:cubicBezTo>
                <a:cubicBezTo>
                  <a:pt x="5421249" y="3821616"/>
                  <a:pt x="5423821" y="3819044"/>
                  <a:pt x="5425536" y="3818187"/>
                </a:cubicBezTo>
                <a:cubicBezTo>
                  <a:pt x="5426393" y="3817330"/>
                  <a:pt x="5428965" y="3813901"/>
                  <a:pt x="5428965" y="3810472"/>
                </a:cubicBezTo>
                <a:cubicBezTo>
                  <a:pt x="5429822" y="3807900"/>
                  <a:pt x="5431536" y="3803614"/>
                  <a:pt x="5432394" y="3801899"/>
                </a:cubicBezTo>
                <a:cubicBezTo>
                  <a:pt x="5433251" y="3800185"/>
                  <a:pt x="5433251" y="3795898"/>
                  <a:pt x="5434108" y="3792469"/>
                </a:cubicBezTo>
                <a:cubicBezTo>
                  <a:pt x="5434966" y="3789898"/>
                  <a:pt x="5438394" y="3785611"/>
                  <a:pt x="5439252" y="3785611"/>
                </a:cubicBezTo>
                <a:cubicBezTo>
                  <a:pt x="5440109" y="3785611"/>
                  <a:pt x="5448681" y="3779611"/>
                  <a:pt x="5451253" y="3776182"/>
                </a:cubicBezTo>
                <a:cubicBezTo>
                  <a:pt x="5453825" y="3772753"/>
                  <a:pt x="5458111" y="3770181"/>
                  <a:pt x="5458111" y="3770181"/>
                </a:cubicBezTo>
                <a:lnTo>
                  <a:pt x="5460683" y="3764180"/>
                </a:lnTo>
                <a:cubicBezTo>
                  <a:pt x="5460683" y="3764180"/>
                  <a:pt x="5461540" y="3762466"/>
                  <a:pt x="5466684" y="3761608"/>
                </a:cubicBezTo>
                <a:cubicBezTo>
                  <a:pt x="5471827" y="3759894"/>
                  <a:pt x="5474399" y="3757322"/>
                  <a:pt x="5474399" y="3757322"/>
                </a:cubicBezTo>
                <a:cubicBezTo>
                  <a:pt x="5474399" y="3757322"/>
                  <a:pt x="5476971" y="3751321"/>
                  <a:pt x="5476971" y="3749607"/>
                </a:cubicBezTo>
                <a:cubicBezTo>
                  <a:pt x="5476971" y="3747892"/>
                  <a:pt x="5479542" y="3747035"/>
                  <a:pt x="5479542" y="3747035"/>
                </a:cubicBezTo>
                <a:cubicBezTo>
                  <a:pt x="5479542" y="3747035"/>
                  <a:pt x="5488115" y="3741892"/>
                  <a:pt x="5488115" y="3741034"/>
                </a:cubicBezTo>
                <a:cubicBezTo>
                  <a:pt x="5488115" y="3740177"/>
                  <a:pt x="5488972" y="3739320"/>
                  <a:pt x="5491544" y="3738463"/>
                </a:cubicBezTo>
                <a:cubicBezTo>
                  <a:pt x="5494116" y="3737606"/>
                  <a:pt x="5495830" y="3738463"/>
                  <a:pt x="5498402" y="3739320"/>
                </a:cubicBezTo>
                <a:cubicBezTo>
                  <a:pt x="5500117" y="3740177"/>
                  <a:pt x="5503546" y="3741034"/>
                  <a:pt x="5507832" y="3741892"/>
                </a:cubicBezTo>
                <a:cubicBezTo>
                  <a:pt x="5512118" y="3742749"/>
                  <a:pt x="5512975" y="3741034"/>
                  <a:pt x="5512975" y="3741034"/>
                </a:cubicBezTo>
                <a:cubicBezTo>
                  <a:pt x="5512975" y="3741034"/>
                  <a:pt x="5514690" y="3736748"/>
                  <a:pt x="5514690" y="3735034"/>
                </a:cubicBezTo>
                <a:cubicBezTo>
                  <a:pt x="5514690" y="3733319"/>
                  <a:pt x="5513832" y="3731605"/>
                  <a:pt x="5513832" y="3731605"/>
                </a:cubicBezTo>
                <a:cubicBezTo>
                  <a:pt x="5513832" y="3731605"/>
                  <a:pt x="5510404" y="3729890"/>
                  <a:pt x="5509546" y="3729890"/>
                </a:cubicBezTo>
                <a:cubicBezTo>
                  <a:pt x="5508689" y="3729890"/>
                  <a:pt x="5511261" y="3723032"/>
                  <a:pt x="5511261" y="3723032"/>
                </a:cubicBezTo>
                <a:lnTo>
                  <a:pt x="5517262" y="3718746"/>
                </a:lnTo>
                <a:cubicBezTo>
                  <a:pt x="5517262" y="3718746"/>
                  <a:pt x="5522405" y="3714460"/>
                  <a:pt x="5525834" y="3713602"/>
                </a:cubicBezTo>
                <a:cubicBezTo>
                  <a:pt x="5529263" y="3712745"/>
                  <a:pt x="5529263" y="3717031"/>
                  <a:pt x="5530977" y="3717889"/>
                </a:cubicBezTo>
                <a:cubicBezTo>
                  <a:pt x="5532692" y="3719603"/>
                  <a:pt x="5531835" y="3720461"/>
                  <a:pt x="5531835" y="3720461"/>
                </a:cubicBezTo>
                <a:lnTo>
                  <a:pt x="5524977" y="3724747"/>
                </a:lnTo>
                <a:cubicBezTo>
                  <a:pt x="5524977" y="3724747"/>
                  <a:pt x="5525834" y="3729890"/>
                  <a:pt x="5528406" y="3730747"/>
                </a:cubicBezTo>
                <a:cubicBezTo>
                  <a:pt x="5530977" y="3731605"/>
                  <a:pt x="5536978" y="3730747"/>
                  <a:pt x="5536978" y="3730747"/>
                </a:cubicBezTo>
                <a:lnTo>
                  <a:pt x="5542122" y="3727318"/>
                </a:lnTo>
                <a:lnTo>
                  <a:pt x="5543836" y="3723032"/>
                </a:lnTo>
                <a:lnTo>
                  <a:pt x="5543836" y="3716174"/>
                </a:lnTo>
                <a:cubicBezTo>
                  <a:pt x="5543836" y="3716174"/>
                  <a:pt x="5542979" y="3712745"/>
                  <a:pt x="5542979" y="3710173"/>
                </a:cubicBezTo>
                <a:cubicBezTo>
                  <a:pt x="5542979" y="3707602"/>
                  <a:pt x="5544694" y="3706744"/>
                  <a:pt x="5545551" y="3705887"/>
                </a:cubicBezTo>
                <a:cubicBezTo>
                  <a:pt x="5546408" y="3704173"/>
                  <a:pt x="5548980" y="3703316"/>
                  <a:pt x="5548980" y="3703316"/>
                </a:cubicBezTo>
                <a:lnTo>
                  <a:pt x="5551552" y="3699029"/>
                </a:lnTo>
                <a:cubicBezTo>
                  <a:pt x="5551552" y="3699029"/>
                  <a:pt x="5551552" y="3693886"/>
                  <a:pt x="5551552" y="3692171"/>
                </a:cubicBezTo>
                <a:cubicBezTo>
                  <a:pt x="5551552" y="3691314"/>
                  <a:pt x="5556695" y="3684456"/>
                  <a:pt x="5557552" y="3683599"/>
                </a:cubicBezTo>
                <a:cubicBezTo>
                  <a:pt x="5559267" y="3682741"/>
                  <a:pt x="5560124" y="3679312"/>
                  <a:pt x="5560124" y="3679312"/>
                </a:cubicBezTo>
                <a:lnTo>
                  <a:pt x="5552409" y="3675883"/>
                </a:lnTo>
                <a:cubicBezTo>
                  <a:pt x="5543408" y="3675883"/>
                  <a:pt x="5532906" y="3679741"/>
                  <a:pt x="5522218" y="3685527"/>
                </a:cubicBezTo>
                <a:lnTo>
                  <a:pt x="5496913" y="3702672"/>
                </a:lnTo>
                <a:lnTo>
                  <a:pt x="5518815" y="3683786"/>
                </a:lnTo>
                <a:cubicBezTo>
                  <a:pt x="5583431" y="3642075"/>
                  <a:pt x="5647564" y="3633878"/>
                  <a:pt x="5647564" y="3633878"/>
                </a:cubicBezTo>
                <a:cubicBezTo>
                  <a:pt x="5658708" y="3631306"/>
                  <a:pt x="5702427" y="3631306"/>
                  <a:pt x="5699857" y="3627877"/>
                </a:cubicBezTo>
                <a:close/>
                <a:moveTo>
                  <a:pt x="4861612" y="3580313"/>
                </a:moveTo>
                <a:cubicBezTo>
                  <a:pt x="4765935" y="3577782"/>
                  <a:pt x="4673513" y="3631306"/>
                  <a:pt x="4631722" y="3723889"/>
                </a:cubicBezTo>
                <a:cubicBezTo>
                  <a:pt x="4576000" y="3847334"/>
                  <a:pt x="4630007" y="3993066"/>
                  <a:pt x="4753451" y="4048788"/>
                </a:cubicBezTo>
                <a:cubicBezTo>
                  <a:pt x="4876896" y="4105366"/>
                  <a:pt x="5021771" y="4050502"/>
                  <a:pt x="5078350" y="3927058"/>
                </a:cubicBezTo>
                <a:cubicBezTo>
                  <a:pt x="5134071" y="3803614"/>
                  <a:pt x="5080064" y="3657881"/>
                  <a:pt x="4956620" y="3602159"/>
                </a:cubicBezTo>
                <a:cubicBezTo>
                  <a:pt x="4925759" y="3588229"/>
                  <a:pt x="4893505" y="3581157"/>
                  <a:pt x="4861612" y="3580313"/>
                </a:cubicBezTo>
                <a:close/>
                <a:moveTo>
                  <a:pt x="4863113" y="3524739"/>
                </a:moveTo>
                <a:cubicBezTo>
                  <a:pt x="4902238" y="3525757"/>
                  <a:pt x="4941832" y="3534437"/>
                  <a:pt x="4979766" y="3551582"/>
                </a:cubicBezTo>
                <a:cubicBezTo>
                  <a:pt x="5131499" y="3621019"/>
                  <a:pt x="5198365" y="3799328"/>
                  <a:pt x="5128928" y="3950204"/>
                </a:cubicBezTo>
                <a:cubicBezTo>
                  <a:pt x="5068921" y="4082221"/>
                  <a:pt x="4924902" y="4149917"/>
                  <a:pt x="4788185" y="4118835"/>
                </a:cubicBezTo>
                <a:lnTo>
                  <a:pt x="4769854" y="4112669"/>
                </a:lnTo>
                <a:lnTo>
                  <a:pt x="4736576" y="4185841"/>
                </a:lnTo>
                <a:lnTo>
                  <a:pt x="4739414" y="4190448"/>
                </a:lnTo>
                <a:cubicBezTo>
                  <a:pt x="4745307" y="4206093"/>
                  <a:pt x="4745307" y="4224095"/>
                  <a:pt x="4738021" y="4240811"/>
                </a:cubicBezTo>
                <a:lnTo>
                  <a:pt x="4623149" y="4492842"/>
                </a:lnTo>
                <a:cubicBezTo>
                  <a:pt x="4608576" y="4525418"/>
                  <a:pt x="4570000" y="4539991"/>
                  <a:pt x="4536567" y="4525418"/>
                </a:cubicBezTo>
                <a:cubicBezTo>
                  <a:pt x="4503991" y="4510845"/>
                  <a:pt x="4489418" y="4472268"/>
                  <a:pt x="4503991" y="4438835"/>
                </a:cubicBezTo>
                <a:lnTo>
                  <a:pt x="4618863" y="4186804"/>
                </a:lnTo>
                <a:cubicBezTo>
                  <a:pt x="4624328" y="4174588"/>
                  <a:pt x="4633169" y="4164904"/>
                  <a:pt x="4643847" y="4158339"/>
                </a:cubicBezTo>
                <a:lnTo>
                  <a:pt x="4661831" y="4153470"/>
                </a:lnTo>
                <a:lnTo>
                  <a:pt x="4695622" y="4079170"/>
                </a:lnTo>
                <a:lnTo>
                  <a:pt x="4677765" y="4068771"/>
                </a:lnTo>
                <a:cubicBezTo>
                  <a:pt x="4564829" y="3986624"/>
                  <a:pt x="4521137" y="3833511"/>
                  <a:pt x="4581144" y="3700743"/>
                </a:cubicBezTo>
                <a:cubicBezTo>
                  <a:pt x="4632579" y="3587586"/>
                  <a:pt x="4745736" y="3521685"/>
                  <a:pt x="4863113" y="3524739"/>
                </a:cubicBezTo>
                <a:close/>
                <a:moveTo>
                  <a:pt x="1544765" y="3428138"/>
                </a:moveTo>
                <a:cubicBezTo>
                  <a:pt x="1544765" y="3428138"/>
                  <a:pt x="1624490" y="3511291"/>
                  <a:pt x="1620204" y="3555010"/>
                </a:cubicBezTo>
                <a:cubicBezTo>
                  <a:pt x="1615918" y="3598730"/>
                  <a:pt x="1532764" y="3615018"/>
                  <a:pt x="1532764" y="3615018"/>
                </a:cubicBezTo>
                <a:cubicBezTo>
                  <a:pt x="1532764" y="3615018"/>
                  <a:pt x="1645922" y="3615018"/>
                  <a:pt x="1646779" y="3561011"/>
                </a:cubicBezTo>
                <a:cubicBezTo>
                  <a:pt x="1647636" y="3507004"/>
                  <a:pt x="1544765" y="3428138"/>
                  <a:pt x="1544765" y="3428138"/>
                </a:cubicBezTo>
                <a:close/>
                <a:moveTo>
                  <a:pt x="408910" y="3284263"/>
                </a:moveTo>
                <a:lnTo>
                  <a:pt x="393653" y="3296390"/>
                </a:lnTo>
                <a:cubicBezTo>
                  <a:pt x="373702" y="3310964"/>
                  <a:pt x="354008" y="3324077"/>
                  <a:pt x="334836" y="3335610"/>
                </a:cubicBezTo>
                <a:lnTo>
                  <a:pt x="325136" y="3340789"/>
                </a:lnTo>
                <a:lnTo>
                  <a:pt x="330318" y="3354497"/>
                </a:lnTo>
                <a:cubicBezTo>
                  <a:pt x="351753" y="3400123"/>
                  <a:pt x="378758" y="3427281"/>
                  <a:pt x="408051" y="3427281"/>
                </a:cubicBezTo>
                <a:cubicBezTo>
                  <a:pt x="434090" y="3427281"/>
                  <a:pt x="458321" y="3405823"/>
                  <a:pt x="478438" y="3369010"/>
                </a:cubicBezTo>
                <a:lnTo>
                  <a:pt x="491268" y="3340334"/>
                </a:lnTo>
                <a:lnTo>
                  <a:pt x="481268" y="3334978"/>
                </a:lnTo>
                <a:close/>
                <a:moveTo>
                  <a:pt x="385103" y="3234417"/>
                </a:moveTo>
                <a:lnTo>
                  <a:pt x="394907" y="3243179"/>
                </a:lnTo>
                <a:lnTo>
                  <a:pt x="407331" y="3251843"/>
                </a:lnTo>
                <a:lnTo>
                  <a:pt x="427247" y="3234680"/>
                </a:lnTo>
                <a:lnTo>
                  <a:pt x="408051" y="3236114"/>
                </a:lnTo>
                <a:close/>
                <a:moveTo>
                  <a:pt x="293992" y="3227681"/>
                </a:moveTo>
                <a:lnTo>
                  <a:pt x="310863" y="3303036"/>
                </a:lnTo>
                <a:lnTo>
                  <a:pt x="314200" y="3311864"/>
                </a:lnTo>
                <a:lnTo>
                  <a:pt x="346623" y="3294552"/>
                </a:lnTo>
                <a:lnTo>
                  <a:pt x="386844" y="3267724"/>
                </a:lnTo>
                <a:lnTo>
                  <a:pt x="346453" y="3231560"/>
                </a:lnTo>
                <a:close/>
                <a:moveTo>
                  <a:pt x="521204" y="3227662"/>
                </a:moveTo>
                <a:lnTo>
                  <a:pt x="472442" y="3231304"/>
                </a:lnTo>
                <a:lnTo>
                  <a:pt x="454017" y="3248411"/>
                </a:lnTo>
                <a:lnTo>
                  <a:pt x="429899" y="3267581"/>
                </a:lnTo>
                <a:lnTo>
                  <a:pt x="469481" y="3295183"/>
                </a:lnTo>
                <a:lnTo>
                  <a:pt x="501667" y="3312302"/>
                </a:lnTo>
                <a:lnTo>
                  <a:pt x="512504" y="3276718"/>
                </a:lnTo>
                <a:close/>
                <a:moveTo>
                  <a:pt x="645944" y="3207392"/>
                </a:moveTo>
                <a:lnTo>
                  <a:pt x="636239" y="3210346"/>
                </a:lnTo>
                <a:cubicBezTo>
                  <a:pt x="614532" y="3215761"/>
                  <a:pt x="591336" y="3220429"/>
                  <a:pt x="566924" y="3224247"/>
                </a:cubicBezTo>
                <a:lnTo>
                  <a:pt x="548148" y="3225649"/>
                </a:lnTo>
                <a:lnTo>
                  <a:pt x="532529" y="3314283"/>
                </a:lnTo>
                <a:lnTo>
                  <a:pt x="529280" y="3325012"/>
                </a:lnTo>
                <a:lnTo>
                  <a:pt x="558887" y="3336294"/>
                </a:lnTo>
                <a:cubicBezTo>
                  <a:pt x="599166" y="3348093"/>
                  <a:pt x="631474" y="3346164"/>
                  <a:pt x="649797" y="3327840"/>
                </a:cubicBezTo>
                <a:cubicBezTo>
                  <a:pt x="668121" y="3309195"/>
                  <a:pt x="670050" y="3276807"/>
                  <a:pt x="658251" y="3236553"/>
                </a:cubicBezTo>
                <a:close/>
                <a:moveTo>
                  <a:pt x="169104" y="3206549"/>
                </a:moveTo>
                <a:lnTo>
                  <a:pt x="157854" y="3236073"/>
                </a:lnTo>
                <a:cubicBezTo>
                  <a:pt x="146055" y="3276352"/>
                  <a:pt x="147984" y="3308660"/>
                  <a:pt x="166307" y="3326984"/>
                </a:cubicBezTo>
                <a:cubicBezTo>
                  <a:pt x="184631" y="3345629"/>
                  <a:pt x="216939" y="3347638"/>
                  <a:pt x="257218" y="3335814"/>
                </a:cubicBezTo>
                <a:lnTo>
                  <a:pt x="287649" y="3324179"/>
                </a:lnTo>
                <a:lnTo>
                  <a:pt x="269900" y="3244968"/>
                </a:lnTo>
                <a:lnTo>
                  <a:pt x="268468" y="3225793"/>
                </a:lnTo>
                <a:lnTo>
                  <a:pt x="249179" y="3224367"/>
                </a:lnTo>
                <a:close/>
                <a:moveTo>
                  <a:pt x="288917" y="3177713"/>
                </a:moveTo>
                <a:lnTo>
                  <a:pt x="290802" y="3203043"/>
                </a:lnTo>
                <a:lnTo>
                  <a:pt x="316853" y="3205057"/>
                </a:lnTo>
                <a:lnTo>
                  <a:pt x="301752" y="3191537"/>
                </a:lnTo>
                <a:close/>
                <a:moveTo>
                  <a:pt x="528974" y="3176635"/>
                </a:moveTo>
                <a:lnTo>
                  <a:pt x="514351" y="3192395"/>
                </a:lnTo>
                <a:lnTo>
                  <a:pt x="500527" y="3205229"/>
                </a:lnTo>
                <a:lnTo>
                  <a:pt x="525512" y="3203370"/>
                </a:lnTo>
                <a:lnTo>
                  <a:pt x="528388" y="3187154"/>
                </a:lnTo>
                <a:close/>
                <a:moveTo>
                  <a:pt x="1459898" y="3111812"/>
                </a:moveTo>
                <a:cubicBezTo>
                  <a:pt x="1502760" y="3111812"/>
                  <a:pt x="1537907" y="3125528"/>
                  <a:pt x="1537907" y="3141816"/>
                </a:cubicBezTo>
                <a:cubicBezTo>
                  <a:pt x="1537907" y="3141816"/>
                  <a:pt x="1537907" y="3142673"/>
                  <a:pt x="1537907" y="3143530"/>
                </a:cubicBezTo>
                <a:lnTo>
                  <a:pt x="1540479" y="3143530"/>
                </a:lnTo>
                <a:lnTo>
                  <a:pt x="1540479" y="3199252"/>
                </a:lnTo>
                <a:lnTo>
                  <a:pt x="1537907" y="3199252"/>
                </a:lnTo>
                <a:cubicBezTo>
                  <a:pt x="1537050" y="3206110"/>
                  <a:pt x="1532764" y="3212110"/>
                  <a:pt x="1525048" y="3216397"/>
                </a:cubicBezTo>
                <a:cubicBezTo>
                  <a:pt x="1525048" y="3242972"/>
                  <a:pt x="1525048" y="3323553"/>
                  <a:pt x="1525048" y="3344127"/>
                </a:cubicBezTo>
                <a:cubicBezTo>
                  <a:pt x="1525048" y="3368987"/>
                  <a:pt x="1537050" y="3375845"/>
                  <a:pt x="1537050" y="3375845"/>
                </a:cubicBezTo>
                <a:cubicBezTo>
                  <a:pt x="1566197" y="3392990"/>
                  <a:pt x="1731647" y="3561869"/>
                  <a:pt x="1658780" y="3612446"/>
                </a:cubicBezTo>
                <a:cubicBezTo>
                  <a:pt x="1593629" y="3657880"/>
                  <a:pt x="1483900" y="3656166"/>
                  <a:pt x="1461612" y="3655309"/>
                </a:cubicBezTo>
                <a:cubicBezTo>
                  <a:pt x="1439323" y="3656166"/>
                  <a:pt x="1328738" y="3657880"/>
                  <a:pt x="1263587" y="3612446"/>
                </a:cubicBezTo>
                <a:cubicBezTo>
                  <a:pt x="1190721" y="3561011"/>
                  <a:pt x="1358742" y="3392133"/>
                  <a:pt x="1387888" y="3374988"/>
                </a:cubicBezTo>
                <a:cubicBezTo>
                  <a:pt x="1387888" y="3374988"/>
                  <a:pt x="1405033" y="3368130"/>
                  <a:pt x="1405033" y="3343270"/>
                </a:cubicBezTo>
                <a:cubicBezTo>
                  <a:pt x="1405033" y="3322696"/>
                  <a:pt x="1405033" y="3243829"/>
                  <a:pt x="1405033" y="3216397"/>
                </a:cubicBezTo>
                <a:cubicBezTo>
                  <a:pt x="1389603" y="3212110"/>
                  <a:pt x="1383602" y="3206110"/>
                  <a:pt x="1382745" y="3199252"/>
                </a:cubicBezTo>
                <a:lnTo>
                  <a:pt x="1381030" y="3199252"/>
                </a:lnTo>
                <a:lnTo>
                  <a:pt x="1381030" y="3143530"/>
                </a:lnTo>
                <a:lnTo>
                  <a:pt x="1381888" y="3143530"/>
                </a:lnTo>
                <a:cubicBezTo>
                  <a:pt x="1381888" y="3143530"/>
                  <a:pt x="1381888" y="3142673"/>
                  <a:pt x="1381888" y="3141816"/>
                </a:cubicBezTo>
                <a:cubicBezTo>
                  <a:pt x="1381888" y="3125528"/>
                  <a:pt x="1417035" y="3111812"/>
                  <a:pt x="1459898" y="3111812"/>
                </a:cubicBezTo>
                <a:close/>
                <a:moveTo>
                  <a:pt x="590102" y="3107161"/>
                </a:moveTo>
                <a:lnTo>
                  <a:pt x="570367" y="3132026"/>
                </a:lnTo>
                <a:lnTo>
                  <a:pt x="554587" y="3149033"/>
                </a:lnTo>
                <a:lnTo>
                  <a:pt x="551759" y="3200115"/>
                </a:lnTo>
                <a:lnTo>
                  <a:pt x="599532" y="3190547"/>
                </a:lnTo>
                <a:lnTo>
                  <a:pt x="634360" y="3179941"/>
                </a:lnTo>
                <a:lnTo>
                  <a:pt x="630590" y="3171008"/>
                </a:lnTo>
                <a:close/>
                <a:moveTo>
                  <a:pt x="226426" y="3105365"/>
                </a:moveTo>
                <a:lnTo>
                  <a:pt x="198965" y="3146668"/>
                </a:lnTo>
                <a:lnTo>
                  <a:pt x="181775" y="3178985"/>
                </a:lnTo>
                <a:lnTo>
                  <a:pt x="216948" y="3190170"/>
                </a:lnTo>
                <a:lnTo>
                  <a:pt x="266550" y="3200120"/>
                </a:lnTo>
                <a:lnTo>
                  <a:pt x="262773" y="3149552"/>
                </a:lnTo>
                <a:lnTo>
                  <a:pt x="245737" y="3131203"/>
                </a:lnTo>
                <a:close/>
                <a:moveTo>
                  <a:pt x="556573" y="3065846"/>
                </a:moveTo>
                <a:lnTo>
                  <a:pt x="558070" y="3086095"/>
                </a:lnTo>
                <a:lnTo>
                  <a:pt x="557031" y="3104875"/>
                </a:lnTo>
                <a:lnTo>
                  <a:pt x="573606" y="3085614"/>
                </a:lnTo>
                <a:close/>
                <a:moveTo>
                  <a:pt x="259173" y="3065486"/>
                </a:moveTo>
                <a:lnTo>
                  <a:pt x="241966" y="3085481"/>
                </a:lnTo>
                <a:lnTo>
                  <a:pt x="259516" y="3105960"/>
                </a:lnTo>
                <a:lnTo>
                  <a:pt x="258032" y="3086095"/>
                </a:lnTo>
                <a:close/>
                <a:moveTo>
                  <a:pt x="408909" y="3023515"/>
                </a:moveTo>
                <a:cubicBezTo>
                  <a:pt x="443199" y="3023515"/>
                  <a:pt x="471488" y="3050947"/>
                  <a:pt x="471488" y="3086095"/>
                </a:cubicBezTo>
                <a:cubicBezTo>
                  <a:pt x="471488" y="3120385"/>
                  <a:pt x="443199" y="3148674"/>
                  <a:pt x="408909" y="3148674"/>
                </a:cubicBezTo>
                <a:cubicBezTo>
                  <a:pt x="374619" y="3148674"/>
                  <a:pt x="346329" y="3121242"/>
                  <a:pt x="346329" y="3086095"/>
                </a:cubicBezTo>
                <a:cubicBezTo>
                  <a:pt x="346329" y="3051805"/>
                  <a:pt x="373761" y="3023515"/>
                  <a:pt x="408909" y="3023515"/>
                </a:cubicBezTo>
                <a:close/>
                <a:moveTo>
                  <a:pt x="153678" y="3002555"/>
                </a:moveTo>
                <a:lnTo>
                  <a:pt x="124280" y="3015709"/>
                </a:lnTo>
                <a:cubicBezTo>
                  <a:pt x="87467" y="3035826"/>
                  <a:pt x="66009" y="3060056"/>
                  <a:pt x="66009" y="3086095"/>
                </a:cubicBezTo>
                <a:cubicBezTo>
                  <a:pt x="66009" y="3107794"/>
                  <a:pt x="80994" y="3128154"/>
                  <a:pt x="107354" y="3145918"/>
                </a:cubicBezTo>
                <a:lnTo>
                  <a:pt x="153101" y="3169496"/>
                </a:lnTo>
                <a:lnTo>
                  <a:pt x="158538" y="3159312"/>
                </a:lnTo>
                <a:cubicBezTo>
                  <a:pt x="170071" y="3140140"/>
                  <a:pt x="183184" y="3120446"/>
                  <a:pt x="197758" y="3100495"/>
                </a:cubicBezTo>
                <a:lnTo>
                  <a:pt x="210657" y="3084265"/>
                </a:lnTo>
                <a:lnTo>
                  <a:pt x="167482" y="3026495"/>
                </a:lnTo>
                <a:close/>
                <a:moveTo>
                  <a:pt x="663026" y="3002411"/>
                </a:moveTo>
                <a:lnTo>
                  <a:pt x="657566" y="3012654"/>
                </a:lnTo>
                <a:cubicBezTo>
                  <a:pt x="646033" y="3031861"/>
                  <a:pt x="632920" y="3051592"/>
                  <a:pt x="618347" y="3071576"/>
                </a:cubicBezTo>
                <a:lnTo>
                  <a:pt x="606027" y="3087098"/>
                </a:lnTo>
                <a:lnTo>
                  <a:pt x="648622" y="3144181"/>
                </a:lnTo>
                <a:lnTo>
                  <a:pt x="663100" y="3169333"/>
                </a:lnTo>
                <a:lnTo>
                  <a:pt x="691823" y="3156482"/>
                </a:lnTo>
                <a:cubicBezTo>
                  <a:pt x="728636" y="3136365"/>
                  <a:pt x="750094" y="3112134"/>
                  <a:pt x="750094" y="3086095"/>
                </a:cubicBezTo>
                <a:cubicBezTo>
                  <a:pt x="750094" y="3064396"/>
                  <a:pt x="735109" y="3043953"/>
                  <a:pt x="708749" y="3026099"/>
                </a:cubicBezTo>
                <a:close/>
                <a:moveTo>
                  <a:pt x="264344" y="2972075"/>
                </a:moveTo>
                <a:lnTo>
                  <a:pt x="216572" y="2981643"/>
                </a:lnTo>
                <a:lnTo>
                  <a:pt x="182153" y="2992125"/>
                </a:lnTo>
                <a:lnTo>
                  <a:pt x="185871" y="3000908"/>
                </a:lnTo>
                <a:lnTo>
                  <a:pt x="226227" y="3064676"/>
                </a:lnTo>
                <a:lnTo>
                  <a:pt x="245737" y="3040131"/>
                </a:lnTo>
                <a:lnTo>
                  <a:pt x="261518" y="3023133"/>
                </a:lnTo>
                <a:close/>
                <a:moveTo>
                  <a:pt x="549613" y="2971718"/>
                </a:moveTo>
                <a:lnTo>
                  <a:pt x="553247" y="3020858"/>
                </a:lnTo>
                <a:lnTo>
                  <a:pt x="570367" y="3039308"/>
                </a:lnTo>
                <a:lnTo>
                  <a:pt x="589651" y="3065152"/>
                </a:lnTo>
                <a:lnTo>
                  <a:pt x="617139" y="3023810"/>
                </a:lnTo>
                <a:lnTo>
                  <a:pt x="633701" y="2992672"/>
                </a:lnTo>
                <a:lnTo>
                  <a:pt x="599155" y="2981643"/>
                </a:lnTo>
                <a:close/>
                <a:moveTo>
                  <a:pt x="501023" y="2967017"/>
                </a:moveTo>
                <a:lnTo>
                  <a:pt x="514350" y="2978939"/>
                </a:lnTo>
                <a:lnTo>
                  <a:pt x="527186" y="2992772"/>
                </a:lnTo>
                <a:lnTo>
                  <a:pt x="525405" y="2968836"/>
                </a:lnTo>
                <a:close/>
                <a:moveTo>
                  <a:pt x="315586" y="2966960"/>
                </a:moveTo>
                <a:lnTo>
                  <a:pt x="290341" y="2968839"/>
                </a:lnTo>
                <a:lnTo>
                  <a:pt x="287715" y="2983640"/>
                </a:lnTo>
                <a:lnTo>
                  <a:pt x="287044" y="2995639"/>
                </a:lnTo>
                <a:lnTo>
                  <a:pt x="301753" y="2979796"/>
                </a:lnTo>
                <a:close/>
                <a:moveTo>
                  <a:pt x="408051" y="2960079"/>
                </a:moveTo>
                <a:lnTo>
                  <a:pt x="356209" y="2963937"/>
                </a:lnTo>
                <a:lnTo>
                  <a:pt x="318898" y="2996084"/>
                </a:lnTo>
                <a:lnTo>
                  <a:pt x="284805" y="3035702"/>
                </a:lnTo>
                <a:lnTo>
                  <a:pt x="282035" y="3085238"/>
                </a:lnTo>
                <a:lnTo>
                  <a:pt x="285866" y="3136706"/>
                </a:lnTo>
                <a:lnTo>
                  <a:pt x="318897" y="3175250"/>
                </a:lnTo>
                <a:lnTo>
                  <a:pt x="355604" y="3208055"/>
                </a:lnTo>
                <a:lnTo>
                  <a:pt x="408051" y="3212111"/>
                </a:lnTo>
                <a:lnTo>
                  <a:pt x="457727" y="3208414"/>
                </a:lnTo>
                <a:lnTo>
                  <a:pt x="497206" y="3174393"/>
                </a:lnTo>
                <a:lnTo>
                  <a:pt x="531308" y="3134766"/>
                </a:lnTo>
                <a:lnTo>
                  <a:pt x="534067" y="3085238"/>
                </a:lnTo>
                <a:lnTo>
                  <a:pt x="530360" y="3035422"/>
                </a:lnTo>
                <a:lnTo>
                  <a:pt x="497205" y="2996941"/>
                </a:lnTo>
                <a:lnTo>
                  <a:pt x="460323" y="2963980"/>
                </a:lnTo>
                <a:close/>
                <a:moveTo>
                  <a:pt x="407682" y="2919589"/>
                </a:moveTo>
                <a:lnTo>
                  <a:pt x="386715" y="2937654"/>
                </a:lnTo>
                <a:lnTo>
                  <a:pt x="408051" y="2936076"/>
                </a:lnTo>
                <a:lnTo>
                  <a:pt x="430998" y="2937773"/>
                </a:lnTo>
                <a:lnTo>
                  <a:pt x="421196" y="2929013"/>
                </a:lnTo>
                <a:close/>
                <a:moveTo>
                  <a:pt x="313772" y="2860695"/>
                </a:moveTo>
                <a:lnTo>
                  <a:pt x="303599" y="2894135"/>
                </a:lnTo>
                <a:lnTo>
                  <a:pt x="294668" y="2944460"/>
                </a:lnTo>
                <a:lnTo>
                  <a:pt x="343747" y="2940831"/>
                </a:lnTo>
                <a:lnTo>
                  <a:pt x="362122" y="2923781"/>
                </a:lnTo>
                <a:lnTo>
                  <a:pt x="386241" y="2904637"/>
                </a:lnTo>
                <a:lnTo>
                  <a:pt x="346622" y="2877008"/>
                </a:lnTo>
                <a:close/>
                <a:moveTo>
                  <a:pt x="501946" y="2858728"/>
                </a:moveTo>
                <a:lnTo>
                  <a:pt x="469255" y="2876151"/>
                </a:lnTo>
                <a:lnTo>
                  <a:pt x="429247" y="2902810"/>
                </a:lnTo>
                <a:lnTo>
                  <a:pt x="471695" y="2940782"/>
                </a:lnTo>
                <a:lnTo>
                  <a:pt x="522501" y="2944539"/>
                </a:lnTo>
                <a:lnTo>
                  <a:pt x="505240" y="2867440"/>
                </a:lnTo>
                <a:close/>
                <a:moveTo>
                  <a:pt x="219818" y="2828773"/>
                </a:moveTo>
                <a:cubicBezTo>
                  <a:pt x="196953" y="2827205"/>
                  <a:pt x="178523" y="2832135"/>
                  <a:pt x="166307" y="2844350"/>
                </a:cubicBezTo>
                <a:cubicBezTo>
                  <a:pt x="147984" y="2862675"/>
                  <a:pt x="146176" y="2894983"/>
                  <a:pt x="158080" y="2935262"/>
                </a:cubicBezTo>
                <a:lnTo>
                  <a:pt x="170445" y="2964470"/>
                </a:lnTo>
                <a:lnTo>
                  <a:pt x="179864" y="2961618"/>
                </a:lnTo>
                <a:cubicBezTo>
                  <a:pt x="201572" y="2956238"/>
                  <a:pt x="224768" y="2951607"/>
                  <a:pt x="249179" y="2947823"/>
                </a:cubicBezTo>
                <a:lnTo>
                  <a:pt x="267973" y="2946434"/>
                </a:lnTo>
                <a:lnTo>
                  <a:pt x="283574" y="2857908"/>
                </a:lnTo>
                <a:lnTo>
                  <a:pt x="286788" y="2847295"/>
                </a:lnTo>
                <a:lnTo>
                  <a:pt x="277993" y="2842929"/>
                </a:lnTo>
                <a:cubicBezTo>
                  <a:pt x="256609" y="2834778"/>
                  <a:pt x="236967" y="2829948"/>
                  <a:pt x="219818" y="2828773"/>
                </a:cubicBezTo>
                <a:close/>
                <a:moveTo>
                  <a:pt x="595924" y="2827916"/>
                </a:moveTo>
                <a:cubicBezTo>
                  <a:pt x="584472" y="2828700"/>
                  <a:pt x="571928" y="2831107"/>
                  <a:pt x="558510" y="2835040"/>
                </a:cubicBezTo>
                <a:lnTo>
                  <a:pt x="528370" y="2846540"/>
                </a:lnTo>
                <a:lnTo>
                  <a:pt x="546323" y="2927223"/>
                </a:lnTo>
                <a:lnTo>
                  <a:pt x="547742" y="2946405"/>
                </a:lnTo>
                <a:lnTo>
                  <a:pt x="566924" y="2947823"/>
                </a:lnTo>
                <a:lnTo>
                  <a:pt x="646399" y="2965508"/>
                </a:lnTo>
                <a:lnTo>
                  <a:pt x="658251" y="2934405"/>
                </a:lnTo>
                <a:cubicBezTo>
                  <a:pt x="670050" y="2894126"/>
                  <a:pt x="668121" y="2861818"/>
                  <a:pt x="649797" y="2843494"/>
                </a:cubicBezTo>
                <a:cubicBezTo>
                  <a:pt x="637367" y="2831278"/>
                  <a:pt x="618829" y="2826349"/>
                  <a:pt x="595924" y="2827916"/>
                </a:cubicBezTo>
                <a:close/>
                <a:moveTo>
                  <a:pt x="408051" y="2743195"/>
                </a:moveTo>
                <a:cubicBezTo>
                  <a:pt x="382012" y="2743195"/>
                  <a:pt x="357782" y="2764774"/>
                  <a:pt x="337665" y="2801693"/>
                </a:cubicBezTo>
                <a:lnTo>
                  <a:pt x="324723" y="2830683"/>
                </a:lnTo>
                <a:lnTo>
                  <a:pt x="334835" y="2835724"/>
                </a:lnTo>
                <a:lnTo>
                  <a:pt x="408327" y="2887107"/>
                </a:lnTo>
                <a:lnTo>
                  <a:pt x="422572" y="2875801"/>
                </a:lnTo>
                <a:cubicBezTo>
                  <a:pt x="442557" y="2861228"/>
                  <a:pt x="462287" y="2848115"/>
                  <a:pt x="481495" y="2836582"/>
                </a:cubicBezTo>
                <a:lnTo>
                  <a:pt x="491548" y="2831224"/>
                </a:lnTo>
                <a:lnTo>
                  <a:pt x="485785" y="2815980"/>
                </a:lnTo>
                <a:cubicBezTo>
                  <a:pt x="464351" y="2770353"/>
                  <a:pt x="437345" y="2743195"/>
                  <a:pt x="408051" y="2743195"/>
                </a:cubicBezTo>
                <a:close/>
                <a:moveTo>
                  <a:pt x="6236067" y="2687689"/>
                </a:moveTo>
                <a:cubicBezTo>
                  <a:pt x="6239925" y="2687475"/>
                  <a:pt x="6243782" y="2688760"/>
                  <a:pt x="6246782" y="2691760"/>
                </a:cubicBezTo>
                <a:cubicBezTo>
                  <a:pt x="6252783" y="2697761"/>
                  <a:pt x="6253640" y="2707192"/>
                  <a:pt x="6247640" y="2713192"/>
                </a:cubicBezTo>
                <a:lnTo>
                  <a:pt x="6216014" y="2748180"/>
                </a:lnTo>
                <a:lnTo>
                  <a:pt x="6222322" y="2756871"/>
                </a:lnTo>
                <a:cubicBezTo>
                  <a:pt x="6235744" y="2786165"/>
                  <a:pt x="6231565" y="2821847"/>
                  <a:pt x="6209062" y="2846922"/>
                </a:cubicBezTo>
                <a:cubicBezTo>
                  <a:pt x="6193632" y="2863639"/>
                  <a:pt x="6172843" y="2872640"/>
                  <a:pt x="6151734" y="2873711"/>
                </a:cubicBezTo>
                <a:lnTo>
                  <a:pt x="6133744" y="2871200"/>
                </a:lnTo>
                <a:lnTo>
                  <a:pt x="6125031" y="2893063"/>
                </a:lnTo>
                <a:cubicBezTo>
                  <a:pt x="6072016" y="3025978"/>
                  <a:pt x="5930188" y="3380025"/>
                  <a:pt x="5925312" y="3375846"/>
                </a:cubicBezTo>
                <a:cubicBezTo>
                  <a:pt x="5920169" y="3370702"/>
                  <a:pt x="5917597" y="3266975"/>
                  <a:pt x="5917597" y="3266975"/>
                </a:cubicBezTo>
                <a:cubicBezTo>
                  <a:pt x="5917597" y="3266975"/>
                  <a:pt x="6005120" y="3039936"/>
                  <a:pt x="6056644" y="2907754"/>
                </a:cubicBezTo>
                <a:lnTo>
                  <a:pt x="6068648" y="2877062"/>
                </a:lnTo>
                <a:lnTo>
                  <a:pt x="5680138" y="3041518"/>
                </a:lnTo>
                <a:lnTo>
                  <a:pt x="5576411" y="3046661"/>
                </a:lnTo>
                <a:lnTo>
                  <a:pt x="5660422" y="2986654"/>
                </a:lnTo>
                <a:lnTo>
                  <a:pt x="6069879" y="2807820"/>
                </a:lnTo>
                <a:lnTo>
                  <a:pt x="6065771" y="2780383"/>
                </a:lnTo>
                <a:cubicBezTo>
                  <a:pt x="6068031" y="2764586"/>
                  <a:pt x="6074903" y="2749196"/>
                  <a:pt x="6086476" y="2736337"/>
                </a:cubicBezTo>
                <a:cubicBezTo>
                  <a:pt x="6101906" y="2719192"/>
                  <a:pt x="6122694" y="2710191"/>
                  <a:pt x="6143804" y="2709228"/>
                </a:cubicBezTo>
                <a:cubicBezTo>
                  <a:pt x="6154359" y="2708745"/>
                  <a:pt x="6164994" y="2710271"/>
                  <a:pt x="6175080" y="2713794"/>
                </a:cubicBezTo>
                <a:lnTo>
                  <a:pt x="6195368" y="2725788"/>
                </a:lnTo>
                <a:lnTo>
                  <a:pt x="6225351" y="2692617"/>
                </a:lnTo>
                <a:cubicBezTo>
                  <a:pt x="6228352" y="2689618"/>
                  <a:pt x="6232209" y="2687903"/>
                  <a:pt x="6236067" y="2687689"/>
                </a:cubicBezTo>
                <a:close/>
                <a:moveTo>
                  <a:pt x="408051" y="2678044"/>
                </a:moveTo>
                <a:cubicBezTo>
                  <a:pt x="439234" y="2678044"/>
                  <a:pt x="468126" y="2703722"/>
                  <a:pt x="492060" y="2747708"/>
                </a:cubicBezTo>
                <a:lnTo>
                  <a:pt x="519745" y="2816195"/>
                </a:lnTo>
                <a:lnTo>
                  <a:pt x="537283" y="2806846"/>
                </a:lnTo>
                <a:cubicBezTo>
                  <a:pt x="608864" y="2773842"/>
                  <a:pt x="667800" y="2768056"/>
                  <a:pt x="696946" y="2797202"/>
                </a:cubicBezTo>
                <a:cubicBezTo>
                  <a:pt x="726093" y="2826349"/>
                  <a:pt x="720306" y="2885285"/>
                  <a:pt x="687302" y="2956865"/>
                </a:cubicBezTo>
                <a:lnTo>
                  <a:pt x="677955" y="2974402"/>
                </a:lnTo>
                <a:lnTo>
                  <a:pt x="746440" y="3002086"/>
                </a:lnTo>
                <a:cubicBezTo>
                  <a:pt x="790426" y="3026021"/>
                  <a:pt x="816103" y="3054913"/>
                  <a:pt x="816103" y="3086095"/>
                </a:cubicBezTo>
                <a:cubicBezTo>
                  <a:pt x="816103" y="3127243"/>
                  <a:pt x="770455" y="3164748"/>
                  <a:pt x="696624" y="3191966"/>
                </a:cubicBezTo>
                <a:lnTo>
                  <a:pt x="678828" y="3197383"/>
                </a:lnTo>
                <a:lnTo>
                  <a:pt x="698388" y="3240686"/>
                </a:lnTo>
                <a:cubicBezTo>
                  <a:pt x="721207" y="3300318"/>
                  <a:pt x="722450" y="3348629"/>
                  <a:pt x="696946" y="3374132"/>
                </a:cubicBezTo>
                <a:cubicBezTo>
                  <a:pt x="667371" y="3403707"/>
                  <a:pt x="608435" y="3397921"/>
                  <a:pt x="536961" y="3364809"/>
                </a:cubicBezTo>
                <a:lnTo>
                  <a:pt x="519982" y="3355715"/>
                </a:lnTo>
                <a:lnTo>
                  <a:pt x="514243" y="3374667"/>
                </a:lnTo>
                <a:cubicBezTo>
                  <a:pt x="487133" y="3448498"/>
                  <a:pt x="449628" y="3494146"/>
                  <a:pt x="408051" y="3494146"/>
                </a:cubicBezTo>
                <a:cubicBezTo>
                  <a:pt x="377190" y="3494146"/>
                  <a:pt x="348379" y="3468469"/>
                  <a:pt x="324419" y="3424483"/>
                </a:cubicBezTo>
                <a:lnTo>
                  <a:pt x="296648" y="3355999"/>
                </a:lnTo>
                <a:lnTo>
                  <a:pt x="279143" y="3365346"/>
                </a:lnTo>
                <a:cubicBezTo>
                  <a:pt x="207669" y="3398350"/>
                  <a:pt x="148733" y="3404137"/>
                  <a:pt x="119158" y="3374990"/>
                </a:cubicBezTo>
                <a:cubicBezTo>
                  <a:pt x="90011" y="3345415"/>
                  <a:pt x="95798" y="3286479"/>
                  <a:pt x="128803" y="3215005"/>
                </a:cubicBezTo>
                <a:lnTo>
                  <a:pt x="138022" y="3197737"/>
                </a:lnTo>
                <a:lnTo>
                  <a:pt x="69663" y="3170104"/>
                </a:lnTo>
                <a:cubicBezTo>
                  <a:pt x="25677" y="3146169"/>
                  <a:pt x="0" y="3117277"/>
                  <a:pt x="0" y="3086095"/>
                </a:cubicBezTo>
                <a:cubicBezTo>
                  <a:pt x="0" y="3044519"/>
                  <a:pt x="45649" y="3007014"/>
                  <a:pt x="119480" y="2979903"/>
                </a:cubicBezTo>
                <a:lnTo>
                  <a:pt x="137725" y="2974378"/>
                </a:lnTo>
                <a:lnTo>
                  <a:pt x="117717" y="2930147"/>
                </a:lnTo>
                <a:cubicBezTo>
                  <a:pt x="94897" y="2870580"/>
                  <a:pt x="93655" y="2822222"/>
                  <a:pt x="119158" y="2796344"/>
                </a:cubicBezTo>
                <a:cubicBezTo>
                  <a:pt x="133945" y="2781771"/>
                  <a:pt x="156073" y="2775931"/>
                  <a:pt x="183438" y="2777860"/>
                </a:cubicBezTo>
                <a:cubicBezTo>
                  <a:pt x="203962" y="2779308"/>
                  <a:pt x="227432" y="2785123"/>
                  <a:pt x="252960" y="2794903"/>
                </a:cubicBezTo>
                <a:lnTo>
                  <a:pt x="296135" y="2816430"/>
                </a:lnTo>
                <a:lnTo>
                  <a:pt x="301859" y="2797524"/>
                </a:lnTo>
                <a:cubicBezTo>
                  <a:pt x="328970" y="2723693"/>
                  <a:pt x="366475" y="2678044"/>
                  <a:pt x="408051" y="2678044"/>
                </a:cubicBezTo>
                <a:close/>
                <a:moveTo>
                  <a:pt x="5013199" y="2674617"/>
                </a:moveTo>
                <a:lnTo>
                  <a:pt x="5013199" y="3173535"/>
                </a:lnTo>
                <a:lnTo>
                  <a:pt x="5299521" y="3173535"/>
                </a:lnTo>
                <a:close/>
                <a:moveTo>
                  <a:pt x="1456470" y="2362577"/>
                </a:moveTo>
                <a:lnTo>
                  <a:pt x="1669068" y="2628325"/>
                </a:lnTo>
                <a:lnTo>
                  <a:pt x="1485616" y="2776629"/>
                </a:lnTo>
                <a:cubicBezTo>
                  <a:pt x="1485616" y="2776629"/>
                  <a:pt x="1373317" y="2763771"/>
                  <a:pt x="1306451" y="2916361"/>
                </a:cubicBezTo>
                <a:lnTo>
                  <a:pt x="1094710" y="2652328"/>
                </a:lnTo>
                <a:cubicBezTo>
                  <a:pt x="1094710" y="2652328"/>
                  <a:pt x="1159004" y="2492022"/>
                  <a:pt x="1275590" y="2507453"/>
                </a:cubicBezTo>
                <a:close/>
                <a:moveTo>
                  <a:pt x="4655725" y="2293138"/>
                </a:moveTo>
                <a:lnTo>
                  <a:pt x="4792886" y="2293138"/>
                </a:lnTo>
                <a:lnTo>
                  <a:pt x="4792886" y="3310694"/>
                </a:lnTo>
                <a:lnTo>
                  <a:pt x="4655725" y="3310694"/>
                </a:lnTo>
                <a:close/>
                <a:moveTo>
                  <a:pt x="409649" y="2273959"/>
                </a:moveTo>
                <a:lnTo>
                  <a:pt x="459486" y="2287996"/>
                </a:lnTo>
                <a:cubicBezTo>
                  <a:pt x="459486" y="2287996"/>
                  <a:pt x="440627" y="2283924"/>
                  <a:pt x="421017" y="2278031"/>
                </a:cubicBezTo>
                <a:close/>
                <a:moveTo>
                  <a:pt x="4930045" y="2273422"/>
                </a:moveTo>
                <a:lnTo>
                  <a:pt x="5477829" y="3311552"/>
                </a:lnTo>
                <a:lnTo>
                  <a:pt x="4930045" y="3311552"/>
                </a:lnTo>
                <a:close/>
                <a:moveTo>
                  <a:pt x="5782627" y="2202717"/>
                </a:moveTo>
                <a:lnTo>
                  <a:pt x="5767752" y="2214541"/>
                </a:lnTo>
                <a:cubicBezTo>
                  <a:pt x="5747801" y="2229115"/>
                  <a:pt x="5728108" y="2242228"/>
                  <a:pt x="5708935" y="2253760"/>
                </a:cubicBezTo>
                <a:lnTo>
                  <a:pt x="5698749" y="2259199"/>
                </a:lnTo>
                <a:lnTo>
                  <a:pt x="5722156" y="2304260"/>
                </a:lnTo>
                <a:cubicBezTo>
                  <a:pt x="5740009" y="2330529"/>
                  <a:pt x="5760453" y="2345431"/>
                  <a:pt x="5782152" y="2345431"/>
                </a:cubicBezTo>
                <a:cubicBezTo>
                  <a:pt x="5803851" y="2345431"/>
                  <a:pt x="5824294" y="2330530"/>
                  <a:pt x="5842148" y="2304260"/>
                </a:cubicBezTo>
                <a:lnTo>
                  <a:pt x="5865804" y="2258720"/>
                </a:lnTo>
                <a:lnTo>
                  <a:pt x="5855368" y="2253129"/>
                </a:lnTo>
                <a:cubicBezTo>
                  <a:pt x="5836195" y="2241561"/>
                  <a:pt x="5816502" y="2228411"/>
                  <a:pt x="5796551" y="2213804"/>
                </a:cubicBezTo>
                <a:close/>
                <a:moveTo>
                  <a:pt x="5760901" y="2151836"/>
                </a:moveTo>
                <a:lnTo>
                  <a:pt x="5781715" y="2169748"/>
                </a:lnTo>
                <a:lnTo>
                  <a:pt x="5802358" y="2151959"/>
                </a:lnTo>
                <a:lnTo>
                  <a:pt x="5782152" y="2153407"/>
                </a:lnTo>
                <a:close/>
                <a:moveTo>
                  <a:pt x="5896549" y="2145209"/>
                </a:moveTo>
                <a:lnTo>
                  <a:pt x="5847314" y="2148737"/>
                </a:lnTo>
                <a:lnTo>
                  <a:pt x="5828117" y="2166561"/>
                </a:lnTo>
                <a:lnTo>
                  <a:pt x="5803118" y="2186431"/>
                </a:lnTo>
                <a:lnTo>
                  <a:pt x="5843581" y="2213334"/>
                </a:lnTo>
                <a:lnTo>
                  <a:pt x="5875307" y="2230209"/>
                </a:lnTo>
                <a:lnTo>
                  <a:pt x="5886604" y="2194868"/>
                </a:lnTo>
                <a:close/>
                <a:moveTo>
                  <a:pt x="5667701" y="2144945"/>
                </a:moveTo>
                <a:lnTo>
                  <a:pt x="5677700" y="2194868"/>
                </a:lnTo>
                <a:lnTo>
                  <a:pt x="5688842" y="2229724"/>
                </a:lnTo>
                <a:lnTo>
                  <a:pt x="5720722" y="2212702"/>
                </a:lnTo>
                <a:lnTo>
                  <a:pt x="5761232" y="2185681"/>
                </a:lnTo>
                <a:lnTo>
                  <a:pt x="5736186" y="2165739"/>
                </a:lnTo>
                <a:lnTo>
                  <a:pt x="5717789" y="2148648"/>
                </a:lnTo>
                <a:close/>
                <a:moveTo>
                  <a:pt x="6020742" y="2124279"/>
                </a:moveTo>
                <a:lnTo>
                  <a:pt x="5941024" y="2142022"/>
                </a:lnTo>
                <a:lnTo>
                  <a:pt x="5921776" y="2143401"/>
                </a:lnTo>
                <a:lnTo>
                  <a:pt x="5920303" y="2163118"/>
                </a:lnTo>
                <a:lnTo>
                  <a:pt x="5902447" y="2242808"/>
                </a:lnTo>
                <a:lnTo>
                  <a:pt x="5932987" y="2254446"/>
                </a:lnTo>
                <a:cubicBezTo>
                  <a:pt x="5973266" y="2266244"/>
                  <a:pt x="6005573" y="2264317"/>
                  <a:pt x="6023897" y="2245992"/>
                </a:cubicBezTo>
                <a:cubicBezTo>
                  <a:pt x="6042221" y="2227346"/>
                  <a:pt x="6044149" y="2194959"/>
                  <a:pt x="6032350" y="2154704"/>
                </a:cubicBezTo>
                <a:close/>
                <a:moveTo>
                  <a:pt x="5543504" y="2123909"/>
                </a:moveTo>
                <a:lnTo>
                  <a:pt x="5531953" y="2154223"/>
                </a:lnTo>
                <a:cubicBezTo>
                  <a:pt x="5520155" y="2194502"/>
                  <a:pt x="5522083" y="2226811"/>
                  <a:pt x="5540407" y="2245135"/>
                </a:cubicBezTo>
                <a:cubicBezTo>
                  <a:pt x="5558731" y="2263781"/>
                  <a:pt x="5591038" y="2265788"/>
                  <a:pt x="5631317" y="2253964"/>
                </a:cubicBezTo>
                <a:lnTo>
                  <a:pt x="5661749" y="2242328"/>
                </a:lnTo>
                <a:lnTo>
                  <a:pt x="5644001" y="2163118"/>
                </a:lnTo>
                <a:lnTo>
                  <a:pt x="5642504" y="2143082"/>
                </a:lnTo>
                <a:lnTo>
                  <a:pt x="5623279" y="2141660"/>
                </a:lnTo>
                <a:close/>
                <a:moveTo>
                  <a:pt x="5901217" y="2096788"/>
                </a:moveTo>
                <a:lnTo>
                  <a:pt x="5888451" y="2110545"/>
                </a:lnTo>
                <a:lnTo>
                  <a:pt x="5875630" y="2122448"/>
                </a:lnTo>
                <a:lnTo>
                  <a:pt x="5899439" y="2120676"/>
                </a:lnTo>
                <a:close/>
                <a:moveTo>
                  <a:pt x="5663018" y="2095865"/>
                </a:moveTo>
                <a:lnTo>
                  <a:pt x="5664871" y="2120759"/>
                </a:lnTo>
                <a:lnTo>
                  <a:pt x="5689742" y="2122592"/>
                </a:lnTo>
                <a:lnTo>
                  <a:pt x="5675852" y="2109688"/>
                </a:lnTo>
                <a:close/>
                <a:moveTo>
                  <a:pt x="5964361" y="2025112"/>
                </a:moveTo>
                <a:lnTo>
                  <a:pt x="5944467" y="2050176"/>
                </a:lnTo>
                <a:lnTo>
                  <a:pt x="5927363" y="2068609"/>
                </a:lnTo>
                <a:lnTo>
                  <a:pt x="5923685" y="2117844"/>
                </a:lnTo>
                <a:lnTo>
                  <a:pt x="5973632" y="2107841"/>
                </a:lnTo>
                <a:lnTo>
                  <a:pt x="6007981" y="2096861"/>
                </a:lnTo>
                <a:lnTo>
                  <a:pt x="5991239" y="2065450"/>
                </a:lnTo>
                <a:close/>
                <a:moveTo>
                  <a:pt x="5599967" y="2024356"/>
                </a:moveTo>
                <a:lnTo>
                  <a:pt x="5573064" y="2064817"/>
                </a:lnTo>
                <a:lnTo>
                  <a:pt x="5555981" y="2096936"/>
                </a:lnTo>
                <a:lnTo>
                  <a:pt x="5591049" y="2108067"/>
                </a:lnTo>
                <a:lnTo>
                  <a:pt x="5640623" y="2117908"/>
                </a:lnTo>
                <a:lnTo>
                  <a:pt x="5636873" y="2067704"/>
                </a:lnTo>
                <a:lnTo>
                  <a:pt x="5619836" y="2049354"/>
                </a:lnTo>
                <a:close/>
                <a:moveTo>
                  <a:pt x="5930674" y="1983998"/>
                </a:moveTo>
                <a:lnTo>
                  <a:pt x="5932171" y="2004246"/>
                </a:lnTo>
                <a:lnTo>
                  <a:pt x="5930734" y="2023487"/>
                </a:lnTo>
                <a:lnTo>
                  <a:pt x="5947705" y="2003765"/>
                </a:lnTo>
                <a:close/>
                <a:moveTo>
                  <a:pt x="5633693" y="1983147"/>
                </a:moveTo>
                <a:lnTo>
                  <a:pt x="5615905" y="2003818"/>
                </a:lnTo>
                <a:lnTo>
                  <a:pt x="5633640" y="2024428"/>
                </a:lnTo>
                <a:lnTo>
                  <a:pt x="5632133" y="2004246"/>
                </a:lnTo>
                <a:close/>
                <a:moveTo>
                  <a:pt x="5783009" y="1940810"/>
                </a:moveTo>
                <a:cubicBezTo>
                  <a:pt x="5817299" y="1940810"/>
                  <a:pt x="5845588" y="1968242"/>
                  <a:pt x="5845588" y="2003389"/>
                </a:cubicBezTo>
                <a:cubicBezTo>
                  <a:pt x="5845588" y="2038537"/>
                  <a:pt x="5817299" y="2066825"/>
                  <a:pt x="5783009" y="2065968"/>
                </a:cubicBezTo>
                <a:cubicBezTo>
                  <a:pt x="5748719" y="2065968"/>
                  <a:pt x="5720429" y="2038537"/>
                  <a:pt x="5720429" y="2003389"/>
                </a:cubicBezTo>
                <a:cubicBezTo>
                  <a:pt x="5720429" y="1969099"/>
                  <a:pt x="5747861" y="1940810"/>
                  <a:pt x="5783009" y="1940810"/>
                </a:cubicBezTo>
                <a:close/>
                <a:moveTo>
                  <a:pt x="6037483" y="1919889"/>
                </a:moveTo>
                <a:lnTo>
                  <a:pt x="6031666" y="1930805"/>
                </a:lnTo>
                <a:cubicBezTo>
                  <a:pt x="6020133" y="1950011"/>
                  <a:pt x="6007020" y="1969741"/>
                  <a:pt x="5992446" y="1989726"/>
                </a:cubicBezTo>
                <a:lnTo>
                  <a:pt x="5981262" y="2003818"/>
                </a:lnTo>
                <a:lnTo>
                  <a:pt x="5992446" y="2017909"/>
                </a:lnTo>
                <a:cubicBezTo>
                  <a:pt x="6007020" y="2037893"/>
                  <a:pt x="6020133" y="2057623"/>
                  <a:pt x="6031666" y="2076831"/>
                </a:cubicBezTo>
                <a:lnTo>
                  <a:pt x="6037189" y="2087193"/>
                </a:lnTo>
                <a:lnTo>
                  <a:pt x="6083022" y="2063384"/>
                </a:lnTo>
                <a:cubicBezTo>
                  <a:pt x="6109293" y="2045531"/>
                  <a:pt x="6124194" y="2025087"/>
                  <a:pt x="6124194" y="2003388"/>
                </a:cubicBezTo>
                <a:cubicBezTo>
                  <a:pt x="6124194" y="1981689"/>
                  <a:pt x="6109209" y="1961247"/>
                  <a:pt x="6082849" y="1943392"/>
                </a:cubicBezTo>
                <a:close/>
                <a:moveTo>
                  <a:pt x="5527012" y="1919637"/>
                </a:moveTo>
                <a:lnTo>
                  <a:pt x="5481281" y="1943393"/>
                </a:lnTo>
                <a:cubicBezTo>
                  <a:pt x="5455010" y="1961247"/>
                  <a:pt x="5440109" y="1981689"/>
                  <a:pt x="5440109" y="2003388"/>
                </a:cubicBezTo>
                <a:cubicBezTo>
                  <a:pt x="5440109" y="2025355"/>
                  <a:pt x="5455094" y="2045899"/>
                  <a:pt x="5481454" y="2063765"/>
                </a:cubicBezTo>
                <a:lnTo>
                  <a:pt x="5527292" y="2087474"/>
                </a:lnTo>
                <a:lnTo>
                  <a:pt x="5532638" y="2077462"/>
                </a:lnTo>
                <a:cubicBezTo>
                  <a:pt x="5544171" y="2058290"/>
                  <a:pt x="5557284" y="2038597"/>
                  <a:pt x="5571857" y="2018645"/>
                </a:cubicBezTo>
                <a:lnTo>
                  <a:pt x="5583642" y="2003818"/>
                </a:lnTo>
                <a:lnTo>
                  <a:pt x="5571857" y="1988990"/>
                </a:lnTo>
                <a:cubicBezTo>
                  <a:pt x="5557284" y="1969039"/>
                  <a:pt x="5544171" y="1949345"/>
                  <a:pt x="5532638" y="1930175"/>
                </a:cubicBezTo>
                <a:close/>
                <a:moveTo>
                  <a:pt x="5923650" y="1888999"/>
                </a:moveTo>
                <a:lnTo>
                  <a:pt x="5927348" y="1939009"/>
                </a:lnTo>
                <a:lnTo>
                  <a:pt x="5944467" y="1957460"/>
                </a:lnTo>
                <a:lnTo>
                  <a:pt x="5964311" y="1982460"/>
                </a:lnTo>
                <a:lnTo>
                  <a:pt x="5991239" y="1941959"/>
                </a:lnTo>
                <a:lnTo>
                  <a:pt x="6008190" y="1910091"/>
                </a:lnTo>
                <a:lnTo>
                  <a:pt x="5973255" y="1898937"/>
                </a:lnTo>
                <a:close/>
                <a:moveTo>
                  <a:pt x="5640660" y="1888926"/>
                </a:moveTo>
                <a:lnTo>
                  <a:pt x="5590672" y="1898937"/>
                </a:lnTo>
                <a:lnTo>
                  <a:pt x="5555674" y="1910123"/>
                </a:lnTo>
                <a:lnTo>
                  <a:pt x="5573064" y="1942817"/>
                </a:lnTo>
                <a:lnTo>
                  <a:pt x="5599967" y="1983279"/>
                </a:lnTo>
                <a:lnTo>
                  <a:pt x="5619836" y="1958282"/>
                </a:lnTo>
                <a:lnTo>
                  <a:pt x="5636890" y="1939913"/>
                </a:lnTo>
                <a:close/>
                <a:moveTo>
                  <a:pt x="5874649" y="1884276"/>
                </a:moveTo>
                <a:lnTo>
                  <a:pt x="5888451" y="1897089"/>
                </a:lnTo>
                <a:lnTo>
                  <a:pt x="5901285" y="1910921"/>
                </a:lnTo>
                <a:lnTo>
                  <a:pt x="5899440" y="1886125"/>
                </a:lnTo>
                <a:close/>
                <a:moveTo>
                  <a:pt x="5691290" y="1884137"/>
                </a:moveTo>
                <a:lnTo>
                  <a:pt x="5664888" y="1886102"/>
                </a:lnTo>
                <a:lnTo>
                  <a:pt x="5662969" y="1911824"/>
                </a:lnTo>
                <a:lnTo>
                  <a:pt x="5675852" y="1897947"/>
                </a:lnTo>
                <a:close/>
                <a:moveTo>
                  <a:pt x="5782152" y="1877374"/>
                </a:moveTo>
                <a:lnTo>
                  <a:pt x="5729852" y="1881266"/>
                </a:lnTo>
                <a:lnTo>
                  <a:pt x="5692997" y="1914234"/>
                </a:lnTo>
                <a:lnTo>
                  <a:pt x="5659921" y="1952671"/>
                </a:lnTo>
                <a:lnTo>
                  <a:pt x="5656136" y="2003388"/>
                </a:lnTo>
                <a:lnTo>
                  <a:pt x="5659980" y="2055033"/>
                </a:lnTo>
                <a:lnTo>
                  <a:pt x="5692997" y="2093401"/>
                </a:lnTo>
                <a:lnTo>
                  <a:pt x="5730401" y="2125589"/>
                </a:lnTo>
                <a:lnTo>
                  <a:pt x="5782152" y="2129404"/>
                </a:lnTo>
                <a:lnTo>
                  <a:pt x="5832915" y="2125626"/>
                </a:lnTo>
                <a:lnTo>
                  <a:pt x="5871306" y="2092543"/>
                </a:lnTo>
                <a:lnTo>
                  <a:pt x="5904394" y="2054095"/>
                </a:lnTo>
                <a:lnTo>
                  <a:pt x="5908167" y="2003388"/>
                </a:lnTo>
                <a:lnTo>
                  <a:pt x="5904460" y="1953572"/>
                </a:lnTo>
                <a:lnTo>
                  <a:pt x="5871306" y="1915093"/>
                </a:lnTo>
                <a:lnTo>
                  <a:pt x="5831778" y="1881078"/>
                </a:lnTo>
                <a:close/>
                <a:moveTo>
                  <a:pt x="5781317" y="1837652"/>
                </a:moveTo>
                <a:lnTo>
                  <a:pt x="5768933" y="1846306"/>
                </a:lnTo>
                <a:lnTo>
                  <a:pt x="5759134" y="1855072"/>
                </a:lnTo>
                <a:lnTo>
                  <a:pt x="5782152" y="1853370"/>
                </a:lnTo>
                <a:lnTo>
                  <a:pt x="5801220" y="1854779"/>
                </a:lnTo>
                <a:close/>
                <a:moveTo>
                  <a:pt x="5875814" y="1778152"/>
                </a:moveTo>
                <a:lnTo>
                  <a:pt x="5843355" y="1794301"/>
                </a:lnTo>
                <a:lnTo>
                  <a:pt x="5803931" y="1821851"/>
                </a:lnTo>
                <a:lnTo>
                  <a:pt x="5828117" y="1841074"/>
                </a:lnTo>
                <a:lnTo>
                  <a:pt x="5846484" y="1858127"/>
                </a:lnTo>
                <a:lnTo>
                  <a:pt x="5896602" y="1861833"/>
                </a:lnTo>
                <a:lnTo>
                  <a:pt x="5886604" y="1811909"/>
                </a:lnTo>
                <a:close/>
                <a:moveTo>
                  <a:pt x="5688619" y="1778083"/>
                </a:moveTo>
                <a:lnTo>
                  <a:pt x="5677700" y="1812285"/>
                </a:lnTo>
                <a:lnTo>
                  <a:pt x="5667775" y="1861826"/>
                </a:lnTo>
                <a:lnTo>
                  <a:pt x="5720592" y="1857921"/>
                </a:lnTo>
                <a:lnTo>
                  <a:pt x="5760892" y="1821868"/>
                </a:lnTo>
                <a:lnTo>
                  <a:pt x="5720722" y="1795160"/>
                </a:lnTo>
                <a:close/>
                <a:moveTo>
                  <a:pt x="1448754" y="1765931"/>
                </a:moveTo>
                <a:cubicBezTo>
                  <a:pt x="1448754" y="1767646"/>
                  <a:pt x="1631349" y="1852515"/>
                  <a:pt x="1666496" y="1868802"/>
                </a:cubicBezTo>
                <a:cubicBezTo>
                  <a:pt x="1701643" y="1852515"/>
                  <a:pt x="1884238" y="1767646"/>
                  <a:pt x="1884238" y="1765931"/>
                </a:cubicBezTo>
                <a:lnTo>
                  <a:pt x="1884238" y="2016249"/>
                </a:lnTo>
                <a:cubicBezTo>
                  <a:pt x="1825087" y="2077971"/>
                  <a:pt x="1709358" y="2088258"/>
                  <a:pt x="1672497" y="2089973"/>
                </a:cubicBezTo>
                <a:cubicBezTo>
                  <a:pt x="1672497" y="2089973"/>
                  <a:pt x="1669925" y="2089973"/>
                  <a:pt x="1666496" y="2089973"/>
                </a:cubicBezTo>
                <a:cubicBezTo>
                  <a:pt x="1662210" y="2089973"/>
                  <a:pt x="1660495" y="2089973"/>
                  <a:pt x="1660495" y="2089973"/>
                </a:cubicBezTo>
                <a:cubicBezTo>
                  <a:pt x="1623633" y="2089116"/>
                  <a:pt x="1507905" y="2078829"/>
                  <a:pt x="1448754" y="2016249"/>
                </a:cubicBezTo>
                <a:close/>
                <a:moveTo>
                  <a:pt x="5593918" y="1746924"/>
                </a:moveTo>
                <a:cubicBezTo>
                  <a:pt x="5571054" y="1745356"/>
                  <a:pt x="5552623" y="1750285"/>
                  <a:pt x="5540407" y="1762502"/>
                </a:cubicBezTo>
                <a:cubicBezTo>
                  <a:pt x="5522083" y="1780825"/>
                  <a:pt x="5520155" y="1813133"/>
                  <a:pt x="5531953" y="1853413"/>
                </a:cubicBezTo>
                <a:lnTo>
                  <a:pt x="5543203" y="1882935"/>
                </a:lnTo>
                <a:lnTo>
                  <a:pt x="5623279" y="1865117"/>
                </a:lnTo>
                <a:lnTo>
                  <a:pt x="5642525" y="1863694"/>
                </a:lnTo>
                <a:lnTo>
                  <a:pt x="5643880" y="1845375"/>
                </a:lnTo>
                <a:lnTo>
                  <a:pt x="5661631" y="1765599"/>
                </a:lnTo>
                <a:lnTo>
                  <a:pt x="5631317" y="1754048"/>
                </a:lnTo>
                <a:cubicBezTo>
                  <a:pt x="5617891" y="1750115"/>
                  <a:pt x="5605350" y="1747708"/>
                  <a:pt x="5593918" y="1746924"/>
                </a:cubicBezTo>
                <a:close/>
                <a:moveTo>
                  <a:pt x="5970024" y="1746066"/>
                </a:moveTo>
                <a:cubicBezTo>
                  <a:pt x="5952845" y="1747241"/>
                  <a:pt x="5933211" y="1752072"/>
                  <a:pt x="5911854" y="1760221"/>
                </a:cubicBezTo>
                <a:lnTo>
                  <a:pt x="5902511" y="1764870"/>
                </a:lnTo>
                <a:lnTo>
                  <a:pt x="5920424" y="1845375"/>
                </a:lnTo>
                <a:lnTo>
                  <a:pt x="5921779" y="1863694"/>
                </a:lnTo>
                <a:lnTo>
                  <a:pt x="5941024" y="1865117"/>
                </a:lnTo>
                <a:lnTo>
                  <a:pt x="6020799" y="1882868"/>
                </a:lnTo>
                <a:lnTo>
                  <a:pt x="6032350" y="1852555"/>
                </a:lnTo>
                <a:cubicBezTo>
                  <a:pt x="6044149" y="1812276"/>
                  <a:pt x="6042221" y="1779968"/>
                  <a:pt x="6023897" y="1761646"/>
                </a:cubicBezTo>
                <a:cubicBezTo>
                  <a:pt x="6011467" y="1749428"/>
                  <a:pt x="5992929" y="1744499"/>
                  <a:pt x="5970024" y="1746066"/>
                </a:cubicBezTo>
                <a:close/>
                <a:moveTo>
                  <a:pt x="289975" y="1703570"/>
                </a:moveTo>
                <a:lnTo>
                  <a:pt x="249460" y="1738503"/>
                </a:lnTo>
                <a:cubicBezTo>
                  <a:pt x="249460" y="1738503"/>
                  <a:pt x="264462" y="1723072"/>
                  <a:pt x="283964" y="1707642"/>
                </a:cubicBezTo>
                <a:close/>
                <a:moveTo>
                  <a:pt x="4368605" y="1696916"/>
                </a:moveTo>
                <a:cubicBezTo>
                  <a:pt x="4407031" y="1694430"/>
                  <a:pt x="4447416" y="1702386"/>
                  <a:pt x="4478277" y="1734211"/>
                </a:cubicBezTo>
                <a:lnTo>
                  <a:pt x="4710592" y="1734211"/>
                </a:lnTo>
                <a:lnTo>
                  <a:pt x="4710592" y="2074541"/>
                </a:lnTo>
                <a:lnTo>
                  <a:pt x="4473133" y="2076255"/>
                </a:lnTo>
                <a:cubicBezTo>
                  <a:pt x="4473133" y="2076255"/>
                  <a:pt x="4393408" y="1995674"/>
                  <a:pt x="4245961" y="2072826"/>
                </a:cubicBezTo>
                <a:lnTo>
                  <a:pt x="4245961" y="1734211"/>
                </a:lnTo>
                <a:cubicBezTo>
                  <a:pt x="4245961" y="1734211"/>
                  <a:pt x="4304562" y="1701060"/>
                  <a:pt x="4368605" y="1696916"/>
                </a:cubicBezTo>
                <a:close/>
                <a:moveTo>
                  <a:pt x="5782152" y="1661348"/>
                </a:moveTo>
                <a:cubicBezTo>
                  <a:pt x="5760453" y="1661348"/>
                  <a:pt x="5740010" y="1676333"/>
                  <a:pt x="5722156" y="1702693"/>
                </a:cubicBezTo>
                <a:lnTo>
                  <a:pt x="5698519" y="1748314"/>
                </a:lnTo>
                <a:lnTo>
                  <a:pt x="5708935" y="1753875"/>
                </a:lnTo>
                <a:cubicBezTo>
                  <a:pt x="5728108" y="1765408"/>
                  <a:pt x="5747801" y="1778522"/>
                  <a:pt x="5767753" y="1793094"/>
                </a:cubicBezTo>
                <a:lnTo>
                  <a:pt x="5783057" y="1805259"/>
                </a:lnTo>
                <a:lnTo>
                  <a:pt x="5855594" y="1754507"/>
                </a:lnTo>
                <a:lnTo>
                  <a:pt x="5866361" y="1749129"/>
                </a:lnTo>
                <a:lnTo>
                  <a:pt x="5842148" y="1702521"/>
                </a:lnTo>
                <a:cubicBezTo>
                  <a:pt x="5824294" y="1676250"/>
                  <a:pt x="5803851" y="1661348"/>
                  <a:pt x="5782152" y="1661348"/>
                </a:cubicBezTo>
                <a:close/>
                <a:moveTo>
                  <a:pt x="592360" y="1640776"/>
                </a:moveTo>
                <a:cubicBezTo>
                  <a:pt x="592360" y="1640776"/>
                  <a:pt x="595066" y="1641779"/>
                  <a:pt x="599890" y="1643860"/>
                </a:cubicBezTo>
                <a:lnTo>
                  <a:pt x="615617" y="1651278"/>
                </a:lnTo>
                <a:close/>
                <a:moveTo>
                  <a:pt x="493776" y="1630488"/>
                </a:moveTo>
                <a:lnTo>
                  <a:pt x="498063" y="1633917"/>
                </a:lnTo>
                <a:cubicBezTo>
                  <a:pt x="498063" y="1633917"/>
                  <a:pt x="495491" y="1638204"/>
                  <a:pt x="493776" y="1640776"/>
                </a:cubicBezTo>
                <a:cubicBezTo>
                  <a:pt x="492919" y="1643348"/>
                  <a:pt x="497205" y="1641634"/>
                  <a:pt x="497205" y="1641634"/>
                </a:cubicBezTo>
                <a:cubicBezTo>
                  <a:pt x="497205" y="1641634"/>
                  <a:pt x="510921" y="1648491"/>
                  <a:pt x="510921" y="1651062"/>
                </a:cubicBezTo>
                <a:cubicBezTo>
                  <a:pt x="510921" y="1653635"/>
                  <a:pt x="504921" y="1656207"/>
                  <a:pt x="492919" y="1655350"/>
                </a:cubicBezTo>
                <a:cubicBezTo>
                  <a:pt x="480918" y="1654492"/>
                  <a:pt x="486918" y="1657064"/>
                  <a:pt x="471488" y="1649348"/>
                </a:cubicBezTo>
                <a:cubicBezTo>
                  <a:pt x="456057" y="1641634"/>
                  <a:pt x="457772" y="1662207"/>
                  <a:pt x="451771" y="1667351"/>
                </a:cubicBezTo>
                <a:cubicBezTo>
                  <a:pt x="444913" y="1672494"/>
                  <a:pt x="444913" y="1674208"/>
                  <a:pt x="440627" y="1683638"/>
                </a:cubicBezTo>
                <a:cubicBezTo>
                  <a:pt x="437198" y="1693069"/>
                  <a:pt x="440627" y="1683638"/>
                  <a:pt x="450914" y="1689640"/>
                </a:cubicBezTo>
                <a:cubicBezTo>
                  <a:pt x="461201" y="1695639"/>
                  <a:pt x="455200" y="1691355"/>
                  <a:pt x="460344" y="1690497"/>
                </a:cubicBezTo>
                <a:cubicBezTo>
                  <a:pt x="465487" y="1690497"/>
                  <a:pt x="480060" y="1687067"/>
                  <a:pt x="484347" y="1686210"/>
                </a:cubicBezTo>
                <a:cubicBezTo>
                  <a:pt x="488633" y="1685352"/>
                  <a:pt x="491205" y="1686210"/>
                  <a:pt x="490347" y="1700784"/>
                </a:cubicBezTo>
                <a:cubicBezTo>
                  <a:pt x="489490" y="1716214"/>
                  <a:pt x="490347" y="1700784"/>
                  <a:pt x="512636" y="1711927"/>
                </a:cubicBezTo>
                <a:cubicBezTo>
                  <a:pt x="534924" y="1723071"/>
                  <a:pt x="508350" y="1723071"/>
                  <a:pt x="525495" y="1726501"/>
                </a:cubicBezTo>
                <a:cubicBezTo>
                  <a:pt x="542640" y="1730788"/>
                  <a:pt x="522923" y="1731644"/>
                  <a:pt x="510064" y="1736787"/>
                </a:cubicBezTo>
                <a:cubicBezTo>
                  <a:pt x="497205" y="1742789"/>
                  <a:pt x="503206" y="1735930"/>
                  <a:pt x="494634" y="1747070"/>
                </a:cubicBezTo>
                <a:cubicBezTo>
                  <a:pt x="486061" y="1758215"/>
                  <a:pt x="496348" y="1754786"/>
                  <a:pt x="500634" y="1756500"/>
                </a:cubicBezTo>
                <a:cubicBezTo>
                  <a:pt x="504921" y="1758215"/>
                  <a:pt x="512636" y="1756500"/>
                  <a:pt x="516922" y="1753071"/>
                </a:cubicBezTo>
                <a:cubicBezTo>
                  <a:pt x="520351" y="1749645"/>
                  <a:pt x="523780" y="1751357"/>
                  <a:pt x="523780" y="1751357"/>
                </a:cubicBezTo>
                <a:cubicBezTo>
                  <a:pt x="523780" y="1751357"/>
                  <a:pt x="533210" y="1742789"/>
                  <a:pt x="542640" y="1747928"/>
                </a:cubicBezTo>
                <a:cubicBezTo>
                  <a:pt x="552069" y="1753071"/>
                  <a:pt x="542640" y="1747928"/>
                  <a:pt x="545211" y="1745356"/>
                </a:cubicBezTo>
                <a:cubicBezTo>
                  <a:pt x="547783" y="1743646"/>
                  <a:pt x="552069" y="1744499"/>
                  <a:pt x="555498" y="1741075"/>
                </a:cubicBezTo>
                <a:cubicBezTo>
                  <a:pt x="558927" y="1738503"/>
                  <a:pt x="566643" y="1735930"/>
                  <a:pt x="588931" y="1744499"/>
                </a:cubicBezTo>
                <a:cubicBezTo>
                  <a:pt x="612077" y="1753071"/>
                  <a:pt x="590646" y="1751357"/>
                  <a:pt x="600933" y="1755643"/>
                </a:cubicBezTo>
                <a:cubicBezTo>
                  <a:pt x="610362" y="1759929"/>
                  <a:pt x="604362" y="1758215"/>
                  <a:pt x="605219" y="1752214"/>
                </a:cubicBezTo>
                <a:cubicBezTo>
                  <a:pt x="606076" y="1746213"/>
                  <a:pt x="606076" y="1737646"/>
                  <a:pt x="609505" y="1735930"/>
                </a:cubicBezTo>
                <a:cubicBezTo>
                  <a:pt x="612934" y="1734216"/>
                  <a:pt x="615506" y="1735930"/>
                  <a:pt x="619792" y="1739360"/>
                </a:cubicBezTo>
                <a:cubicBezTo>
                  <a:pt x="624078" y="1742789"/>
                  <a:pt x="633508" y="1720500"/>
                  <a:pt x="643795" y="1724786"/>
                </a:cubicBezTo>
                <a:cubicBezTo>
                  <a:pt x="653225" y="1729073"/>
                  <a:pt x="646367" y="1726501"/>
                  <a:pt x="656654" y="1733358"/>
                </a:cubicBezTo>
                <a:cubicBezTo>
                  <a:pt x="666942" y="1740217"/>
                  <a:pt x="656654" y="1743646"/>
                  <a:pt x="651510" y="1747928"/>
                </a:cubicBezTo>
                <a:cubicBezTo>
                  <a:pt x="645510" y="1753071"/>
                  <a:pt x="648081" y="1745356"/>
                  <a:pt x="639509" y="1742789"/>
                </a:cubicBezTo>
                <a:cubicBezTo>
                  <a:pt x="630936" y="1740217"/>
                  <a:pt x="636080" y="1744499"/>
                  <a:pt x="623221" y="1756500"/>
                </a:cubicBezTo>
                <a:cubicBezTo>
                  <a:pt x="610362" y="1767644"/>
                  <a:pt x="623221" y="1756500"/>
                  <a:pt x="625793" y="1763359"/>
                </a:cubicBezTo>
                <a:cubicBezTo>
                  <a:pt x="628365" y="1770216"/>
                  <a:pt x="635223" y="1760786"/>
                  <a:pt x="642081" y="1763359"/>
                </a:cubicBezTo>
                <a:cubicBezTo>
                  <a:pt x="648939" y="1765931"/>
                  <a:pt x="647224" y="1765931"/>
                  <a:pt x="656654" y="1767644"/>
                </a:cubicBezTo>
                <a:cubicBezTo>
                  <a:pt x="666085" y="1769359"/>
                  <a:pt x="656654" y="1767644"/>
                  <a:pt x="658369" y="1773647"/>
                </a:cubicBezTo>
                <a:cubicBezTo>
                  <a:pt x="660084" y="1779648"/>
                  <a:pt x="662656" y="1774503"/>
                  <a:pt x="672085" y="1778790"/>
                </a:cubicBezTo>
                <a:cubicBezTo>
                  <a:pt x="681515" y="1783932"/>
                  <a:pt x="675514" y="1781362"/>
                  <a:pt x="672085" y="1788218"/>
                </a:cubicBezTo>
                <a:cubicBezTo>
                  <a:pt x="669514" y="1795076"/>
                  <a:pt x="669514" y="1788218"/>
                  <a:pt x="666085" y="1786504"/>
                </a:cubicBezTo>
                <a:cubicBezTo>
                  <a:pt x="662656" y="1785647"/>
                  <a:pt x="661798" y="1785647"/>
                  <a:pt x="654082" y="1789076"/>
                </a:cubicBezTo>
                <a:cubicBezTo>
                  <a:pt x="646367" y="1793363"/>
                  <a:pt x="645510" y="1789933"/>
                  <a:pt x="642081" y="1791647"/>
                </a:cubicBezTo>
                <a:cubicBezTo>
                  <a:pt x="639509" y="1793363"/>
                  <a:pt x="636937" y="1789933"/>
                  <a:pt x="618935" y="1788218"/>
                </a:cubicBezTo>
                <a:cubicBezTo>
                  <a:pt x="600933" y="1786504"/>
                  <a:pt x="618935" y="1788218"/>
                  <a:pt x="608648" y="1798505"/>
                </a:cubicBezTo>
                <a:cubicBezTo>
                  <a:pt x="598361" y="1808794"/>
                  <a:pt x="608648" y="1798505"/>
                  <a:pt x="601790" y="1798505"/>
                </a:cubicBezTo>
                <a:cubicBezTo>
                  <a:pt x="594932" y="1798505"/>
                  <a:pt x="592360" y="1795935"/>
                  <a:pt x="588074" y="1793363"/>
                </a:cubicBezTo>
                <a:cubicBezTo>
                  <a:pt x="582930" y="1790790"/>
                  <a:pt x="585502" y="1789076"/>
                  <a:pt x="576072" y="1789076"/>
                </a:cubicBezTo>
                <a:cubicBezTo>
                  <a:pt x="566643" y="1789076"/>
                  <a:pt x="576072" y="1789076"/>
                  <a:pt x="566643" y="1788218"/>
                </a:cubicBezTo>
                <a:cubicBezTo>
                  <a:pt x="558070" y="1787361"/>
                  <a:pt x="563214" y="1782218"/>
                  <a:pt x="562356" y="1770216"/>
                </a:cubicBezTo>
                <a:cubicBezTo>
                  <a:pt x="561499" y="1758215"/>
                  <a:pt x="562356" y="1770216"/>
                  <a:pt x="557213" y="1769359"/>
                </a:cubicBezTo>
                <a:cubicBezTo>
                  <a:pt x="552069" y="1768504"/>
                  <a:pt x="553784" y="1767644"/>
                  <a:pt x="550355" y="1767644"/>
                </a:cubicBezTo>
                <a:cubicBezTo>
                  <a:pt x="547783" y="1767644"/>
                  <a:pt x="550355" y="1767644"/>
                  <a:pt x="537496" y="1770216"/>
                </a:cubicBezTo>
                <a:cubicBezTo>
                  <a:pt x="524637" y="1772790"/>
                  <a:pt x="533210" y="1771073"/>
                  <a:pt x="528924" y="1771073"/>
                </a:cubicBezTo>
                <a:cubicBezTo>
                  <a:pt x="524637" y="1771073"/>
                  <a:pt x="522923" y="1771933"/>
                  <a:pt x="516065" y="1773647"/>
                </a:cubicBezTo>
                <a:cubicBezTo>
                  <a:pt x="509207" y="1775362"/>
                  <a:pt x="510921" y="1773647"/>
                  <a:pt x="507492" y="1774503"/>
                </a:cubicBezTo>
                <a:cubicBezTo>
                  <a:pt x="504921" y="1775362"/>
                  <a:pt x="498063" y="1782218"/>
                  <a:pt x="493776" y="1786504"/>
                </a:cubicBezTo>
                <a:cubicBezTo>
                  <a:pt x="488633" y="1790790"/>
                  <a:pt x="480918" y="1794219"/>
                  <a:pt x="474060" y="1793363"/>
                </a:cubicBezTo>
                <a:cubicBezTo>
                  <a:pt x="467202" y="1793363"/>
                  <a:pt x="469773" y="1795076"/>
                  <a:pt x="466344" y="1797648"/>
                </a:cubicBezTo>
                <a:cubicBezTo>
                  <a:pt x="462915" y="1799363"/>
                  <a:pt x="460344" y="1807080"/>
                  <a:pt x="458629" y="1810508"/>
                </a:cubicBezTo>
                <a:cubicBezTo>
                  <a:pt x="456915" y="1813080"/>
                  <a:pt x="446628" y="1818224"/>
                  <a:pt x="438912" y="1831938"/>
                </a:cubicBezTo>
                <a:cubicBezTo>
                  <a:pt x="431197" y="1845654"/>
                  <a:pt x="432912" y="1841369"/>
                  <a:pt x="441484" y="1860230"/>
                </a:cubicBezTo>
                <a:cubicBezTo>
                  <a:pt x="450057" y="1879088"/>
                  <a:pt x="436341" y="1865373"/>
                  <a:pt x="436341" y="1874802"/>
                </a:cubicBezTo>
                <a:cubicBezTo>
                  <a:pt x="436341" y="1883375"/>
                  <a:pt x="434626" y="1879088"/>
                  <a:pt x="431197" y="1886803"/>
                </a:cubicBezTo>
                <a:cubicBezTo>
                  <a:pt x="427768" y="1894520"/>
                  <a:pt x="431197" y="1886803"/>
                  <a:pt x="439770" y="1896233"/>
                </a:cubicBezTo>
                <a:cubicBezTo>
                  <a:pt x="448342" y="1905663"/>
                  <a:pt x="439770" y="1896233"/>
                  <a:pt x="444913" y="1902233"/>
                </a:cubicBezTo>
                <a:cubicBezTo>
                  <a:pt x="450914" y="1909093"/>
                  <a:pt x="446628" y="1907378"/>
                  <a:pt x="447485" y="1914235"/>
                </a:cubicBezTo>
                <a:cubicBezTo>
                  <a:pt x="448342" y="1921094"/>
                  <a:pt x="450057" y="1917664"/>
                  <a:pt x="456915" y="1921951"/>
                </a:cubicBezTo>
                <a:cubicBezTo>
                  <a:pt x="463773" y="1926236"/>
                  <a:pt x="460344" y="1925378"/>
                  <a:pt x="463773" y="1933095"/>
                </a:cubicBezTo>
                <a:cubicBezTo>
                  <a:pt x="467202" y="1940810"/>
                  <a:pt x="468059" y="1934810"/>
                  <a:pt x="474917" y="1939095"/>
                </a:cubicBezTo>
                <a:cubicBezTo>
                  <a:pt x="481775" y="1943381"/>
                  <a:pt x="492919" y="1939953"/>
                  <a:pt x="502349" y="1939953"/>
                </a:cubicBezTo>
                <a:cubicBezTo>
                  <a:pt x="511779" y="1939953"/>
                  <a:pt x="514350" y="1940810"/>
                  <a:pt x="521208" y="1937380"/>
                </a:cubicBezTo>
                <a:cubicBezTo>
                  <a:pt x="528924" y="1934810"/>
                  <a:pt x="536639" y="1934810"/>
                  <a:pt x="540925" y="1931380"/>
                </a:cubicBezTo>
                <a:cubicBezTo>
                  <a:pt x="545211" y="1927951"/>
                  <a:pt x="549498" y="1928810"/>
                  <a:pt x="552069" y="1930522"/>
                </a:cubicBezTo>
                <a:cubicBezTo>
                  <a:pt x="554641" y="1932237"/>
                  <a:pt x="552927" y="1936523"/>
                  <a:pt x="559785" y="1941666"/>
                </a:cubicBezTo>
                <a:cubicBezTo>
                  <a:pt x="566643" y="1946811"/>
                  <a:pt x="566643" y="1939953"/>
                  <a:pt x="570929" y="1939095"/>
                </a:cubicBezTo>
                <a:cubicBezTo>
                  <a:pt x="575215" y="1938237"/>
                  <a:pt x="587217" y="1945953"/>
                  <a:pt x="587217" y="1945953"/>
                </a:cubicBezTo>
                <a:cubicBezTo>
                  <a:pt x="587217" y="1945953"/>
                  <a:pt x="586359" y="1951954"/>
                  <a:pt x="583788" y="1962240"/>
                </a:cubicBezTo>
                <a:cubicBezTo>
                  <a:pt x="581216" y="1971670"/>
                  <a:pt x="583788" y="1962240"/>
                  <a:pt x="583788" y="1968242"/>
                </a:cubicBezTo>
                <a:cubicBezTo>
                  <a:pt x="583788" y="1974242"/>
                  <a:pt x="585502" y="1990529"/>
                  <a:pt x="585502" y="1990529"/>
                </a:cubicBezTo>
                <a:cubicBezTo>
                  <a:pt x="585502" y="1990529"/>
                  <a:pt x="588931" y="1994816"/>
                  <a:pt x="593217" y="2001674"/>
                </a:cubicBezTo>
                <a:cubicBezTo>
                  <a:pt x="597504" y="2008532"/>
                  <a:pt x="597504" y="2006817"/>
                  <a:pt x="598361" y="2009389"/>
                </a:cubicBezTo>
                <a:cubicBezTo>
                  <a:pt x="599218" y="2011104"/>
                  <a:pt x="605219" y="2017105"/>
                  <a:pt x="606933" y="2021391"/>
                </a:cubicBezTo>
                <a:cubicBezTo>
                  <a:pt x="608648" y="2024819"/>
                  <a:pt x="608648" y="2027392"/>
                  <a:pt x="609505" y="2033392"/>
                </a:cubicBezTo>
                <a:cubicBezTo>
                  <a:pt x="610362" y="2040250"/>
                  <a:pt x="604362" y="2041107"/>
                  <a:pt x="598361" y="2045393"/>
                </a:cubicBezTo>
                <a:cubicBezTo>
                  <a:pt x="592360" y="2049680"/>
                  <a:pt x="595789" y="2051396"/>
                  <a:pt x="593217" y="2061682"/>
                </a:cubicBezTo>
                <a:cubicBezTo>
                  <a:pt x="590646" y="2071968"/>
                  <a:pt x="593217" y="2061682"/>
                  <a:pt x="588931" y="2071968"/>
                </a:cubicBezTo>
                <a:cubicBezTo>
                  <a:pt x="584645" y="2082255"/>
                  <a:pt x="589788" y="2076254"/>
                  <a:pt x="595789" y="2082255"/>
                </a:cubicBezTo>
                <a:cubicBezTo>
                  <a:pt x="601790" y="2088256"/>
                  <a:pt x="601790" y="2084827"/>
                  <a:pt x="606076" y="2095114"/>
                </a:cubicBezTo>
                <a:cubicBezTo>
                  <a:pt x="611220" y="2104544"/>
                  <a:pt x="607791" y="2098543"/>
                  <a:pt x="608648" y="2107115"/>
                </a:cubicBezTo>
                <a:cubicBezTo>
                  <a:pt x="609505" y="2115689"/>
                  <a:pt x="608648" y="2107115"/>
                  <a:pt x="608648" y="2116545"/>
                </a:cubicBezTo>
                <a:cubicBezTo>
                  <a:pt x="608648" y="2125118"/>
                  <a:pt x="608648" y="2116545"/>
                  <a:pt x="613791" y="2128547"/>
                </a:cubicBezTo>
                <a:cubicBezTo>
                  <a:pt x="618935" y="2140548"/>
                  <a:pt x="614649" y="2133690"/>
                  <a:pt x="620649" y="2144834"/>
                </a:cubicBezTo>
                <a:cubicBezTo>
                  <a:pt x="627507" y="2155979"/>
                  <a:pt x="620649" y="2144834"/>
                  <a:pt x="624936" y="2144834"/>
                </a:cubicBezTo>
                <a:cubicBezTo>
                  <a:pt x="629222" y="2144834"/>
                  <a:pt x="640366" y="2139691"/>
                  <a:pt x="642938" y="2137119"/>
                </a:cubicBezTo>
                <a:cubicBezTo>
                  <a:pt x="645510" y="2134548"/>
                  <a:pt x="660941" y="2128547"/>
                  <a:pt x="665227" y="2127690"/>
                </a:cubicBezTo>
                <a:cubicBezTo>
                  <a:pt x="670371" y="2126832"/>
                  <a:pt x="668656" y="2118260"/>
                  <a:pt x="668656" y="2118260"/>
                </a:cubicBezTo>
                <a:lnTo>
                  <a:pt x="683230" y="2106258"/>
                </a:lnTo>
                <a:lnTo>
                  <a:pt x="695231" y="2088256"/>
                </a:lnTo>
                <a:cubicBezTo>
                  <a:pt x="695231" y="2088256"/>
                  <a:pt x="695231" y="2078826"/>
                  <a:pt x="695231" y="2076254"/>
                </a:cubicBezTo>
                <a:cubicBezTo>
                  <a:pt x="695231" y="2074540"/>
                  <a:pt x="702089" y="2073683"/>
                  <a:pt x="706375" y="2072825"/>
                </a:cubicBezTo>
                <a:cubicBezTo>
                  <a:pt x="709804" y="2071968"/>
                  <a:pt x="708947" y="2067682"/>
                  <a:pt x="710662" y="2065110"/>
                </a:cubicBezTo>
                <a:cubicBezTo>
                  <a:pt x="712376" y="2063397"/>
                  <a:pt x="718377" y="2053966"/>
                  <a:pt x="724378" y="2052252"/>
                </a:cubicBezTo>
                <a:cubicBezTo>
                  <a:pt x="731236" y="2051396"/>
                  <a:pt x="719234" y="2040250"/>
                  <a:pt x="719234" y="2040250"/>
                </a:cubicBezTo>
                <a:cubicBezTo>
                  <a:pt x="719234" y="2040250"/>
                  <a:pt x="727807" y="2034249"/>
                  <a:pt x="729521" y="2028248"/>
                </a:cubicBezTo>
                <a:cubicBezTo>
                  <a:pt x="731236" y="2022248"/>
                  <a:pt x="729521" y="2010247"/>
                  <a:pt x="728664" y="2006817"/>
                </a:cubicBezTo>
                <a:cubicBezTo>
                  <a:pt x="727807" y="2004246"/>
                  <a:pt x="728664" y="1992244"/>
                  <a:pt x="728664" y="1992244"/>
                </a:cubicBezTo>
                <a:lnTo>
                  <a:pt x="735522" y="1983671"/>
                </a:lnTo>
                <a:cubicBezTo>
                  <a:pt x="735522" y="1983671"/>
                  <a:pt x="736379" y="1968242"/>
                  <a:pt x="738951" y="1966526"/>
                </a:cubicBezTo>
                <a:cubicBezTo>
                  <a:pt x="741523" y="1964813"/>
                  <a:pt x="745809" y="1954526"/>
                  <a:pt x="750095" y="1954526"/>
                </a:cubicBezTo>
                <a:cubicBezTo>
                  <a:pt x="754381" y="1954526"/>
                  <a:pt x="753524" y="1931380"/>
                  <a:pt x="753524" y="1931380"/>
                </a:cubicBezTo>
                <a:lnTo>
                  <a:pt x="760382" y="1918520"/>
                </a:lnTo>
                <a:cubicBezTo>
                  <a:pt x="760382" y="1918520"/>
                  <a:pt x="762954" y="1905663"/>
                  <a:pt x="762954" y="1903090"/>
                </a:cubicBezTo>
                <a:cubicBezTo>
                  <a:pt x="762954" y="1900518"/>
                  <a:pt x="756096" y="1895375"/>
                  <a:pt x="756096" y="1895375"/>
                </a:cubicBezTo>
                <a:cubicBezTo>
                  <a:pt x="756096" y="1895375"/>
                  <a:pt x="749238" y="1895375"/>
                  <a:pt x="744094" y="1897947"/>
                </a:cubicBezTo>
                <a:cubicBezTo>
                  <a:pt x="738951" y="1900518"/>
                  <a:pt x="740665" y="1898805"/>
                  <a:pt x="737236" y="1899662"/>
                </a:cubicBezTo>
                <a:cubicBezTo>
                  <a:pt x="733807" y="1900518"/>
                  <a:pt x="732950" y="1897947"/>
                  <a:pt x="727807" y="1896233"/>
                </a:cubicBezTo>
                <a:cubicBezTo>
                  <a:pt x="722663" y="1894520"/>
                  <a:pt x="726949" y="1889375"/>
                  <a:pt x="727807" y="1885088"/>
                </a:cubicBezTo>
                <a:cubicBezTo>
                  <a:pt x="728664" y="1880803"/>
                  <a:pt x="720091" y="1881660"/>
                  <a:pt x="716662" y="1880803"/>
                </a:cubicBezTo>
                <a:cubicBezTo>
                  <a:pt x="714091" y="1879945"/>
                  <a:pt x="713233" y="1870514"/>
                  <a:pt x="710662" y="1867944"/>
                </a:cubicBezTo>
                <a:cubicBezTo>
                  <a:pt x="708947" y="1866229"/>
                  <a:pt x="708090" y="1862801"/>
                  <a:pt x="704661" y="1855941"/>
                </a:cubicBezTo>
                <a:cubicBezTo>
                  <a:pt x="701232" y="1849083"/>
                  <a:pt x="699517" y="1852513"/>
                  <a:pt x="695231" y="1851655"/>
                </a:cubicBezTo>
                <a:cubicBezTo>
                  <a:pt x="690945" y="1850798"/>
                  <a:pt x="696088" y="1842226"/>
                  <a:pt x="691802" y="1834510"/>
                </a:cubicBezTo>
                <a:cubicBezTo>
                  <a:pt x="687516" y="1826796"/>
                  <a:pt x="701232" y="1831082"/>
                  <a:pt x="701232" y="1831082"/>
                </a:cubicBezTo>
                <a:cubicBezTo>
                  <a:pt x="701232" y="1831082"/>
                  <a:pt x="701232" y="1831082"/>
                  <a:pt x="707233" y="1836225"/>
                </a:cubicBezTo>
                <a:cubicBezTo>
                  <a:pt x="713233" y="1842226"/>
                  <a:pt x="708947" y="1840511"/>
                  <a:pt x="713233" y="1846511"/>
                </a:cubicBezTo>
                <a:cubicBezTo>
                  <a:pt x="718377" y="1852513"/>
                  <a:pt x="714091" y="1856798"/>
                  <a:pt x="715805" y="1859371"/>
                </a:cubicBezTo>
                <a:cubicBezTo>
                  <a:pt x="717520" y="1861944"/>
                  <a:pt x="726949" y="1863658"/>
                  <a:pt x="730378" y="1868802"/>
                </a:cubicBezTo>
                <a:cubicBezTo>
                  <a:pt x="733807" y="1873945"/>
                  <a:pt x="738951" y="1879945"/>
                  <a:pt x="738951" y="1879945"/>
                </a:cubicBezTo>
                <a:cubicBezTo>
                  <a:pt x="738951" y="1879945"/>
                  <a:pt x="756096" y="1877374"/>
                  <a:pt x="759525" y="1875660"/>
                </a:cubicBezTo>
                <a:cubicBezTo>
                  <a:pt x="762097" y="1873945"/>
                  <a:pt x="763811" y="1864514"/>
                  <a:pt x="763811" y="1864514"/>
                </a:cubicBezTo>
                <a:cubicBezTo>
                  <a:pt x="763811" y="1864514"/>
                  <a:pt x="767240" y="1855941"/>
                  <a:pt x="767240" y="1852513"/>
                </a:cubicBezTo>
                <a:cubicBezTo>
                  <a:pt x="767240" y="1849940"/>
                  <a:pt x="762954" y="1837940"/>
                  <a:pt x="762954" y="1837940"/>
                </a:cubicBezTo>
                <a:lnTo>
                  <a:pt x="762954" y="1825938"/>
                </a:lnTo>
                <a:cubicBezTo>
                  <a:pt x="762954" y="1825938"/>
                  <a:pt x="756953" y="1819938"/>
                  <a:pt x="758668" y="1815651"/>
                </a:cubicBezTo>
                <a:cubicBezTo>
                  <a:pt x="760382" y="1812222"/>
                  <a:pt x="758668" y="1815651"/>
                  <a:pt x="762097" y="1816508"/>
                </a:cubicBezTo>
                <a:cubicBezTo>
                  <a:pt x="764668" y="1817366"/>
                  <a:pt x="771526" y="1817366"/>
                  <a:pt x="774098" y="1820794"/>
                </a:cubicBezTo>
                <a:cubicBezTo>
                  <a:pt x="776670" y="1824223"/>
                  <a:pt x="779242" y="1833653"/>
                  <a:pt x="782671" y="1837084"/>
                </a:cubicBezTo>
                <a:cubicBezTo>
                  <a:pt x="786100" y="1840511"/>
                  <a:pt x="786100" y="1839654"/>
                  <a:pt x="790386" y="1844797"/>
                </a:cubicBezTo>
                <a:cubicBezTo>
                  <a:pt x="793815" y="1849940"/>
                  <a:pt x="792958" y="1846511"/>
                  <a:pt x="796387" y="1851655"/>
                </a:cubicBezTo>
                <a:cubicBezTo>
                  <a:pt x="799816" y="1857656"/>
                  <a:pt x="796387" y="1855941"/>
                  <a:pt x="800673" y="1863658"/>
                </a:cubicBezTo>
                <a:cubicBezTo>
                  <a:pt x="804959" y="1871372"/>
                  <a:pt x="804959" y="1869657"/>
                  <a:pt x="809245" y="1873945"/>
                </a:cubicBezTo>
                <a:lnTo>
                  <a:pt x="810960" y="1870514"/>
                </a:lnTo>
                <a:cubicBezTo>
                  <a:pt x="776884" y="1746428"/>
                  <a:pt x="670960" y="1679244"/>
                  <a:pt x="620127" y="1653407"/>
                </a:cubicBezTo>
                <a:lnTo>
                  <a:pt x="615617" y="1651278"/>
                </a:lnTo>
                <a:lnTo>
                  <a:pt x="671583" y="1676556"/>
                </a:lnTo>
                <a:cubicBezTo>
                  <a:pt x="838713" y="1774368"/>
                  <a:pt x="881468" y="1966205"/>
                  <a:pt x="792958" y="2119974"/>
                </a:cubicBezTo>
                <a:cubicBezTo>
                  <a:pt x="691802" y="2295710"/>
                  <a:pt x="511779" y="2287139"/>
                  <a:pt x="511779" y="2287139"/>
                </a:cubicBezTo>
                <a:cubicBezTo>
                  <a:pt x="592360" y="2286282"/>
                  <a:pt x="630079" y="2251133"/>
                  <a:pt x="630079" y="2251133"/>
                </a:cubicBezTo>
                <a:cubicBezTo>
                  <a:pt x="630079" y="2251133"/>
                  <a:pt x="616363" y="2250276"/>
                  <a:pt x="613791" y="2251993"/>
                </a:cubicBezTo>
                <a:cubicBezTo>
                  <a:pt x="611220" y="2253706"/>
                  <a:pt x="600075" y="2245133"/>
                  <a:pt x="597504" y="2245133"/>
                </a:cubicBezTo>
                <a:cubicBezTo>
                  <a:pt x="594932" y="2245133"/>
                  <a:pt x="590646" y="2244276"/>
                  <a:pt x="588074" y="2243418"/>
                </a:cubicBezTo>
                <a:cubicBezTo>
                  <a:pt x="585502" y="2242562"/>
                  <a:pt x="577787" y="2245133"/>
                  <a:pt x="572643" y="2245990"/>
                </a:cubicBezTo>
                <a:cubicBezTo>
                  <a:pt x="566643" y="2246848"/>
                  <a:pt x="565785" y="2246848"/>
                  <a:pt x="560642" y="2251993"/>
                </a:cubicBezTo>
                <a:cubicBezTo>
                  <a:pt x="554641" y="2257136"/>
                  <a:pt x="553784" y="2251133"/>
                  <a:pt x="550355" y="2251133"/>
                </a:cubicBezTo>
                <a:cubicBezTo>
                  <a:pt x="546926" y="2251133"/>
                  <a:pt x="537496" y="2251993"/>
                  <a:pt x="537496" y="2251993"/>
                </a:cubicBezTo>
                <a:lnTo>
                  <a:pt x="541782" y="2241705"/>
                </a:lnTo>
                <a:cubicBezTo>
                  <a:pt x="541782" y="2241705"/>
                  <a:pt x="535782" y="2239989"/>
                  <a:pt x="530638" y="2239989"/>
                </a:cubicBezTo>
                <a:cubicBezTo>
                  <a:pt x="525495" y="2239989"/>
                  <a:pt x="526352" y="2244276"/>
                  <a:pt x="523780" y="2248563"/>
                </a:cubicBezTo>
                <a:cubicBezTo>
                  <a:pt x="521208" y="2252849"/>
                  <a:pt x="521208" y="2253706"/>
                  <a:pt x="517779" y="2259708"/>
                </a:cubicBezTo>
                <a:cubicBezTo>
                  <a:pt x="515208" y="2266564"/>
                  <a:pt x="501492" y="2256279"/>
                  <a:pt x="496348" y="2255421"/>
                </a:cubicBezTo>
                <a:cubicBezTo>
                  <a:pt x="491205" y="2254563"/>
                  <a:pt x="488633" y="2255421"/>
                  <a:pt x="484347" y="2252849"/>
                </a:cubicBezTo>
                <a:cubicBezTo>
                  <a:pt x="480060" y="2250276"/>
                  <a:pt x="485204" y="2248563"/>
                  <a:pt x="485204" y="2248563"/>
                </a:cubicBezTo>
                <a:lnTo>
                  <a:pt x="497205" y="2239989"/>
                </a:lnTo>
                <a:lnTo>
                  <a:pt x="509207" y="2233132"/>
                </a:lnTo>
                <a:cubicBezTo>
                  <a:pt x="509207" y="2233132"/>
                  <a:pt x="507492" y="2227131"/>
                  <a:pt x="503206" y="2226275"/>
                </a:cubicBezTo>
                <a:cubicBezTo>
                  <a:pt x="499777" y="2225418"/>
                  <a:pt x="499777" y="2228846"/>
                  <a:pt x="497205" y="2231417"/>
                </a:cubicBezTo>
                <a:cubicBezTo>
                  <a:pt x="494634" y="2233989"/>
                  <a:pt x="472345" y="2232275"/>
                  <a:pt x="472345" y="2232275"/>
                </a:cubicBezTo>
                <a:cubicBezTo>
                  <a:pt x="472345" y="2232275"/>
                  <a:pt x="458629" y="2237419"/>
                  <a:pt x="451771" y="2233989"/>
                </a:cubicBezTo>
                <a:cubicBezTo>
                  <a:pt x="444056" y="2230561"/>
                  <a:pt x="451771" y="2233989"/>
                  <a:pt x="448342" y="2227131"/>
                </a:cubicBezTo>
                <a:cubicBezTo>
                  <a:pt x="445770" y="2220274"/>
                  <a:pt x="438912" y="2231417"/>
                  <a:pt x="433769" y="2233989"/>
                </a:cubicBezTo>
                <a:cubicBezTo>
                  <a:pt x="427768" y="2236562"/>
                  <a:pt x="427768" y="2234846"/>
                  <a:pt x="413195" y="2237419"/>
                </a:cubicBezTo>
                <a:cubicBezTo>
                  <a:pt x="398622" y="2239989"/>
                  <a:pt x="402908" y="2239132"/>
                  <a:pt x="402908" y="2239132"/>
                </a:cubicBezTo>
                <a:lnTo>
                  <a:pt x="402051" y="2233132"/>
                </a:lnTo>
                <a:cubicBezTo>
                  <a:pt x="402051" y="2233132"/>
                  <a:pt x="396050" y="2237419"/>
                  <a:pt x="391764" y="2241705"/>
                </a:cubicBezTo>
                <a:cubicBezTo>
                  <a:pt x="387477" y="2245990"/>
                  <a:pt x="383191" y="2243418"/>
                  <a:pt x="379762" y="2243418"/>
                </a:cubicBezTo>
                <a:cubicBezTo>
                  <a:pt x="376333" y="2243418"/>
                  <a:pt x="378048" y="2257136"/>
                  <a:pt x="378048" y="2257136"/>
                </a:cubicBezTo>
                <a:cubicBezTo>
                  <a:pt x="379548" y="2260779"/>
                  <a:pt x="385388" y="2264528"/>
                  <a:pt x="393304" y="2268105"/>
                </a:cubicBezTo>
                <a:lnTo>
                  <a:pt x="409649" y="2273959"/>
                </a:lnTo>
                <a:lnTo>
                  <a:pt x="353398" y="2258117"/>
                </a:lnTo>
                <a:cubicBezTo>
                  <a:pt x="141567" y="2163439"/>
                  <a:pt x="167164" y="1913378"/>
                  <a:pt x="167164" y="1913378"/>
                </a:cubicBezTo>
                <a:lnTo>
                  <a:pt x="170593" y="1910806"/>
                </a:lnTo>
                <a:cubicBezTo>
                  <a:pt x="170593" y="1910806"/>
                  <a:pt x="172308" y="1918520"/>
                  <a:pt x="173165" y="1921951"/>
                </a:cubicBezTo>
                <a:cubicBezTo>
                  <a:pt x="174879" y="1925378"/>
                  <a:pt x="174879" y="1924521"/>
                  <a:pt x="179166" y="1930522"/>
                </a:cubicBezTo>
                <a:cubicBezTo>
                  <a:pt x="182595" y="1936523"/>
                  <a:pt x="184309" y="1935665"/>
                  <a:pt x="186024" y="1939953"/>
                </a:cubicBezTo>
                <a:cubicBezTo>
                  <a:pt x="187738" y="1945095"/>
                  <a:pt x="186024" y="1939953"/>
                  <a:pt x="181737" y="1954526"/>
                </a:cubicBezTo>
                <a:cubicBezTo>
                  <a:pt x="178308" y="1969098"/>
                  <a:pt x="190310" y="1978528"/>
                  <a:pt x="190310" y="1978528"/>
                </a:cubicBezTo>
                <a:cubicBezTo>
                  <a:pt x="190310" y="1978528"/>
                  <a:pt x="190310" y="1982814"/>
                  <a:pt x="189453" y="2007674"/>
                </a:cubicBezTo>
                <a:cubicBezTo>
                  <a:pt x="188595" y="2031678"/>
                  <a:pt x="199740" y="2037678"/>
                  <a:pt x="208312" y="2052252"/>
                </a:cubicBezTo>
                <a:cubicBezTo>
                  <a:pt x="216027" y="2065968"/>
                  <a:pt x="211741" y="2060824"/>
                  <a:pt x="215170" y="2066825"/>
                </a:cubicBezTo>
                <a:cubicBezTo>
                  <a:pt x="218599" y="2071968"/>
                  <a:pt x="217742" y="2067682"/>
                  <a:pt x="227172" y="2076254"/>
                </a:cubicBezTo>
                <a:cubicBezTo>
                  <a:pt x="236601" y="2084827"/>
                  <a:pt x="228886" y="2084827"/>
                  <a:pt x="233172" y="2101972"/>
                </a:cubicBezTo>
                <a:cubicBezTo>
                  <a:pt x="237459" y="2119117"/>
                  <a:pt x="237459" y="2109687"/>
                  <a:pt x="240888" y="2124260"/>
                </a:cubicBezTo>
                <a:cubicBezTo>
                  <a:pt x="243459" y="2139691"/>
                  <a:pt x="244317" y="2127690"/>
                  <a:pt x="250317" y="2136262"/>
                </a:cubicBezTo>
                <a:cubicBezTo>
                  <a:pt x="256318" y="2144834"/>
                  <a:pt x="250317" y="2136262"/>
                  <a:pt x="257175" y="2149122"/>
                </a:cubicBezTo>
                <a:cubicBezTo>
                  <a:pt x="264033" y="2161979"/>
                  <a:pt x="262319" y="2155122"/>
                  <a:pt x="264891" y="2161123"/>
                </a:cubicBezTo>
                <a:cubicBezTo>
                  <a:pt x="267462" y="2166267"/>
                  <a:pt x="270034" y="2163694"/>
                  <a:pt x="279464" y="2189412"/>
                </a:cubicBezTo>
                <a:cubicBezTo>
                  <a:pt x="288894" y="2215130"/>
                  <a:pt x="281178" y="2193698"/>
                  <a:pt x="286322" y="2199699"/>
                </a:cubicBezTo>
                <a:cubicBezTo>
                  <a:pt x="291465" y="2205701"/>
                  <a:pt x="294037" y="2202272"/>
                  <a:pt x="306039" y="2211701"/>
                </a:cubicBezTo>
                <a:cubicBezTo>
                  <a:pt x="318040" y="2221130"/>
                  <a:pt x="309468" y="2215986"/>
                  <a:pt x="318897" y="2221987"/>
                </a:cubicBezTo>
                <a:cubicBezTo>
                  <a:pt x="328327" y="2227988"/>
                  <a:pt x="320612" y="2219415"/>
                  <a:pt x="320612" y="2215986"/>
                </a:cubicBezTo>
                <a:cubicBezTo>
                  <a:pt x="320612" y="2212557"/>
                  <a:pt x="316326" y="2210843"/>
                  <a:pt x="312897" y="2207414"/>
                </a:cubicBezTo>
                <a:cubicBezTo>
                  <a:pt x="308610" y="2204842"/>
                  <a:pt x="307753" y="2200556"/>
                  <a:pt x="304324" y="2196269"/>
                </a:cubicBezTo>
                <a:cubicBezTo>
                  <a:pt x="301752" y="2192841"/>
                  <a:pt x="301752" y="2191127"/>
                  <a:pt x="300038" y="2186840"/>
                </a:cubicBezTo>
                <a:cubicBezTo>
                  <a:pt x="297466" y="2182553"/>
                  <a:pt x="294894" y="2180840"/>
                  <a:pt x="290608" y="2173981"/>
                </a:cubicBezTo>
                <a:cubicBezTo>
                  <a:pt x="286322" y="2167124"/>
                  <a:pt x="294037" y="2168839"/>
                  <a:pt x="294894" y="2166267"/>
                </a:cubicBezTo>
                <a:cubicBezTo>
                  <a:pt x="295752" y="2163694"/>
                  <a:pt x="297466" y="2164551"/>
                  <a:pt x="298323" y="2161123"/>
                </a:cubicBezTo>
                <a:cubicBezTo>
                  <a:pt x="299181" y="2157693"/>
                  <a:pt x="299181" y="2152550"/>
                  <a:pt x="294894" y="2148263"/>
                </a:cubicBezTo>
                <a:cubicBezTo>
                  <a:pt x="291465" y="2143120"/>
                  <a:pt x="302610" y="2122546"/>
                  <a:pt x="303467" y="2119974"/>
                </a:cubicBezTo>
                <a:cubicBezTo>
                  <a:pt x="304324" y="2117403"/>
                  <a:pt x="303467" y="2104544"/>
                  <a:pt x="303467" y="2104544"/>
                </a:cubicBezTo>
                <a:cubicBezTo>
                  <a:pt x="303467" y="2104544"/>
                  <a:pt x="309468" y="2098543"/>
                  <a:pt x="312897" y="2097686"/>
                </a:cubicBezTo>
                <a:cubicBezTo>
                  <a:pt x="316326" y="2096828"/>
                  <a:pt x="322326" y="2092543"/>
                  <a:pt x="326613" y="2088256"/>
                </a:cubicBezTo>
                <a:cubicBezTo>
                  <a:pt x="330899" y="2083970"/>
                  <a:pt x="324898" y="2079683"/>
                  <a:pt x="324898" y="2079683"/>
                </a:cubicBezTo>
                <a:cubicBezTo>
                  <a:pt x="324898" y="2079683"/>
                  <a:pt x="327470" y="2074540"/>
                  <a:pt x="329184" y="2071111"/>
                </a:cubicBezTo>
                <a:cubicBezTo>
                  <a:pt x="330899" y="2067682"/>
                  <a:pt x="330042" y="2059967"/>
                  <a:pt x="330042" y="2057396"/>
                </a:cubicBezTo>
                <a:cubicBezTo>
                  <a:pt x="330042" y="2054823"/>
                  <a:pt x="327470" y="2050539"/>
                  <a:pt x="325755" y="2046251"/>
                </a:cubicBezTo>
                <a:cubicBezTo>
                  <a:pt x="323184" y="2041964"/>
                  <a:pt x="325755" y="2037678"/>
                  <a:pt x="327470" y="2035106"/>
                </a:cubicBezTo>
                <a:cubicBezTo>
                  <a:pt x="330042" y="2032536"/>
                  <a:pt x="333471" y="2023962"/>
                  <a:pt x="336900" y="2021391"/>
                </a:cubicBezTo>
                <a:cubicBezTo>
                  <a:pt x="340329" y="2018820"/>
                  <a:pt x="341186" y="2014533"/>
                  <a:pt x="342043" y="2008532"/>
                </a:cubicBezTo>
                <a:cubicBezTo>
                  <a:pt x="342900" y="2002531"/>
                  <a:pt x="338614" y="2002531"/>
                  <a:pt x="336900" y="2001674"/>
                </a:cubicBezTo>
                <a:cubicBezTo>
                  <a:pt x="335185" y="2000816"/>
                  <a:pt x="332613" y="1999102"/>
                  <a:pt x="324041" y="1994816"/>
                </a:cubicBezTo>
                <a:cubicBezTo>
                  <a:pt x="316326" y="1989672"/>
                  <a:pt x="318897" y="1986243"/>
                  <a:pt x="315468" y="1983671"/>
                </a:cubicBezTo>
                <a:cubicBezTo>
                  <a:pt x="312039" y="1981100"/>
                  <a:pt x="306039" y="1981957"/>
                  <a:pt x="299181" y="1982814"/>
                </a:cubicBezTo>
                <a:cubicBezTo>
                  <a:pt x="292323" y="1983671"/>
                  <a:pt x="297466" y="1978528"/>
                  <a:pt x="295752" y="1977671"/>
                </a:cubicBezTo>
                <a:cubicBezTo>
                  <a:pt x="294037" y="1976813"/>
                  <a:pt x="288894" y="1974242"/>
                  <a:pt x="282893" y="1972528"/>
                </a:cubicBezTo>
                <a:cubicBezTo>
                  <a:pt x="277749" y="1970814"/>
                  <a:pt x="281178" y="1965669"/>
                  <a:pt x="281178" y="1965669"/>
                </a:cubicBezTo>
                <a:cubicBezTo>
                  <a:pt x="281178" y="1965669"/>
                  <a:pt x="274320" y="1964813"/>
                  <a:pt x="271749" y="1963955"/>
                </a:cubicBezTo>
                <a:cubicBezTo>
                  <a:pt x="269177" y="1963955"/>
                  <a:pt x="269177" y="1959668"/>
                  <a:pt x="270034" y="1957954"/>
                </a:cubicBezTo>
                <a:cubicBezTo>
                  <a:pt x="270891" y="1955382"/>
                  <a:pt x="269177" y="1948525"/>
                  <a:pt x="269177" y="1948525"/>
                </a:cubicBezTo>
                <a:cubicBezTo>
                  <a:pt x="269177" y="1948525"/>
                  <a:pt x="268320" y="1939953"/>
                  <a:pt x="264033" y="1939095"/>
                </a:cubicBezTo>
                <a:cubicBezTo>
                  <a:pt x="259747" y="1937380"/>
                  <a:pt x="261462" y="1933952"/>
                  <a:pt x="259747" y="1933095"/>
                </a:cubicBezTo>
                <a:cubicBezTo>
                  <a:pt x="257175" y="1932237"/>
                  <a:pt x="250317" y="1931380"/>
                  <a:pt x="248603" y="1931380"/>
                </a:cubicBezTo>
                <a:cubicBezTo>
                  <a:pt x="247746" y="1931380"/>
                  <a:pt x="240030" y="1929666"/>
                  <a:pt x="239173" y="1926236"/>
                </a:cubicBezTo>
                <a:cubicBezTo>
                  <a:pt x="238316" y="1923666"/>
                  <a:pt x="238316" y="1918520"/>
                  <a:pt x="236601" y="1917664"/>
                </a:cubicBezTo>
                <a:cubicBezTo>
                  <a:pt x="234887" y="1916808"/>
                  <a:pt x="233172" y="1911663"/>
                  <a:pt x="232315" y="1908233"/>
                </a:cubicBezTo>
                <a:cubicBezTo>
                  <a:pt x="230601" y="1904805"/>
                  <a:pt x="228029" y="1904805"/>
                  <a:pt x="226314" y="1903948"/>
                </a:cubicBezTo>
                <a:cubicBezTo>
                  <a:pt x="224600" y="1903090"/>
                  <a:pt x="216885" y="1907378"/>
                  <a:pt x="214313" y="1906521"/>
                </a:cubicBezTo>
                <a:cubicBezTo>
                  <a:pt x="211741" y="1905663"/>
                  <a:pt x="215170" y="1900518"/>
                  <a:pt x="213456" y="1898805"/>
                </a:cubicBezTo>
                <a:cubicBezTo>
                  <a:pt x="212598" y="1897090"/>
                  <a:pt x="211741" y="1897947"/>
                  <a:pt x="206598" y="1897090"/>
                </a:cubicBezTo>
                <a:cubicBezTo>
                  <a:pt x="201454" y="1896233"/>
                  <a:pt x="201454" y="1900518"/>
                  <a:pt x="201454" y="1900518"/>
                </a:cubicBezTo>
                <a:lnTo>
                  <a:pt x="198882" y="1903948"/>
                </a:lnTo>
                <a:cubicBezTo>
                  <a:pt x="198882" y="1903948"/>
                  <a:pt x="197168" y="1906521"/>
                  <a:pt x="192882" y="1912520"/>
                </a:cubicBezTo>
                <a:cubicBezTo>
                  <a:pt x="188595" y="1918520"/>
                  <a:pt x="192882" y="1912520"/>
                  <a:pt x="191167" y="1910806"/>
                </a:cubicBezTo>
                <a:cubicBezTo>
                  <a:pt x="189453" y="1909093"/>
                  <a:pt x="189453" y="1909093"/>
                  <a:pt x="188595" y="1907378"/>
                </a:cubicBezTo>
                <a:cubicBezTo>
                  <a:pt x="186881" y="1906521"/>
                  <a:pt x="184309" y="1898805"/>
                  <a:pt x="185166" y="1895375"/>
                </a:cubicBezTo>
                <a:cubicBezTo>
                  <a:pt x="186024" y="1891947"/>
                  <a:pt x="187738" y="1888518"/>
                  <a:pt x="188595" y="1885946"/>
                </a:cubicBezTo>
                <a:cubicBezTo>
                  <a:pt x="189453" y="1883375"/>
                  <a:pt x="187738" y="1881660"/>
                  <a:pt x="187738" y="1873087"/>
                </a:cubicBezTo>
                <a:cubicBezTo>
                  <a:pt x="187738" y="1864514"/>
                  <a:pt x="187738" y="1865373"/>
                  <a:pt x="188595" y="1862801"/>
                </a:cubicBezTo>
                <a:cubicBezTo>
                  <a:pt x="188595" y="1860230"/>
                  <a:pt x="187738" y="1857656"/>
                  <a:pt x="187738" y="1855084"/>
                </a:cubicBezTo>
                <a:cubicBezTo>
                  <a:pt x="187738" y="1852513"/>
                  <a:pt x="183452" y="1853370"/>
                  <a:pt x="183452" y="1853370"/>
                </a:cubicBezTo>
                <a:cubicBezTo>
                  <a:pt x="186881" y="1837940"/>
                  <a:pt x="197168" y="1817366"/>
                  <a:pt x="197168" y="1817366"/>
                </a:cubicBezTo>
                <a:cubicBezTo>
                  <a:pt x="197168" y="1817366"/>
                  <a:pt x="195453" y="1826796"/>
                  <a:pt x="195453" y="1828509"/>
                </a:cubicBezTo>
                <a:cubicBezTo>
                  <a:pt x="195453" y="1830225"/>
                  <a:pt x="194596" y="1833653"/>
                  <a:pt x="194596" y="1835368"/>
                </a:cubicBezTo>
                <a:cubicBezTo>
                  <a:pt x="194596" y="1837084"/>
                  <a:pt x="193739" y="1841369"/>
                  <a:pt x="193739" y="1843085"/>
                </a:cubicBezTo>
                <a:cubicBezTo>
                  <a:pt x="193739" y="1844797"/>
                  <a:pt x="195453" y="1843941"/>
                  <a:pt x="196311" y="1843941"/>
                </a:cubicBezTo>
                <a:cubicBezTo>
                  <a:pt x="197168" y="1843085"/>
                  <a:pt x="198882" y="1843941"/>
                  <a:pt x="201454" y="1847369"/>
                </a:cubicBezTo>
                <a:cubicBezTo>
                  <a:pt x="204026" y="1850798"/>
                  <a:pt x="202311" y="1847369"/>
                  <a:pt x="203169" y="1847369"/>
                </a:cubicBezTo>
                <a:cubicBezTo>
                  <a:pt x="204026" y="1847369"/>
                  <a:pt x="206598" y="1850798"/>
                  <a:pt x="207455" y="1852513"/>
                </a:cubicBezTo>
                <a:cubicBezTo>
                  <a:pt x="208312" y="1854227"/>
                  <a:pt x="206598" y="1855941"/>
                  <a:pt x="206598" y="1859371"/>
                </a:cubicBezTo>
                <a:cubicBezTo>
                  <a:pt x="205740" y="1862801"/>
                  <a:pt x="206598" y="1859371"/>
                  <a:pt x="208312" y="1861087"/>
                </a:cubicBezTo>
                <a:cubicBezTo>
                  <a:pt x="210027" y="1862801"/>
                  <a:pt x="212598" y="1862801"/>
                  <a:pt x="213456" y="1863658"/>
                </a:cubicBezTo>
                <a:cubicBezTo>
                  <a:pt x="215170" y="1864514"/>
                  <a:pt x="217742" y="1861944"/>
                  <a:pt x="220314" y="1862801"/>
                </a:cubicBezTo>
                <a:cubicBezTo>
                  <a:pt x="222885" y="1862801"/>
                  <a:pt x="222885" y="1864514"/>
                  <a:pt x="223743" y="1867085"/>
                </a:cubicBezTo>
                <a:cubicBezTo>
                  <a:pt x="224600" y="1870514"/>
                  <a:pt x="224600" y="1870514"/>
                  <a:pt x="225457" y="1870514"/>
                </a:cubicBezTo>
                <a:cubicBezTo>
                  <a:pt x="226314" y="1871372"/>
                  <a:pt x="228029" y="1867944"/>
                  <a:pt x="228886" y="1867085"/>
                </a:cubicBezTo>
                <a:cubicBezTo>
                  <a:pt x="229743" y="1866229"/>
                  <a:pt x="230601" y="1862801"/>
                  <a:pt x="230601" y="1862801"/>
                </a:cubicBezTo>
                <a:lnTo>
                  <a:pt x="227172" y="1860230"/>
                </a:lnTo>
                <a:lnTo>
                  <a:pt x="222028" y="1856798"/>
                </a:lnTo>
                <a:lnTo>
                  <a:pt x="216027" y="1855084"/>
                </a:lnTo>
                <a:cubicBezTo>
                  <a:pt x="216027" y="1855084"/>
                  <a:pt x="212598" y="1854227"/>
                  <a:pt x="210027" y="1854227"/>
                </a:cubicBezTo>
                <a:cubicBezTo>
                  <a:pt x="207455" y="1854227"/>
                  <a:pt x="210027" y="1848226"/>
                  <a:pt x="210027" y="1847369"/>
                </a:cubicBezTo>
                <a:cubicBezTo>
                  <a:pt x="210027" y="1845654"/>
                  <a:pt x="210027" y="1839654"/>
                  <a:pt x="210027" y="1839654"/>
                </a:cubicBezTo>
                <a:cubicBezTo>
                  <a:pt x="210027" y="1839654"/>
                  <a:pt x="206598" y="1838796"/>
                  <a:pt x="205740" y="1838796"/>
                </a:cubicBezTo>
                <a:cubicBezTo>
                  <a:pt x="204883" y="1838796"/>
                  <a:pt x="201454" y="1835368"/>
                  <a:pt x="201454" y="1834510"/>
                </a:cubicBezTo>
                <a:cubicBezTo>
                  <a:pt x="201454" y="1832795"/>
                  <a:pt x="202311" y="1829367"/>
                  <a:pt x="204883" y="1827653"/>
                </a:cubicBezTo>
                <a:cubicBezTo>
                  <a:pt x="206598" y="1825938"/>
                  <a:pt x="214313" y="1823367"/>
                  <a:pt x="215170" y="1823367"/>
                </a:cubicBezTo>
                <a:cubicBezTo>
                  <a:pt x="216027" y="1822508"/>
                  <a:pt x="218599" y="1819938"/>
                  <a:pt x="220314" y="1819081"/>
                </a:cubicBezTo>
                <a:cubicBezTo>
                  <a:pt x="221171" y="1818224"/>
                  <a:pt x="223743" y="1814795"/>
                  <a:pt x="223743" y="1811365"/>
                </a:cubicBezTo>
                <a:cubicBezTo>
                  <a:pt x="224600" y="1808794"/>
                  <a:pt x="226314" y="1804507"/>
                  <a:pt x="227172" y="1802793"/>
                </a:cubicBezTo>
                <a:cubicBezTo>
                  <a:pt x="228029" y="1801078"/>
                  <a:pt x="228029" y="1796791"/>
                  <a:pt x="228886" y="1793363"/>
                </a:cubicBezTo>
                <a:cubicBezTo>
                  <a:pt x="229743" y="1789933"/>
                  <a:pt x="233172" y="1786504"/>
                  <a:pt x="234030" y="1786504"/>
                </a:cubicBezTo>
                <a:cubicBezTo>
                  <a:pt x="234887" y="1786504"/>
                  <a:pt x="243459" y="1780505"/>
                  <a:pt x="246031" y="1777076"/>
                </a:cubicBezTo>
                <a:cubicBezTo>
                  <a:pt x="249460" y="1773647"/>
                  <a:pt x="252889" y="1771073"/>
                  <a:pt x="252889" y="1771073"/>
                </a:cubicBezTo>
                <a:lnTo>
                  <a:pt x="255461" y="1765075"/>
                </a:lnTo>
                <a:cubicBezTo>
                  <a:pt x="255461" y="1765075"/>
                  <a:pt x="256318" y="1763359"/>
                  <a:pt x="261462" y="1762502"/>
                </a:cubicBezTo>
                <a:cubicBezTo>
                  <a:pt x="266605" y="1760786"/>
                  <a:pt x="269177" y="1758215"/>
                  <a:pt x="269177" y="1758215"/>
                </a:cubicBezTo>
                <a:cubicBezTo>
                  <a:pt x="269177" y="1758215"/>
                  <a:pt x="271749" y="1752214"/>
                  <a:pt x="271749" y="1750501"/>
                </a:cubicBezTo>
                <a:cubicBezTo>
                  <a:pt x="271749" y="1748785"/>
                  <a:pt x="274320" y="1747928"/>
                  <a:pt x="274320" y="1747928"/>
                </a:cubicBezTo>
                <a:cubicBezTo>
                  <a:pt x="274320" y="1747928"/>
                  <a:pt x="282893" y="1742789"/>
                  <a:pt x="282893" y="1741932"/>
                </a:cubicBezTo>
                <a:cubicBezTo>
                  <a:pt x="282893" y="1741075"/>
                  <a:pt x="283750" y="1740217"/>
                  <a:pt x="286322" y="1739360"/>
                </a:cubicBezTo>
                <a:cubicBezTo>
                  <a:pt x="288894" y="1738503"/>
                  <a:pt x="290608" y="1739360"/>
                  <a:pt x="293180" y="1740217"/>
                </a:cubicBezTo>
                <a:cubicBezTo>
                  <a:pt x="294894" y="1741075"/>
                  <a:pt x="298323" y="1741932"/>
                  <a:pt x="302610" y="1742789"/>
                </a:cubicBezTo>
                <a:cubicBezTo>
                  <a:pt x="306896" y="1743646"/>
                  <a:pt x="307753" y="1741932"/>
                  <a:pt x="307753" y="1741932"/>
                </a:cubicBezTo>
                <a:cubicBezTo>
                  <a:pt x="307753" y="1741932"/>
                  <a:pt x="309468" y="1737646"/>
                  <a:pt x="309468" y="1735930"/>
                </a:cubicBezTo>
                <a:cubicBezTo>
                  <a:pt x="309468" y="1734216"/>
                  <a:pt x="308610" y="1732501"/>
                  <a:pt x="308610" y="1732501"/>
                </a:cubicBezTo>
                <a:cubicBezTo>
                  <a:pt x="308610" y="1732501"/>
                  <a:pt x="305181" y="1730788"/>
                  <a:pt x="304324" y="1730788"/>
                </a:cubicBezTo>
                <a:cubicBezTo>
                  <a:pt x="303467" y="1730788"/>
                  <a:pt x="306039" y="1723929"/>
                  <a:pt x="306039" y="1723929"/>
                </a:cubicBezTo>
                <a:lnTo>
                  <a:pt x="312039" y="1719643"/>
                </a:lnTo>
                <a:cubicBezTo>
                  <a:pt x="312039" y="1719643"/>
                  <a:pt x="317183" y="1715357"/>
                  <a:pt x="320612" y="1714500"/>
                </a:cubicBezTo>
                <a:cubicBezTo>
                  <a:pt x="324041" y="1713642"/>
                  <a:pt x="324041" y="1717928"/>
                  <a:pt x="325755" y="1718786"/>
                </a:cubicBezTo>
                <a:cubicBezTo>
                  <a:pt x="327470" y="1720500"/>
                  <a:pt x="326613" y="1721357"/>
                  <a:pt x="326613" y="1721357"/>
                </a:cubicBezTo>
                <a:lnTo>
                  <a:pt x="319755" y="1725643"/>
                </a:lnTo>
                <a:cubicBezTo>
                  <a:pt x="319755" y="1725643"/>
                  <a:pt x="320612" y="1730788"/>
                  <a:pt x="323184" y="1731644"/>
                </a:cubicBezTo>
                <a:cubicBezTo>
                  <a:pt x="324898" y="1732501"/>
                  <a:pt x="330899" y="1731644"/>
                  <a:pt x="330899" y="1731644"/>
                </a:cubicBezTo>
                <a:lnTo>
                  <a:pt x="336042" y="1728216"/>
                </a:lnTo>
                <a:lnTo>
                  <a:pt x="337757" y="1723929"/>
                </a:lnTo>
                <a:lnTo>
                  <a:pt x="337757" y="1717072"/>
                </a:lnTo>
                <a:cubicBezTo>
                  <a:pt x="337757" y="1717072"/>
                  <a:pt x="336900" y="1713642"/>
                  <a:pt x="336900" y="1711070"/>
                </a:cubicBezTo>
                <a:cubicBezTo>
                  <a:pt x="336900" y="1708499"/>
                  <a:pt x="338614" y="1707642"/>
                  <a:pt x="339471" y="1706785"/>
                </a:cubicBezTo>
                <a:cubicBezTo>
                  <a:pt x="340329" y="1705069"/>
                  <a:pt x="342900" y="1704213"/>
                  <a:pt x="342900" y="1704213"/>
                </a:cubicBezTo>
                <a:lnTo>
                  <a:pt x="345472" y="1699927"/>
                </a:lnTo>
                <a:cubicBezTo>
                  <a:pt x="345472" y="1699927"/>
                  <a:pt x="345472" y="1694782"/>
                  <a:pt x="345472" y="1693069"/>
                </a:cubicBezTo>
                <a:cubicBezTo>
                  <a:pt x="345472" y="1692212"/>
                  <a:pt x="350616" y="1685352"/>
                  <a:pt x="351473" y="1684495"/>
                </a:cubicBezTo>
                <a:cubicBezTo>
                  <a:pt x="353187" y="1683638"/>
                  <a:pt x="354045" y="1680211"/>
                  <a:pt x="354045" y="1680211"/>
                </a:cubicBezTo>
                <a:lnTo>
                  <a:pt x="345472" y="1676780"/>
                </a:lnTo>
                <a:cubicBezTo>
                  <a:pt x="336471" y="1676780"/>
                  <a:pt x="325970" y="1680637"/>
                  <a:pt x="315281" y="1686424"/>
                </a:cubicBezTo>
                <a:lnTo>
                  <a:pt x="289975" y="1703570"/>
                </a:lnTo>
                <a:lnTo>
                  <a:pt x="311879" y="1684683"/>
                </a:lnTo>
                <a:cubicBezTo>
                  <a:pt x="376494" y="1642972"/>
                  <a:pt x="440627" y="1634775"/>
                  <a:pt x="440627" y="1634775"/>
                </a:cubicBezTo>
                <a:cubicBezTo>
                  <a:pt x="451771" y="1632204"/>
                  <a:pt x="494634" y="1632204"/>
                  <a:pt x="493776" y="1630488"/>
                </a:cubicBezTo>
                <a:close/>
                <a:moveTo>
                  <a:pt x="5782152" y="1596198"/>
                </a:moveTo>
                <a:cubicBezTo>
                  <a:pt x="5813334" y="1596198"/>
                  <a:pt x="5842226" y="1621875"/>
                  <a:pt x="5866161" y="1665861"/>
                </a:cubicBezTo>
                <a:lnTo>
                  <a:pt x="5894202" y="1735228"/>
                </a:lnTo>
                <a:lnTo>
                  <a:pt x="5937599" y="1713557"/>
                </a:lnTo>
                <a:cubicBezTo>
                  <a:pt x="5963155" y="1703749"/>
                  <a:pt x="5986632" y="1697925"/>
                  <a:pt x="6007126" y="1696509"/>
                </a:cubicBezTo>
                <a:cubicBezTo>
                  <a:pt x="6034451" y="1694620"/>
                  <a:pt x="6056472" y="1700567"/>
                  <a:pt x="6071045" y="1715354"/>
                </a:cubicBezTo>
                <a:cubicBezTo>
                  <a:pt x="6100192" y="1744499"/>
                  <a:pt x="6094406" y="1803436"/>
                  <a:pt x="6061402" y="1875016"/>
                </a:cubicBezTo>
                <a:lnTo>
                  <a:pt x="6052430" y="1891847"/>
                </a:lnTo>
                <a:lnTo>
                  <a:pt x="6120539" y="1919379"/>
                </a:lnTo>
                <a:cubicBezTo>
                  <a:pt x="6164526" y="1943315"/>
                  <a:pt x="6190203" y="1972206"/>
                  <a:pt x="6190203" y="2003388"/>
                </a:cubicBezTo>
                <a:cubicBezTo>
                  <a:pt x="6190203" y="2034571"/>
                  <a:pt x="6164526" y="2063583"/>
                  <a:pt x="6120539" y="2087623"/>
                </a:cubicBezTo>
                <a:lnTo>
                  <a:pt x="6052202" y="2115361"/>
                </a:lnTo>
                <a:lnTo>
                  <a:pt x="6061402" y="2132621"/>
                </a:lnTo>
                <a:cubicBezTo>
                  <a:pt x="6094406" y="2204202"/>
                  <a:pt x="6100192" y="2263137"/>
                  <a:pt x="6071045" y="2292283"/>
                </a:cubicBezTo>
                <a:cubicBezTo>
                  <a:pt x="6041470" y="2321858"/>
                  <a:pt x="5982534" y="2316072"/>
                  <a:pt x="5911061" y="2282960"/>
                </a:cubicBezTo>
                <a:lnTo>
                  <a:pt x="5893744" y="2273685"/>
                </a:lnTo>
                <a:lnTo>
                  <a:pt x="5865784" y="2342634"/>
                </a:lnTo>
                <a:cubicBezTo>
                  <a:pt x="5841825" y="2386620"/>
                  <a:pt x="5813013" y="2412297"/>
                  <a:pt x="5782152" y="2412297"/>
                </a:cubicBezTo>
                <a:cubicBezTo>
                  <a:pt x="5751291" y="2412297"/>
                  <a:pt x="5722479" y="2386620"/>
                  <a:pt x="5698520" y="2342634"/>
                </a:cubicBezTo>
                <a:lnTo>
                  <a:pt x="5670749" y="2274150"/>
                </a:lnTo>
                <a:lnTo>
                  <a:pt x="5653242" y="2283496"/>
                </a:lnTo>
                <a:cubicBezTo>
                  <a:pt x="5581769" y="2316501"/>
                  <a:pt x="5522833" y="2322286"/>
                  <a:pt x="5493258" y="2293141"/>
                </a:cubicBezTo>
                <a:cubicBezTo>
                  <a:pt x="5464112" y="2263565"/>
                  <a:pt x="5469898" y="2204628"/>
                  <a:pt x="5502902" y="2133155"/>
                </a:cubicBezTo>
                <a:lnTo>
                  <a:pt x="5512498" y="2115182"/>
                </a:lnTo>
                <a:lnTo>
                  <a:pt x="5443764" y="2087397"/>
                </a:lnTo>
                <a:cubicBezTo>
                  <a:pt x="5399777" y="2063462"/>
                  <a:pt x="5374100" y="2034570"/>
                  <a:pt x="5374100" y="2003388"/>
                </a:cubicBezTo>
                <a:cubicBezTo>
                  <a:pt x="5374100" y="1972207"/>
                  <a:pt x="5399777" y="1943315"/>
                  <a:pt x="5443764" y="1919379"/>
                </a:cubicBezTo>
                <a:lnTo>
                  <a:pt x="5512121" y="1891747"/>
                </a:lnTo>
                <a:lnTo>
                  <a:pt x="5502902" y="1874480"/>
                </a:lnTo>
                <a:cubicBezTo>
                  <a:pt x="5469898" y="1803007"/>
                  <a:pt x="5464112" y="1744073"/>
                  <a:pt x="5493258" y="1714497"/>
                </a:cubicBezTo>
                <a:cubicBezTo>
                  <a:pt x="5522833" y="1685351"/>
                  <a:pt x="5581769" y="1691138"/>
                  <a:pt x="5653242" y="1724143"/>
                </a:cubicBezTo>
                <a:lnTo>
                  <a:pt x="5670795" y="1733514"/>
                </a:lnTo>
                <a:lnTo>
                  <a:pt x="5698143" y="1665860"/>
                </a:lnTo>
                <a:cubicBezTo>
                  <a:pt x="5722077" y="1621875"/>
                  <a:pt x="5750969" y="1596198"/>
                  <a:pt x="5782152" y="1596198"/>
                </a:cubicBezTo>
                <a:close/>
                <a:moveTo>
                  <a:pt x="3595306" y="1531906"/>
                </a:moveTo>
                <a:cubicBezTo>
                  <a:pt x="3530155" y="1531906"/>
                  <a:pt x="3477006" y="1585913"/>
                  <a:pt x="3477006" y="1651922"/>
                </a:cubicBezTo>
                <a:cubicBezTo>
                  <a:pt x="3477006" y="1717929"/>
                  <a:pt x="3530155" y="1771933"/>
                  <a:pt x="3595306" y="1771933"/>
                </a:cubicBezTo>
                <a:cubicBezTo>
                  <a:pt x="3661315" y="1771933"/>
                  <a:pt x="3714464" y="1717929"/>
                  <a:pt x="3713607" y="1651922"/>
                </a:cubicBezTo>
                <a:cubicBezTo>
                  <a:pt x="3713607" y="1585913"/>
                  <a:pt x="3660458" y="1531906"/>
                  <a:pt x="3595306" y="1531906"/>
                </a:cubicBezTo>
                <a:close/>
                <a:moveTo>
                  <a:pt x="1682785" y="1496755"/>
                </a:moveTo>
                <a:lnTo>
                  <a:pt x="2037137" y="1655346"/>
                </a:lnTo>
                <a:lnTo>
                  <a:pt x="2042829" y="1655346"/>
                </a:lnTo>
                <a:lnTo>
                  <a:pt x="2042829" y="1657894"/>
                </a:lnTo>
                <a:lnTo>
                  <a:pt x="2050545" y="1661347"/>
                </a:lnTo>
                <a:lnTo>
                  <a:pt x="2042829" y="1664864"/>
                </a:lnTo>
                <a:lnTo>
                  <a:pt x="2042829" y="1878511"/>
                </a:lnTo>
                <a:lnTo>
                  <a:pt x="2057832" y="1884660"/>
                </a:lnTo>
                <a:cubicBezTo>
                  <a:pt x="2064475" y="1891304"/>
                  <a:pt x="2068547" y="1900519"/>
                  <a:pt x="2068547" y="1910806"/>
                </a:cubicBezTo>
                <a:cubicBezTo>
                  <a:pt x="2068547" y="1921093"/>
                  <a:pt x="2064475" y="1930523"/>
                  <a:pt x="2057832" y="1937274"/>
                </a:cubicBezTo>
                <a:lnTo>
                  <a:pt x="2057578" y="1937375"/>
                </a:lnTo>
                <a:lnTo>
                  <a:pt x="2065332" y="1965456"/>
                </a:lnTo>
                <a:cubicBezTo>
                  <a:pt x="2071119" y="1992674"/>
                  <a:pt x="2075405" y="2031679"/>
                  <a:pt x="2069404" y="2078827"/>
                </a:cubicBezTo>
                <a:lnTo>
                  <a:pt x="2038543" y="2078827"/>
                </a:lnTo>
                <a:lnTo>
                  <a:pt x="2027398" y="2078827"/>
                </a:lnTo>
                <a:lnTo>
                  <a:pt x="1996538" y="2078827"/>
                </a:lnTo>
                <a:cubicBezTo>
                  <a:pt x="1990966" y="2031679"/>
                  <a:pt x="1995467" y="1992674"/>
                  <a:pt x="2001360" y="1965456"/>
                </a:cubicBezTo>
                <a:lnTo>
                  <a:pt x="2008928" y="1938341"/>
                </a:lnTo>
                <a:lnTo>
                  <a:pt x="2005539" y="1936952"/>
                </a:lnTo>
                <a:cubicBezTo>
                  <a:pt x="1998895" y="1930309"/>
                  <a:pt x="1994823" y="1921093"/>
                  <a:pt x="1994823" y="1910806"/>
                </a:cubicBezTo>
                <a:cubicBezTo>
                  <a:pt x="1994823" y="1900519"/>
                  <a:pt x="1998895" y="1891304"/>
                  <a:pt x="2005539" y="1884660"/>
                </a:cubicBezTo>
                <a:lnTo>
                  <a:pt x="2019683" y="1878863"/>
                </a:lnTo>
                <a:lnTo>
                  <a:pt x="2019683" y="1675413"/>
                </a:lnTo>
                <a:lnTo>
                  <a:pt x="1672498" y="1833654"/>
                </a:lnTo>
                <a:lnTo>
                  <a:pt x="1300450" y="1665634"/>
                </a:lnTo>
                <a:close/>
                <a:moveTo>
                  <a:pt x="5080921" y="1438462"/>
                </a:moveTo>
                <a:lnTo>
                  <a:pt x="5143500" y="1438462"/>
                </a:lnTo>
                <a:cubicBezTo>
                  <a:pt x="5151215" y="1438462"/>
                  <a:pt x="5158931" y="1447035"/>
                  <a:pt x="5158931" y="1457322"/>
                </a:cubicBezTo>
                <a:cubicBezTo>
                  <a:pt x="5158931" y="1467609"/>
                  <a:pt x="5152073" y="1476181"/>
                  <a:pt x="5143500" y="1476181"/>
                </a:cubicBezTo>
                <a:lnTo>
                  <a:pt x="5080921" y="1476181"/>
                </a:lnTo>
                <a:cubicBezTo>
                  <a:pt x="5072348" y="1476181"/>
                  <a:pt x="5065490" y="1467609"/>
                  <a:pt x="5065490" y="1457322"/>
                </a:cubicBezTo>
                <a:cubicBezTo>
                  <a:pt x="5065490" y="1447035"/>
                  <a:pt x="5072348" y="1438462"/>
                  <a:pt x="5080921" y="1438462"/>
                </a:cubicBezTo>
                <a:close/>
                <a:moveTo>
                  <a:pt x="2660050" y="1421316"/>
                </a:moveTo>
                <a:cubicBezTo>
                  <a:pt x="2660050" y="1421316"/>
                  <a:pt x="2765491" y="1532758"/>
                  <a:pt x="2760348" y="1591909"/>
                </a:cubicBezTo>
                <a:cubicBezTo>
                  <a:pt x="2755204" y="1651059"/>
                  <a:pt x="2643762" y="1672490"/>
                  <a:pt x="2643762" y="1672490"/>
                </a:cubicBezTo>
                <a:cubicBezTo>
                  <a:pt x="2643762" y="1672490"/>
                  <a:pt x="2795495" y="1672490"/>
                  <a:pt x="2797210" y="1599624"/>
                </a:cubicBezTo>
                <a:cubicBezTo>
                  <a:pt x="2798067" y="1527615"/>
                  <a:pt x="2660050" y="1421316"/>
                  <a:pt x="2660050" y="1421316"/>
                </a:cubicBezTo>
                <a:close/>
                <a:moveTo>
                  <a:pt x="5060347" y="1398171"/>
                </a:moveTo>
                <a:lnTo>
                  <a:pt x="5164075" y="1398171"/>
                </a:lnTo>
                <a:cubicBezTo>
                  <a:pt x="5177791" y="1398171"/>
                  <a:pt x="5189792" y="1406744"/>
                  <a:pt x="5189792" y="1417031"/>
                </a:cubicBezTo>
                <a:cubicBezTo>
                  <a:pt x="5189792" y="1427318"/>
                  <a:pt x="5177791" y="1435890"/>
                  <a:pt x="5164075" y="1435890"/>
                </a:cubicBezTo>
                <a:lnTo>
                  <a:pt x="5060347" y="1435890"/>
                </a:lnTo>
                <a:cubicBezTo>
                  <a:pt x="5045774" y="1435890"/>
                  <a:pt x="5034629" y="1427318"/>
                  <a:pt x="5034629" y="1417031"/>
                </a:cubicBezTo>
                <a:cubicBezTo>
                  <a:pt x="5034629" y="1406744"/>
                  <a:pt x="5046631" y="1398171"/>
                  <a:pt x="5060347" y="1398171"/>
                </a:cubicBezTo>
                <a:close/>
                <a:moveTo>
                  <a:pt x="3397282" y="1360456"/>
                </a:moveTo>
                <a:cubicBezTo>
                  <a:pt x="3336417" y="1360456"/>
                  <a:pt x="3287554" y="1410176"/>
                  <a:pt x="3287554" y="1471897"/>
                </a:cubicBezTo>
                <a:cubicBezTo>
                  <a:pt x="3287554" y="1532763"/>
                  <a:pt x="3336417" y="1582484"/>
                  <a:pt x="3397282" y="1582484"/>
                </a:cubicBezTo>
                <a:cubicBezTo>
                  <a:pt x="3458146" y="1582484"/>
                  <a:pt x="3507010" y="1532763"/>
                  <a:pt x="3507010" y="1471897"/>
                </a:cubicBezTo>
                <a:cubicBezTo>
                  <a:pt x="3507010" y="1410176"/>
                  <a:pt x="3458146" y="1360456"/>
                  <a:pt x="3397282" y="1360456"/>
                </a:cubicBezTo>
                <a:close/>
                <a:moveTo>
                  <a:pt x="5060347" y="1358738"/>
                </a:moveTo>
                <a:lnTo>
                  <a:pt x="5164075" y="1358738"/>
                </a:lnTo>
                <a:cubicBezTo>
                  <a:pt x="5177791" y="1358738"/>
                  <a:pt x="5189792" y="1367311"/>
                  <a:pt x="5189792" y="1377598"/>
                </a:cubicBezTo>
                <a:cubicBezTo>
                  <a:pt x="5189792" y="1387886"/>
                  <a:pt x="5177791" y="1396458"/>
                  <a:pt x="5164075" y="1396458"/>
                </a:cubicBezTo>
                <a:lnTo>
                  <a:pt x="5060347" y="1396458"/>
                </a:lnTo>
                <a:cubicBezTo>
                  <a:pt x="5045774" y="1396458"/>
                  <a:pt x="5034629" y="1387886"/>
                  <a:pt x="5034629" y="1377598"/>
                </a:cubicBezTo>
                <a:cubicBezTo>
                  <a:pt x="5034629" y="1367311"/>
                  <a:pt x="5046631" y="1358738"/>
                  <a:pt x="5060347" y="1358738"/>
                </a:cubicBezTo>
                <a:close/>
                <a:moveTo>
                  <a:pt x="3329559" y="1134999"/>
                </a:moveTo>
                <a:cubicBezTo>
                  <a:pt x="3276409" y="1134999"/>
                  <a:pt x="3233547" y="1178718"/>
                  <a:pt x="3233547" y="1232725"/>
                </a:cubicBezTo>
                <a:cubicBezTo>
                  <a:pt x="3233547" y="1286732"/>
                  <a:pt x="3277267" y="1330451"/>
                  <a:pt x="3329559" y="1330451"/>
                </a:cubicBezTo>
                <a:cubicBezTo>
                  <a:pt x="3382708" y="1330451"/>
                  <a:pt x="3425571" y="1286732"/>
                  <a:pt x="3425571" y="1232725"/>
                </a:cubicBezTo>
                <a:cubicBezTo>
                  <a:pt x="3425571" y="1178718"/>
                  <a:pt x="3382708" y="1134999"/>
                  <a:pt x="3329559" y="1134999"/>
                </a:cubicBezTo>
                <a:close/>
                <a:moveTo>
                  <a:pt x="2545178" y="997834"/>
                </a:moveTo>
                <a:cubicBezTo>
                  <a:pt x="2602614" y="997834"/>
                  <a:pt x="2649763" y="1015837"/>
                  <a:pt x="2649763" y="1038125"/>
                </a:cubicBezTo>
                <a:cubicBezTo>
                  <a:pt x="2649763" y="1038982"/>
                  <a:pt x="2649763" y="1039840"/>
                  <a:pt x="2649763" y="1040697"/>
                </a:cubicBezTo>
                <a:lnTo>
                  <a:pt x="2654049" y="1040697"/>
                </a:lnTo>
                <a:lnTo>
                  <a:pt x="2654049" y="1116135"/>
                </a:lnTo>
                <a:lnTo>
                  <a:pt x="2649763" y="1116135"/>
                </a:lnTo>
                <a:cubicBezTo>
                  <a:pt x="2648905" y="1124707"/>
                  <a:pt x="2643762" y="1132423"/>
                  <a:pt x="2632618" y="1138423"/>
                </a:cubicBezTo>
                <a:cubicBezTo>
                  <a:pt x="2632618" y="1174428"/>
                  <a:pt x="2632618" y="1282441"/>
                  <a:pt x="2632618" y="1309873"/>
                </a:cubicBezTo>
                <a:cubicBezTo>
                  <a:pt x="2632618" y="1343306"/>
                  <a:pt x="2648905" y="1351879"/>
                  <a:pt x="2648905" y="1351879"/>
                </a:cubicBezTo>
                <a:cubicBezTo>
                  <a:pt x="2688339" y="1374167"/>
                  <a:pt x="2910367" y="1601338"/>
                  <a:pt x="2810926" y="1669918"/>
                </a:cubicBezTo>
                <a:cubicBezTo>
                  <a:pt x="2722629" y="1731640"/>
                  <a:pt x="2575182" y="1729069"/>
                  <a:pt x="2546035" y="1728211"/>
                </a:cubicBezTo>
                <a:cubicBezTo>
                  <a:pt x="2516889" y="1729069"/>
                  <a:pt x="2368584" y="1731640"/>
                  <a:pt x="2281144" y="1669918"/>
                </a:cubicBezTo>
                <a:cubicBezTo>
                  <a:pt x="2183418" y="1601338"/>
                  <a:pt x="2408875" y="1375024"/>
                  <a:pt x="2447452" y="1351879"/>
                </a:cubicBezTo>
                <a:cubicBezTo>
                  <a:pt x="2447452" y="1351879"/>
                  <a:pt x="2470597" y="1343306"/>
                  <a:pt x="2470597" y="1309873"/>
                </a:cubicBezTo>
                <a:cubicBezTo>
                  <a:pt x="2470597" y="1282441"/>
                  <a:pt x="2470597" y="1176142"/>
                  <a:pt x="2470597" y="1139281"/>
                </a:cubicBezTo>
                <a:cubicBezTo>
                  <a:pt x="2449166" y="1133280"/>
                  <a:pt x="2442308" y="1124707"/>
                  <a:pt x="2440594" y="1116135"/>
                </a:cubicBezTo>
                <a:lnTo>
                  <a:pt x="2438022" y="1116135"/>
                </a:lnTo>
                <a:lnTo>
                  <a:pt x="2438022" y="1040697"/>
                </a:lnTo>
                <a:lnTo>
                  <a:pt x="2440594" y="1040697"/>
                </a:lnTo>
                <a:cubicBezTo>
                  <a:pt x="2440594" y="1039840"/>
                  <a:pt x="2440594" y="1038982"/>
                  <a:pt x="2440594" y="1038125"/>
                </a:cubicBezTo>
                <a:cubicBezTo>
                  <a:pt x="2440594" y="1015837"/>
                  <a:pt x="2487742" y="997834"/>
                  <a:pt x="2545178" y="997834"/>
                </a:cubicBezTo>
                <a:close/>
                <a:moveTo>
                  <a:pt x="1963962" y="956688"/>
                </a:moveTo>
                <a:lnTo>
                  <a:pt x="2026541" y="956688"/>
                </a:lnTo>
                <a:cubicBezTo>
                  <a:pt x="2035113" y="956688"/>
                  <a:pt x="2042829" y="964404"/>
                  <a:pt x="2042829" y="975549"/>
                </a:cubicBezTo>
                <a:cubicBezTo>
                  <a:pt x="2042829" y="985836"/>
                  <a:pt x="2035971" y="994408"/>
                  <a:pt x="2027398" y="994408"/>
                </a:cubicBezTo>
                <a:lnTo>
                  <a:pt x="1963962" y="994408"/>
                </a:lnTo>
                <a:cubicBezTo>
                  <a:pt x="1955389" y="994408"/>
                  <a:pt x="1948531" y="985836"/>
                  <a:pt x="1948531" y="975549"/>
                </a:cubicBezTo>
                <a:cubicBezTo>
                  <a:pt x="1948531" y="965262"/>
                  <a:pt x="1955389" y="956688"/>
                  <a:pt x="1963962" y="956688"/>
                </a:cubicBezTo>
                <a:close/>
                <a:moveTo>
                  <a:pt x="3402425" y="943831"/>
                </a:moveTo>
                <a:cubicBezTo>
                  <a:pt x="3362134" y="943831"/>
                  <a:pt x="3329559" y="976409"/>
                  <a:pt x="3330416" y="1016699"/>
                </a:cubicBezTo>
                <a:cubicBezTo>
                  <a:pt x="3330416" y="1056989"/>
                  <a:pt x="3362134" y="1089565"/>
                  <a:pt x="3402425" y="1089565"/>
                </a:cubicBezTo>
                <a:cubicBezTo>
                  <a:pt x="3441859" y="1089565"/>
                  <a:pt x="3474434" y="1056989"/>
                  <a:pt x="3474434" y="1016699"/>
                </a:cubicBezTo>
                <a:cubicBezTo>
                  <a:pt x="3474434" y="976409"/>
                  <a:pt x="3442716" y="943831"/>
                  <a:pt x="3402425" y="943831"/>
                </a:cubicBezTo>
                <a:close/>
                <a:moveTo>
                  <a:pt x="4083082" y="928402"/>
                </a:moveTo>
                <a:cubicBezTo>
                  <a:pt x="4003358" y="928402"/>
                  <a:pt x="3939064" y="992696"/>
                  <a:pt x="3939064" y="1072419"/>
                </a:cubicBezTo>
                <a:cubicBezTo>
                  <a:pt x="3939064" y="1152143"/>
                  <a:pt x="4003358" y="1216437"/>
                  <a:pt x="4083082" y="1216437"/>
                </a:cubicBezTo>
                <a:cubicBezTo>
                  <a:pt x="4162806" y="1216437"/>
                  <a:pt x="4227100" y="1152143"/>
                  <a:pt x="4227100" y="1072419"/>
                </a:cubicBezTo>
                <a:cubicBezTo>
                  <a:pt x="4227100" y="992696"/>
                  <a:pt x="4162806" y="928402"/>
                  <a:pt x="4083082" y="928402"/>
                </a:cubicBezTo>
                <a:close/>
                <a:moveTo>
                  <a:pt x="1944245" y="916397"/>
                </a:moveTo>
                <a:lnTo>
                  <a:pt x="2047973" y="916397"/>
                </a:lnTo>
                <a:cubicBezTo>
                  <a:pt x="2061689" y="916397"/>
                  <a:pt x="2073690" y="924971"/>
                  <a:pt x="2073690" y="935258"/>
                </a:cubicBezTo>
                <a:cubicBezTo>
                  <a:pt x="2073690" y="945545"/>
                  <a:pt x="2061689" y="954117"/>
                  <a:pt x="2047973" y="954117"/>
                </a:cubicBezTo>
                <a:lnTo>
                  <a:pt x="1944245" y="954117"/>
                </a:lnTo>
                <a:cubicBezTo>
                  <a:pt x="1929672" y="954117"/>
                  <a:pt x="1918527" y="945545"/>
                  <a:pt x="1918527" y="935258"/>
                </a:cubicBezTo>
                <a:cubicBezTo>
                  <a:pt x="1918527" y="924971"/>
                  <a:pt x="1930529" y="916397"/>
                  <a:pt x="1944245" y="916397"/>
                </a:cubicBezTo>
                <a:close/>
                <a:moveTo>
                  <a:pt x="1944245" y="876106"/>
                </a:moveTo>
                <a:lnTo>
                  <a:pt x="2047973" y="876106"/>
                </a:lnTo>
                <a:cubicBezTo>
                  <a:pt x="2061689" y="876106"/>
                  <a:pt x="2073690" y="884680"/>
                  <a:pt x="2073690" y="894967"/>
                </a:cubicBezTo>
                <a:cubicBezTo>
                  <a:pt x="2073690" y="905254"/>
                  <a:pt x="2061689" y="913826"/>
                  <a:pt x="2047973" y="913826"/>
                </a:cubicBezTo>
                <a:lnTo>
                  <a:pt x="1944245" y="913826"/>
                </a:lnTo>
                <a:cubicBezTo>
                  <a:pt x="1929672" y="913826"/>
                  <a:pt x="1918527" y="905254"/>
                  <a:pt x="1918527" y="894967"/>
                </a:cubicBezTo>
                <a:cubicBezTo>
                  <a:pt x="1918527" y="884680"/>
                  <a:pt x="1930529" y="876106"/>
                  <a:pt x="1944245" y="876106"/>
                </a:cubicBezTo>
                <a:close/>
                <a:moveTo>
                  <a:pt x="5177790" y="825530"/>
                </a:moveTo>
                <a:cubicBezTo>
                  <a:pt x="5177790" y="825530"/>
                  <a:pt x="5326951" y="909539"/>
                  <a:pt x="5272088" y="1060415"/>
                </a:cubicBezTo>
                <a:cubicBezTo>
                  <a:pt x="5272088" y="1060415"/>
                  <a:pt x="5399818" y="860676"/>
                  <a:pt x="5177790" y="825530"/>
                </a:cubicBezTo>
                <a:close/>
                <a:moveTo>
                  <a:pt x="5101495" y="760378"/>
                </a:moveTo>
                <a:cubicBezTo>
                  <a:pt x="5104710" y="760378"/>
                  <a:pt x="5106531" y="760378"/>
                  <a:pt x="5107496" y="760378"/>
                </a:cubicBezTo>
                <a:lnTo>
                  <a:pt x="5108353" y="760378"/>
                </a:lnTo>
                <a:lnTo>
                  <a:pt x="5114354" y="760378"/>
                </a:lnTo>
                <a:cubicBezTo>
                  <a:pt x="5439252" y="768951"/>
                  <a:pt x="5363813" y="1091277"/>
                  <a:pt x="5275516" y="1171000"/>
                </a:cubicBezTo>
                <a:cubicBezTo>
                  <a:pt x="5185505" y="1250725"/>
                  <a:pt x="5192363" y="1351880"/>
                  <a:pt x="5192363" y="1351880"/>
                </a:cubicBezTo>
                <a:lnTo>
                  <a:pt x="5120354" y="1351880"/>
                </a:lnTo>
                <a:lnTo>
                  <a:pt x="5107496" y="1351880"/>
                </a:lnTo>
                <a:lnTo>
                  <a:pt x="5029486" y="1351880"/>
                </a:lnTo>
                <a:cubicBezTo>
                  <a:pt x="5029486" y="1351880"/>
                  <a:pt x="5032915" y="1251583"/>
                  <a:pt x="4943761" y="1171000"/>
                </a:cubicBezTo>
                <a:cubicBezTo>
                  <a:pt x="4855464" y="1091277"/>
                  <a:pt x="4776597" y="768951"/>
                  <a:pt x="5101495" y="760378"/>
                </a:cubicBezTo>
                <a:close/>
                <a:moveTo>
                  <a:pt x="3975068" y="748379"/>
                </a:moveTo>
                <a:cubicBezTo>
                  <a:pt x="3975068" y="748379"/>
                  <a:pt x="4251103" y="775810"/>
                  <a:pt x="4329113" y="991837"/>
                </a:cubicBezTo>
                <a:cubicBezTo>
                  <a:pt x="4407122" y="1207864"/>
                  <a:pt x="4227100" y="1303876"/>
                  <a:pt x="4023074" y="1384458"/>
                </a:cubicBezTo>
                <a:cubicBezTo>
                  <a:pt x="3818191" y="1465899"/>
                  <a:pt x="3867055" y="1849944"/>
                  <a:pt x="3545586" y="1825939"/>
                </a:cubicBezTo>
                <a:cubicBezTo>
                  <a:pt x="3224974" y="1801937"/>
                  <a:pt x="2732913" y="766380"/>
                  <a:pt x="3975068" y="748379"/>
                </a:cubicBezTo>
                <a:close/>
                <a:moveTo>
                  <a:pt x="912543" y="703049"/>
                </a:moveTo>
                <a:cubicBezTo>
                  <a:pt x="916186" y="704227"/>
                  <a:pt x="919401" y="706799"/>
                  <a:pt x="921544" y="710657"/>
                </a:cubicBezTo>
                <a:lnTo>
                  <a:pt x="942953" y="752806"/>
                </a:lnTo>
                <a:lnTo>
                  <a:pt x="953423" y="749943"/>
                </a:lnTo>
                <a:cubicBezTo>
                  <a:pt x="985731" y="747733"/>
                  <a:pt x="1017557" y="764449"/>
                  <a:pt x="1032987" y="794666"/>
                </a:cubicBezTo>
                <a:cubicBezTo>
                  <a:pt x="1040703" y="810097"/>
                  <a:pt x="1043234" y="826733"/>
                  <a:pt x="1041260" y="842585"/>
                </a:cubicBezTo>
                <a:lnTo>
                  <a:pt x="1028104" y="872891"/>
                </a:lnTo>
                <a:lnTo>
                  <a:pt x="1072875" y="914092"/>
                </a:lnTo>
                <a:cubicBezTo>
                  <a:pt x="1192382" y="1024195"/>
                  <a:pt x="1430752" y="1244724"/>
                  <a:pt x="1425608" y="1247295"/>
                </a:cubicBezTo>
                <a:cubicBezTo>
                  <a:pt x="1418750" y="1250724"/>
                  <a:pt x="1321023" y="1216434"/>
                  <a:pt x="1321023" y="1216434"/>
                </a:cubicBezTo>
                <a:cubicBezTo>
                  <a:pt x="1321023" y="1216434"/>
                  <a:pt x="1119944" y="1035608"/>
                  <a:pt x="1018681" y="943748"/>
                </a:cubicBezTo>
                <a:lnTo>
                  <a:pt x="1011064" y="936811"/>
                </a:lnTo>
                <a:lnTo>
                  <a:pt x="1026129" y="1357885"/>
                </a:lnTo>
                <a:lnTo>
                  <a:pt x="993553" y="1456468"/>
                </a:lnTo>
                <a:lnTo>
                  <a:pt x="966978" y="1357028"/>
                </a:lnTo>
                <a:lnTo>
                  <a:pt x="946039" y="912474"/>
                </a:lnTo>
                <a:lnTo>
                  <a:pt x="933546" y="910931"/>
                </a:lnTo>
                <a:cubicBezTo>
                  <a:pt x="913401" y="904395"/>
                  <a:pt x="895827" y="890250"/>
                  <a:pt x="885540" y="870104"/>
                </a:cubicBezTo>
                <a:cubicBezTo>
                  <a:pt x="870110" y="839243"/>
                  <a:pt x="875414" y="803561"/>
                  <a:pt x="896028" y="778968"/>
                </a:cubicBezTo>
                <a:lnTo>
                  <a:pt x="914412" y="764338"/>
                </a:lnTo>
                <a:lnTo>
                  <a:pt x="894112" y="724373"/>
                </a:lnTo>
                <a:cubicBezTo>
                  <a:pt x="890683" y="716657"/>
                  <a:pt x="893254" y="708085"/>
                  <a:pt x="900970" y="703799"/>
                </a:cubicBezTo>
                <a:cubicBezTo>
                  <a:pt x="904828" y="702085"/>
                  <a:pt x="908900" y="701870"/>
                  <a:pt x="912543" y="703049"/>
                </a:cubicBezTo>
                <a:close/>
                <a:moveTo>
                  <a:pt x="2061687" y="342898"/>
                </a:moveTo>
                <a:cubicBezTo>
                  <a:pt x="2061687" y="342898"/>
                  <a:pt x="2210848" y="426910"/>
                  <a:pt x="2155984" y="577785"/>
                </a:cubicBezTo>
                <a:cubicBezTo>
                  <a:pt x="2155984" y="577785"/>
                  <a:pt x="2283715" y="378904"/>
                  <a:pt x="2061687" y="342898"/>
                </a:cubicBezTo>
                <a:close/>
                <a:moveTo>
                  <a:pt x="1985392" y="278605"/>
                </a:moveTo>
                <a:lnTo>
                  <a:pt x="1991393" y="278605"/>
                </a:lnTo>
                <a:lnTo>
                  <a:pt x="1992250" y="278605"/>
                </a:lnTo>
                <a:lnTo>
                  <a:pt x="1998250" y="278605"/>
                </a:lnTo>
                <a:cubicBezTo>
                  <a:pt x="2323148" y="287178"/>
                  <a:pt x="2247710" y="609504"/>
                  <a:pt x="2159413" y="689228"/>
                </a:cubicBezTo>
                <a:cubicBezTo>
                  <a:pt x="2069402" y="768953"/>
                  <a:pt x="2076260" y="870108"/>
                  <a:pt x="2076260" y="870108"/>
                </a:cubicBezTo>
                <a:lnTo>
                  <a:pt x="2004251" y="870108"/>
                </a:lnTo>
                <a:lnTo>
                  <a:pt x="1991393" y="870108"/>
                </a:lnTo>
                <a:lnTo>
                  <a:pt x="1913383" y="870108"/>
                </a:lnTo>
                <a:cubicBezTo>
                  <a:pt x="1913383" y="870108"/>
                  <a:pt x="1916812" y="769810"/>
                  <a:pt x="1827658" y="689228"/>
                </a:cubicBezTo>
                <a:cubicBezTo>
                  <a:pt x="1739361" y="609504"/>
                  <a:pt x="1660494" y="287178"/>
                  <a:pt x="1985392" y="278605"/>
                </a:cubicBezTo>
                <a:close/>
                <a:moveTo>
                  <a:pt x="2776633" y="269173"/>
                </a:moveTo>
                <a:cubicBezTo>
                  <a:pt x="2776633" y="270888"/>
                  <a:pt x="2959228" y="355756"/>
                  <a:pt x="2994375" y="372043"/>
                </a:cubicBezTo>
                <a:cubicBezTo>
                  <a:pt x="3029522" y="355756"/>
                  <a:pt x="3212117" y="270888"/>
                  <a:pt x="3212117" y="269173"/>
                </a:cubicBezTo>
                <a:lnTo>
                  <a:pt x="3212117" y="519491"/>
                </a:lnTo>
                <a:cubicBezTo>
                  <a:pt x="3152966" y="581213"/>
                  <a:pt x="3037238" y="591500"/>
                  <a:pt x="3000376" y="593215"/>
                </a:cubicBezTo>
                <a:cubicBezTo>
                  <a:pt x="3000376" y="593215"/>
                  <a:pt x="2997804" y="593215"/>
                  <a:pt x="2994375" y="593215"/>
                </a:cubicBezTo>
                <a:cubicBezTo>
                  <a:pt x="2990089" y="593215"/>
                  <a:pt x="2988374" y="593215"/>
                  <a:pt x="2988374" y="593215"/>
                </a:cubicBezTo>
                <a:cubicBezTo>
                  <a:pt x="2951513" y="592358"/>
                  <a:pt x="2835784" y="582071"/>
                  <a:pt x="2776633" y="519491"/>
                </a:cubicBezTo>
                <a:close/>
                <a:moveTo>
                  <a:pt x="4064357" y="122787"/>
                </a:moveTo>
                <a:cubicBezTo>
                  <a:pt x="4089994" y="126765"/>
                  <a:pt x="4114801" y="137373"/>
                  <a:pt x="4135375" y="158590"/>
                </a:cubicBezTo>
                <a:lnTo>
                  <a:pt x="4367690" y="158590"/>
                </a:lnTo>
                <a:lnTo>
                  <a:pt x="4367690" y="498920"/>
                </a:lnTo>
                <a:lnTo>
                  <a:pt x="4130231" y="500634"/>
                </a:lnTo>
                <a:cubicBezTo>
                  <a:pt x="4130231" y="500634"/>
                  <a:pt x="4050506" y="420052"/>
                  <a:pt x="3903059" y="497205"/>
                </a:cubicBezTo>
                <a:lnTo>
                  <a:pt x="3903059" y="158590"/>
                </a:lnTo>
                <a:cubicBezTo>
                  <a:pt x="3903059" y="158590"/>
                  <a:pt x="3987445" y="110852"/>
                  <a:pt x="4064357" y="122787"/>
                </a:cubicBezTo>
                <a:close/>
                <a:moveTo>
                  <a:pt x="3009805" y="0"/>
                </a:moveTo>
                <a:lnTo>
                  <a:pt x="3364979" y="158588"/>
                </a:lnTo>
                <a:lnTo>
                  <a:pt x="3370707" y="158588"/>
                </a:lnTo>
                <a:lnTo>
                  <a:pt x="3370707" y="161146"/>
                </a:lnTo>
                <a:lnTo>
                  <a:pt x="3378423" y="164591"/>
                </a:lnTo>
                <a:lnTo>
                  <a:pt x="3370707" y="168108"/>
                </a:lnTo>
                <a:lnTo>
                  <a:pt x="3370707" y="381755"/>
                </a:lnTo>
                <a:lnTo>
                  <a:pt x="3385709" y="387903"/>
                </a:lnTo>
                <a:cubicBezTo>
                  <a:pt x="3392353" y="394547"/>
                  <a:pt x="3396425" y="403762"/>
                  <a:pt x="3396425" y="414049"/>
                </a:cubicBezTo>
                <a:cubicBezTo>
                  <a:pt x="3396425" y="424336"/>
                  <a:pt x="3392139" y="433766"/>
                  <a:pt x="3385388" y="440517"/>
                </a:cubicBezTo>
                <a:lnTo>
                  <a:pt x="3384653" y="440813"/>
                </a:lnTo>
                <a:lnTo>
                  <a:pt x="3392352" y="468698"/>
                </a:lnTo>
                <a:cubicBezTo>
                  <a:pt x="3398139" y="495916"/>
                  <a:pt x="3402425" y="534921"/>
                  <a:pt x="3396424" y="582069"/>
                </a:cubicBezTo>
                <a:lnTo>
                  <a:pt x="3366421" y="582069"/>
                </a:lnTo>
                <a:lnTo>
                  <a:pt x="3324416" y="582069"/>
                </a:lnTo>
                <a:cubicBezTo>
                  <a:pt x="3318844" y="534921"/>
                  <a:pt x="3323345" y="495916"/>
                  <a:pt x="3329238" y="468698"/>
                </a:cubicBezTo>
                <a:lnTo>
                  <a:pt x="3336806" y="441584"/>
                </a:lnTo>
                <a:lnTo>
                  <a:pt x="3333417" y="440196"/>
                </a:lnTo>
                <a:cubicBezTo>
                  <a:pt x="3326773" y="433552"/>
                  <a:pt x="3322701" y="424336"/>
                  <a:pt x="3322701" y="414049"/>
                </a:cubicBezTo>
                <a:cubicBezTo>
                  <a:pt x="3322701" y="403762"/>
                  <a:pt x="3326773" y="394547"/>
                  <a:pt x="3333417" y="387903"/>
                </a:cubicBezTo>
                <a:lnTo>
                  <a:pt x="3347562" y="382106"/>
                </a:lnTo>
                <a:lnTo>
                  <a:pt x="3347562" y="178657"/>
                </a:lnTo>
                <a:lnTo>
                  <a:pt x="3000375" y="336899"/>
                </a:lnTo>
                <a:lnTo>
                  <a:pt x="2628328" y="168878"/>
                </a:lnTo>
                <a:close/>
              </a:path>
            </a:pathLst>
          </a:custGeom>
          <a:solidFill>
            <a:srgbClr val="FFFFFF">
              <a:alpha val="8000"/>
            </a:srgbClr>
          </a:solidFill>
          <a:ln w="9525" cap="flat">
            <a:noFill/>
            <a:prstDash val="solid"/>
            <a:miter/>
          </a:ln>
        </p:spPr>
        <p:txBody>
          <a:bodyPr rtlCol="0" anchor="ctr"/>
          <a:lstStyle/>
          <a:p>
            <a:endParaRPr lang="zh-CN" altLang="en-US"/>
          </a:p>
        </p:txBody>
      </p:sp>
      <p:sp>
        <p:nvSpPr>
          <p:cNvPr id="8" name="任意多边形: 形状 7">
            <a:extLst>
              <a:ext uri="{FF2B5EF4-FFF2-40B4-BE49-F238E27FC236}">
                <a16:creationId xmlns:a16="http://schemas.microsoft.com/office/drawing/2014/main" id="{2AE01D8F-F1A7-4517-9DA3-12D14828B6F5}"/>
              </a:ext>
            </a:extLst>
          </p:cNvPr>
          <p:cNvSpPr/>
          <p:nvPr userDrawn="1"/>
        </p:nvSpPr>
        <p:spPr>
          <a:xfrm>
            <a:off x="6408629" y="1296790"/>
            <a:ext cx="4453909" cy="4560934"/>
          </a:xfrm>
          <a:custGeom>
            <a:avLst/>
            <a:gdLst>
              <a:gd name="connsiteX0" fmla="*/ 4572119 w 4637722"/>
              <a:gd name="connsiteY0" fmla="*/ 4742736 h 4749165"/>
              <a:gd name="connsiteX1" fmla="*/ 4074914 w 4637722"/>
              <a:gd name="connsiteY1" fmla="*/ 4742736 h 4749165"/>
              <a:gd name="connsiteX2" fmla="*/ 2928771 w 4637722"/>
              <a:gd name="connsiteY2" fmla="*/ 4107514 h 4749165"/>
              <a:gd name="connsiteX3" fmla="*/ 2740176 w 4637722"/>
              <a:gd name="connsiteY3" fmla="*/ 3498009 h 4749165"/>
              <a:gd name="connsiteX4" fmla="*/ 2927056 w 4637722"/>
              <a:gd name="connsiteY4" fmla="*/ 2647617 h 4749165"/>
              <a:gd name="connsiteX5" fmla="*/ 3051357 w 4637722"/>
              <a:gd name="connsiteY5" fmla="*/ 2327862 h 4749165"/>
              <a:gd name="connsiteX6" fmla="*/ 1716619 w 4637722"/>
              <a:gd name="connsiteY6" fmla="*/ 2519029 h 4749165"/>
              <a:gd name="connsiteX7" fmla="*/ 963954 w 4637722"/>
              <a:gd name="connsiteY7" fmla="*/ 2110121 h 4749165"/>
              <a:gd name="connsiteX8" fmla="*/ 556760 w 4637722"/>
              <a:gd name="connsiteY8" fmla="*/ 1420892 h 4749165"/>
              <a:gd name="connsiteX9" fmla="*/ 584192 w 4637722"/>
              <a:gd name="connsiteY9" fmla="*/ 888540 h 4749165"/>
              <a:gd name="connsiteX10" fmla="*/ 853368 w 4637722"/>
              <a:gd name="connsiteY10" fmla="*/ 500205 h 4749165"/>
              <a:gd name="connsiteX11" fmla="*/ 1576887 w 4637722"/>
              <a:gd name="connsiteY11" fmla="*/ 208740 h 4749165"/>
              <a:gd name="connsiteX12" fmla="*/ 2424708 w 4637722"/>
              <a:gd name="connsiteY12" fmla="*/ 309896 h 4749165"/>
              <a:gd name="connsiteX13" fmla="*/ 3227951 w 4637722"/>
              <a:gd name="connsiteY13" fmla="*/ 1005126 h 4749165"/>
              <a:gd name="connsiteX14" fmla="*/ 3297388 w 4637722"/>
              <a:gd name="connsiteY14" fmla="*/ 1894951 h 4749165"/>
              <a:gd name="connsiteX15" fmla="*/ 3313676 w 4637722"/>
              <a:gd name="connsiteY15" fmla="*/ 963120 h 4749165"/>
              <a:gd name="connsiteX16" fmla="*/ 1827205 w 4637722"/>
              <a:gd name="connsiteY16" fmla="*/ 135017 h 4749165"/>
              <a:gd name="connsiteX17" fmla="*/ 1797201 w 4637722"/>
              <a:gd name="connsiteY17" fmla="*/ 135017 h 4749165"/>
              <a:gd name="connsiteX18" fmla="*/ 685347 w 4637722"/>
              <a:gd name="connsiteY18" fmla="*/ 513064 h 4749165"/>
              <a:gd name="connsiteX19" fmla="*/ 450461 w 4637722"/>
              <a:gd name="connsiteY19" fmla="*/ 1625775 h 4749165"/>
              <a:gd name="connsiteX20" fmla="*/ 459033 w 4637722"/>
              <a:gd name="connsiteY20" fmla="*/ 1714072 h 4749165"/>
              <a:gd name="connsiteX21" fmla="*/ 293584 w 4637722"/>
              <a:gd name="connsiteY21" fmla="*/ 2163271 h 4749165"/>
              <a:gd name="connsiteX22" fmla="*/ 231005 w 4637722"/>
              <a:gd name="connsiteY22" fmla="*/ 2266141 h 4749165"/>
              <a:gd name="connsiteX23" fmla="*/ 200144 w 4637722"/>
              <a:gd name="connsiteY23" fmla="*/ 2318433 h 4749165"/>
              <a:gd name="connsiteX24" fmla="*/ 138422 w 4637722"/>
              <a:gd name="connsiteY24" fmla="*/ 2430732 h 4749165"/>
              <a:gd name="connsiteX25" fmla="*/ 148709 w 4637722"/>
              <a:gd name="connsiteY25" fmla="*/ 2433304 h 4749165"/>
              <a:gd name="connsiteX26" fmla="*/ 333018 w 4637722"/>
              <a:gd name="connsiteY26" fmla="*/ 2528459 h 4749165"/>
              <a:gd name="connsiteX27" fmla="*/ 336447 w 4637722"/>
              <a:gd name="connsiteY27" fmla="*/ 2646760 h 4749165"/>
              <a:gd name="connsiteX28" fmla="*/ 435030 w 4637722"/>
              <a:gd name="connsiteY28" fmla="*/ 2687907 h 4749165"/>
              <a:gd name="connsiteX29" fmla="*/ 487323 w 4637722"/>
              <a:gd name="connsiteY29" fmla="*/ 2747915 h 4749165"/>
              <a:gd name="connsiteX30" fmla="*/ 441888 w 4637722"/>
              <a:gd name="connsiteY30" fmla="*/ 2813066 h 4749165"/>
              <a:gd name="connsiteX31" fmla="*/ 398169 w 4637722"/>
              <a:gd name="connsiteY31" fmla="*/ 2836212 h 4749165"/>
              <a:gd name="connsiteX32" fmla="*/ 413599 w 4637722"/>
              <a:gd name="connsiteY32" fmla="*/ 2852500 h 4749165"/>
              <a:gd name="connsiteX33" fmla="*/ 487323 w 4637722"/>
              <a:gd name="connsiteY33" fmla="*/ 3032522 h 4749165"/>
              <a:gd name="connsiteX34" fmla="*/ 501039 w 4637722"/>
              <a:gd name="connsiteY34" fmla="*/ 3231404 h 4749165"/>
              <a:gd name="connsiteX35" fmla="*/ 764214 w 4637722"/>
              <a:gd name="connsiteY35" fmla="*/ 3303413 h 4749165"/>
              <a:gd name="connsiteX36" fmla="*/ 1107972 w 4637722"/>
              <a:gd name="connsiteY36" fmla="*/ 3277696 h 4749165"/>
              <a:gd name="connsiteX37" fmla="*/ 1349716 w 4637722"/>
              <a:gd name="connsiteY37" fmla="*/ 3394282 h 4749165"/>
              <a:gd name="connsiteX38" fmla="*/ 1478304 w 4637722"/>
              <a:gd name="connsiteY38" fmla="*/ 3910346 h 4749165"/>
              <a:gd name="connsiteX39" fmla="*/ 1408866 w 4637722"/>
              <a:gd name="connsiteY39" fmla="*/ 3968639 h 4749165"/>
              <a:gd name="connsiteX40" fmla="*/ 1350573 w 4637722"/>
              <a:gd name="connsiteY40" fmla="*/ 3899202 h 4749165"/>
              <a:gd name="connsiteX41" fmla="*/ 1350573 w 4637722"/>
              <a:gd name="connsiteY41" fmla="*/ 3899202 h 4749165"/>
              <a:gd name="connsiteX42" fmla="*/ 1252847 w 4637722"/>
              <a:gd name="connsiteY42" fmla="*/ 3478292 h 4749165"/>
              <a:gd name="connsiteX43" fmla="*/ 1101114 w 4637722"/>
              <a:gd name="connsiteY43" fmla="*/ 3405426 h 4749165"/>
              <a:gd name="connsiteX44" fmla="*/ 784788 w 4637722"/>
              <a:gd name="connsiteY44" fmla="*/ 3429429 h 4749165"/>
              <a:gd name="connsiteX45" fmla="*/ 376737 w 4637722"/>
              <a:gd name="connsiteY45" fmla="*/ 3260551 h 4749165"/>
              <a:gd name="connsiteX46" fmla="*/ 360450 w 4637722"/>
              <a:gd name="connsiteY46" fmla="*/ 3013662 h 4749165"/>
              <a:gd name="connsiteX47" fmla="*/ 363021 w 4637722"/>
              <a:gd name="connsiteY47" fmla="*/ 2983659 h 4749165"/>
              <a:gd name="connsiteX48" fmla="*/ 330446 w 4637722"/>
              <a:gd name="connsiteY48" fmla="*/ 2948512 h 4749165"/>
              <a:gd name="connsiteX49" fmla="*/ 270438 w 4637722"/>
              <a:gd name="connsiteY49" fmla="*/ 2809637 h 4749165"/>
              <a:gd name="connsiteX50" fmla="*/ 288441 w 4637722"/>
              <a:gd name="connsiteY50" fmla="*/ 2767632 h 4749165"/>
              <a:gd name="connsiteX51" fmla="*/ 225004 w 4637722"/>
              <a:gd name="connsiteY51" fmla="*/ 2707624 h 4749165"/>
              <a:gd name="connsiteX52" fmla="*/ 216432 w 4637722"/>
              <a:gd name="connsiteY52" fmla="*/ 2606469 h 4749165"/>
              <a:gd name="connsiteX53" fmla="*/ 220718 w 4637722"/>
              <a:gd name="connsiteY53" fmla="*/ 2589324 h 4749165"/>
              <a:gd name="connsiteX54" fmla="*/ 120420 w 4637722"/>
              <a:gd name="connsiteY54" fmla="*/ 2558463 h 4749165"/>
              <a:gd name="connsiteX55" fmla="*/ 14978 w 4637722"/>
              <a:gd name="connsiteY55" fmla="*/ 2485597 h 4749165"/>
              <a:gd name="connsiteX56" fmla="*/ 91273 w 4637722"/>
              <a:gd name="connsiteY56" fmla="*/ 2252425 h 4749165"/>
              <a:gd name="connsiteX57" fmla="*/ 121277 w 4637722"/>
              <a:gd name="connsiteY57" fmla="*/ 2200990 h 4749165"/>
              <a:gd name="connsiteX58" fmla="*/ 186428 w 4637722"/>
              <a:gd name="connsiteY58" fmla="*/ 2094690 h 4749165"/>
              <a:gd name="connsiteX59" fmla="*/ 333018 w 4637722"/>
              <a:gd name="connsiteY59" fmla="*/ 1716643 h 4749165"/>
              <a:gd name="connsiteX60" fmla="*/ 325302 w 4637722"/>
              <a:gd name="connsiteY60" fmla="*/ 1640348 h 4749165"/>
              <a:gd name="connsiteX61" fmla="*/ 591907 w 4637722"/>
              <a:gd name="connsiteY61" fmla="*/ 426482 h 4749165"/>
              <a:gd name="connsiteX62" fmla="*/ 1799772 w 4637722"/>
              <a:gd name="connsiteY62" fmla="*/ 6429 h 4749165"/>
              <a:gd name="connsiteX63" fmla="*/ 1831491 w 4637722"/>
              <a:gd name="connsiteY63" fmla="*/ 6429 h 4749165"/>
              <a:gd name="connsiteX64" fmla="*/ 2875621 w 4637722"/>
              <a:gd name="connsiteY64" fmla="*/ 279892 h 4749165"/>
              <a:gd name="connsiteX65" fmla="*/ 3433691 w 4637722"/>
              <a:gd name="connsiteY65" fmla="*/ 910828 h 4749165"/>
              <a:gd name="connsiteX66" fmla="*/ 3539990 w 4637722"/>
              <a:gd name="connsiteY66" fmla="*/ 1552051 h 4749165"/>
              <a:gd name="connsiteX67" fmla="*/ 3308532 w 4637722"/>
              <a:gd name="connsiteY67" fmla="*/ 2102406 h 4749165"/>
              <a:gd name="connsiteX68" fmla="*/ 3234809 w 4637722"/>
              <a:gd name="connsiteY68" fmla="*/ 2179558 h 4749165"/>
              <a:gd name="connsiteX69" fmla="*/ 3047071 w 4637722"/>
              <a:gd name="connsiteY69" fmla="*/ 2699052 h 4749165"/>
              <a:gd name="connsiteX70" fmla="*/ 3038499 w 4637722"/>
              <a:gd name="connsiteY70" fmla="*/ 4037219 h 4749165"/>
              <a:gd name="connsiteX71" fmla="*/ 4074914 w 4637722"/>
              <a:gd name="connsiteY71" fmla="*/ 4614148 h 4749165"/>
              <a:gd name="connsiteX72" fmla="*/ 4572119 w 4637722"/>
              <a:gd name="connsiteY72" fmla="*/ 4614148 h 4749165"/>
              <a:gd name="connsiteX73" fmla="*/ 4636413 w 4637722"/>
              <a:gd name="connsiteY73" fmla="*/ 4678442 h 4749165"/>
              <a:gd name="connsiteX74" fmla="*/ 4572119 w 4637722"/>
              <a:gd name="connsiteY74" fmla="*/ 4742736 h 4749165"/>
              <a:gd name="connsiteX75" fmla="*/ 1783485 w 4637722"/>
              <a:gd name="connsiteY75" fmla="*/ 325326 h 4749165"/>
              <a:gd name="connsiteX76" fmla="*/ 937379 w 4637722"/>
              <a:gd name="connsiteY76" fmla="*/ 597075 h 4749165"/>
              <a:gd name="connsiteX77" fmla="*/ 683633 w 4637722"/>
              <a:gd name="connsiteY77" fmla="*/ 1395174 h 4749165"/>
              <a:gd name="connsiteX78" fmla="*/ 1750909 w 4637722"/>
              <a:gd name="connsiteY78" fmla="*/ 2393871 h 4749165"/>
              <a:gd name="connsiteX79" fmla="*/ 3119080 w 4637722"/>
              <a:gd name="connsiteY79" fmla="*/ 2109264 h 4749165"/>
              <a:gd name="connsiteX80" fmla="*/ 3111365 w 4637722"/>
              <a:gd name="connsiteY80" fmla="*/ 1054846 h 4749165"/>
              <a:gd name="connsiteX81" fmla="*/ 2381845 w 4637722"/>
              <a:gd name="connsiteY81" fmla="*/ 429911 h 4749165"/>
              <a:gd name="connsiteX82" fmla="*/ 1783485 w 4637722"/>
              <a:gd name="connsiteY82" fmla="*/ 325326 h 474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637722" h="4749165">
                <a:moveTo>
                  <a:pt x="4572119" y="4742736"/>
                </a:moveTo>
                <a:lnTo>
                  <a:pt x="4074914" y="4742736"/>
                </a:lnTo>
                <a:cubicBezTo>
                  <a:pt x="3846885" y="4742736"/>
                  <a:pt x="3240810" y="4582430"/>
                  <a:pt x="2928771" y="4107514"/>
                </a:cubicBezTo>
                <a:cubicBezTo>
                  <a:pt x="2811327" y="3929205"/>
                  <a:pt x="2747891" y="3723465"/>
                  <a:pt x="2740176" y="3498009"/>
                </a:cubicBezTo>
                <a:cubicBezTo>
                  <a:pt x="2730746" y="3241691"/>
                  <a:pt x="2794182" y="2955370"/>
                  <a:pt x="2927056" y="2647617"/>
                </a:cubicBezTo>
                <a:cubicBezTo>
                  <a:pt x="2975062" y="2537889"/>
                  <a:pt x="3016210" y="2430732"/>
                  <a:pt x="3051357" y="2327862"/>
                </a:cubicBezTo>
                <a:cubicBezTo>
                  <a:pt x="2684455" y="2580751"/>
                  <a:pt x="2206109" y="2653617"/>
                  <a:pt x="1716619" y="2519029"/>
                </a:cubicBezTo>
                <a:cubicBezTo>
                  <a:pt x="1431155" y="2440162"/>
                  <a:pt x="1170551" y="2298716"/>
                  <a:pt x="963954" y="2110121"/>
                </a:cubicBezTo>
                <a:cubicBezTo>
                  <a:pt x="746212" y="1910382"/>
                  <a:pt x="605623" y="1672066"/>
                  <a:pt x="556760" y="1420892"/>
                </a:cubicBezTo>
                <a:cubicBezTo>
                  <a:pt x="519898" y="1228868"/>
                  <a:pt x="528471" y="1049703"/>
                  <a:pt x="584192" y="888540"/>
                </a:cubicBezTo>
                <a:cubicBezTo>
                  <a:pt x="635627" y="738521"/>
                  <a:pt x="726495" y="608219"/>
                  <a:pt x="853368" y="500205"/>
                </a:cubicBezTo>
                <a:cubicBezTo>
                  <a:pt x="1037677" y="343329"/>
                  <a:pt x="1287994" y="242173"/>
                  <a:pt x="1576887" y="208740"/>
                </a:cubicBezTo>
                <a:cubicBezTo>
                  <a:pt x="1856351" y="176165"/>
                  <a:pt x="2158103" y="212169"/>
                  <a:pt x="2424708" y="309896"/>
                </a:cubicBezTo>
                <a:cubicBezTo>
                  <a:pt x="2822472" y="455628"/>
                  <a:pt x="3092505" y="689658"/>
                  <a:pt x="3227951" y="1005126"/>
                </a:cubicBezTo>
                <a:cubicBezTo>
                  <a:pt x="3334250" y="1252871"/>
                  <a:pt x="3357396" y="1550337"/>
                  <a:pt x="3297388" y="1894951"/>
                </a:cubicBezTo>
                <a:cubicBezTo>
                  <a:pt x="3445692" y="1638633"/>
                  <a:pt x="3455122" y="1282875"/>
                  <a:pt x="3313676" y="963120"/>
                </a:cubicBezTo>
                <a:cubicBezTo>
                  <a:pt x="3204805" y="717090"/>
                  <a:pt x="2842188" y="144447"/>
                  <a:pt x="1827205" y="135017"/>
                </a:cubicBezTo>
                <a:cubicBezTo>
                  <a:pt x="1816917" y="135017"/>
                  <a:pt x="1806630" y="135017"/>
                  <a:pt x="1797201" y="135017"/>
                </a:cubicBezTo>
                <a:cubicBezTo>
                  <a:pt x="1283708" y="135017"/>
                  <a:pt x="909947" y="261890"/>
                  <a:pt x="685347" y="513064"/>
                </a:cubicBezTo>
                <a:cubicBezTo>
                  <a:pt x="361307" y="874824"/>
                  <a:pt x="423886" y="1401175"/>
                  <a:pt x="450461" y="1625775"/>
                </a:cubicBezTo>
                <a:cubicBezTo>
                  <a:pt x="454747" y="1665208"/>
                  <a:pt x="458176" y="1693497"/>
                  <a:pt x="459033" y="1714072"/>
                </a:cubicBezTo>
                <a:cubicBezTo>
                  <a:pt x="464177" y="1889808"/>
                  <a:pt x="381024" y="2022682"/>
                  <a:pt x="293584" y="2163271"/>
                </a:cubicBezTo>
                <a:cubicBezTo>
                  <a:pt x="273010" y="2196703"/>
                  <a:pt x="251579" y="2230993"/>
                  <a:pt x="231005" y="2266141"/>
                </a:cubicBezTo>
                <a:cubicBezTo>
                  <a:pt x="219861" y="2285000"/>
                  <a:pt x="209574" y="2302145"/>
                  <a:pt x="200144" y="2318433"/>
                </a:cubicBezTo>
                <a:cubicBezTo>
                  <a:pt x="174426" y="2361295"/>
                  <a:pt x="148709" y="2405872"/>
                  <a:pt x="138422" y="2430732"/>
                </a:cubicBezTo>
                <a:cubicBezTo>
                  <a:pt x="140994" y="2431590"/>
                  <a:pt x="144423" y="2432447"/>
                  <a:pt x="148709" y="2433304"/>
                </a:cubicBezTo>
                <a:cubicBezTo>
                  <a:pt x="230148" y="2453021"/>
                  <a:pt x="301299" y="2469309"/>
                  <a:pt x="333018" y="2528459"/>
                </a:cubicBezTo>
                <a:cubicBezTo>
                  <a:pt x="351020" y="2561035"/>
                  <a:pt x="351877" y="2601325"/>
                  <a:pt x="336447" y="2646760"/>
                </a:cubicBezTo>
                <a:cubicBezTo>
                  <a:pt x="348448" y="2660476"/>
                  <a:pt x="394740" y="2680192"/>
                  <a:pt x="435030" y="2687907"/>
                </a:cubicBezTo>
                <a:cubicBezTo>
                  <a:pt x="464177" y="2693908"/>
                  <a:pt x="485608" y="2717911"/>
                  <a:pt x="487323" y="2747915"/>
                </a:cubicBezTo>
                <a:cubicBezTo>
                  <a:pt x="489037" y="2777062"/>
                  <a:pt x="470178" y="2804493"/>
                  <a:pt x="441888" y="2813066"/>
                </a:cubicBezTo>
                <a:cubicBezTo>
                  <a:pt x="425601" y="2818210"/>
                  <a:pt x="406741" y="2828497"/>
                  <a:pt x="398169" y="2836212"/>
                </a:cubicBezTo>
                <a:cubicBezTo>
                  <a:pt x="400740" y="2839641"/>
                  <a:pt x="405027" y="2845642"/>
                  <a:pt x="413599" y="2852500"/>
                </a:cubicBezTo>
                <a:cubicBezTo>
                  <a:pt x="495895" y="2923651"/>
                  <a:pt x="495895" y="2967371"/>
                  <a:pt x="487323" y="3032522"/>
                </a:cubicBezTo>
                <a:cubicBezTo>
                  <a:pt x="482179" y="3071098"/>
                  <a:pt x="474464" y="3123391"/>
                  <a:pt x="501039" y="3231404"/>
                </a:cubicBezTo>
                <a:cubicBezTo>
                  <a:pt x="525899" y="3331702"/>
                  <a:pt x="566190" y="3335131"/>
                  <a:pt x="764214" y="3303413"/>
                </a:cubicBezTo>
                <a:cubicBezTo>
                  <a:pt x="858512" y="3288840"/>
                  <a:pt x="976812" y="3269980"/>
                  <a:pt x="1107972" y="3277696"/>
                </a:cubicBezTo>
                <a:cubicBezTo>
                  <a:pt x="1206555" y="3283696"/>
                  <a:pt x="1287137" y="3323130"/>
                  <a:pt x="1349716" y="3394282"/>
                </a:cubicBezTo>
                <a:cubicBezTo>
                  <a:pt x="1504878" y="3573447"/>
                  <a:pt x="1480018" y="3896630"/>
                  <a:pt x="1478304" y="3910346"/>
                </a:cubicBezTo>
                <a:cubicBezTo>
                  <a:pt x="1475732" y="3945493"/>
                  <a:pt x="1444014" y="3972068"/>
                  <a:pt x="1408866" y="3968639"/>
                </a:cubicBezTo>
                <a:cubicBezTo>
                  <a:pt x="1373719" y="3966067"/>
                  <a:pt x="1347145" y="3934349"/>
                  <a:pt x="1350573" y="3899202"/>
                </a:cubicBezTo>
                <a:lnTo>
                  <a:pt x="1350573" y="3899202"/>
                </a:lnTo>
                <a:cubicBezTo>
                  <a:pt x="1350573" y="3896630"/>
                  <a:pt x="1372005" y="3616309"/>
                  <a:pt x="1252847" y="3478292"/>
                </a:cubicBezTo>
                <a:cubicBezTo>
                  <a:pt x="1213413" y="3432858"/>
                  <a:pt x="1163693" y="3409712"/>
                  <a:pt x="1101114" y="3405426"/>
                </a:cubicBezTo>
                <a:cubicBezTo>
                  <a:pt x="983670" y="3398568"/>
                  <a:pt x="878229" y="3414855"/>
                  <a:pt x="784788" y="3429429"/>
                </a:cubicBezTo>
                <a:cubicBezTo>
                  <a:pt x="611624" y="3456861"/>
                  <a:pt x="431601" y="3485150"/>
                  <a:pt x="376737" y="3260551"/>
                </a:cubicBezTo>
                <a:cubicBezTo>
                  <a:pt x="344162" y="3129391"/>
                  <a:pt x="354449" y="3059954"/>
                  <a:pt x="360450" y="3013662"/>
                </a:cubicBezTo>
                <a:cubicBezTo>
                  <a:pt x="362164" y="3001661"/>
                  <a:pt x="363879" y="2987088"/>
                  <a:pt x="363021" y="2983659"/>
                </a:cubicBezTo>
                <a:cubicBezTo>
                  <a:pt x="362164" y="2981944"/>
                  <a:pt x="357878" y="2972515"/>
                  <a:pt x="330446" y="2948512"/>
                </a:cubicBezTo>
                <a:cubicBezTo>
                  <a:pt x="267867" y="2894505"/>
                  <a:pt x="262723" y="2843070"/>
                  <a:pt x="270438" y="2809637"/>
                </a:cubicBezTo>
                <a:cubicBezTo>
                  <a:pt x="273867" y="2794207"/>
                  <a:pt x="279868" y="2780491"/>
                  <a:pt x="288441" y="2767632"/>
                </a:cubicBezTo>
                <a:cubicBezTo>
                  <a:pt x="262723" y="2752201"/>
                  <a:pt x="239577" y="2732485"/>
                  <a:pt x="225004" y="2707624"/>
                </a:cubicBezTo>
                <a:cubicBezTo>
                  <a:pt x="207002" y="2676763"/>
                  <a:pt x="203573" y="2640759"/>
                  <a:pt x="216432" y="2606469"/>
                </a:cubicBezTo>
                <a:cubicBezTo>
                  <a:pt x="219003" y="2597896"/>
                  <a:pt x="220718" y="2592753"/>
                  <a:pt x="220718" y="2589324"/>
                </a:cubicBezTo>
                <a:cubicBezTo>
                  <a:pt x="206145" y="2579037"/>
                  <a:pt x="154710" y="2566178"/>
                  <a:pt x="120420" y="2558463"/>
                </a:cubicBezTo>
                <a:cubicBezTo>
                  <a:pt x="81843" y="2549033"/>
                  <a:pt x="34695" y="2532745"/>
                  <a:pt x="14978" y="2485597"/>
                </a:cubicBezTo>
                <a:cubicBezTo>
                  <a:pt x="-10740" y="2425589"/>
                  <a:pt x="23550" y="2368153"/>
                  <a:pt x="91273" y="2252425"/>
                </a:cubicBezTo>
                <a:cubicBezTo>
                  <a:pt x="100703" y="2236137"/>
                  <a:pt x="110990" y="2218992"/>
                  <a:pt x="121277" y="2200990"/>
                </a:cubicBezTo>
                <a:cubicBezTo>
                  <a:pt x="142708" y="2163271"/>
                  <a:pt x="164997" y="2128123"/>
                  <a:pt x="186428" y="2094690"/>
                </a:cubicBezTo>
                <a:cubicBezTo>
                  <a:pt x="270438" y="1960102"/>
                  <a:pt x="336447" y="1853803"/>
                  <a:pt x="333018" y="1716643"/>
                </a:cubicBezTo>
                <a:cubicBezTo>
                  <a:pt x="333018" y="1702070"/>
                  <a:pt x="329589" y="1673781"/>
                  <a:pt x="325302" y="1640348"/>
                </a:cubicBezTo>
                <a:cubicBezTo>
                  <a:pt x="296156" y="1398603"/>
                  <a:pt x="229290" y="831961"/>
                  <a:pt x="591907" y="426482"/>
                </a:cubicBezTo>
                <a:cubicBezTo>
                  <a:pt x="842224" y="147018"/>
                  <a:pt x="1248561" y="6429"/>
                  <a:pt x="1799772" y="6429"/>
                </a:cubicBezTo>
                <a:cubicBezTo>
                  <a:pt x="1810060" y="6429"/>
                  <a:pt x="1820346" y="6429"/>
                  <a:pt x="1831491" y="6429"/>
                </a:cubicBezTo>
                <a:cubicBezTo>
                  <a:pt x="2237827" y="10716"/>
                  <a:pt x="2589300" y="102441"/>
                  <a:pt x="2875621" y="279892"/>
                </a:cubicBezTo>
                <a:cubicBezTo>
                  <a:pt x="3126795" y="435054"/>
                  <a:pt x="3319677" y="653653"/>
                  <a:pt x="3433691" y="910828"/>
                </a:cubicBezTo>
                <a:cubicBezTo>
                  <a:pt x="3525417" y="1117425"/>
                  <a:pt x="3561421" y="1339453"/>
                  <a:pt x="3539990" y="1552051"/>
                </a:cubicBezTo>
                <a:cubicBezTo>
                  <a:pt x="3517702" y="1766364"/>
                  <a:pt x="3437977" y="1956673"/>
                  <a:pt x="3308532" y="2102406"/>
                </a:cubicBezTo>
                <a:cubicBezTo>
                  <a:pt x="3284530" y="2128981"/>
                  <a:pt x="3260527" y="2154698"/>
                  <a:pt x="3234809" y="2179558"/>
                </a:cubicBezTo>
                <a:cubicBezTo>
                  <a:pt x="3188517" y="2343293"/>
                  <a:pt x="3125938" y="2516457"/>
                  <a:pt x="3047071" y="2699052"/>
                </a:cubicBezTo>
                <a:cubicBezTo>
                  <a:pt x="2813042" y="3239119"/>
                  <a:pt x="2809613" y="3690033"/>
                  <a:pt x="3038499" y="4037219"/>
                </a:cubicBezTo>
                <a:cubicBezTo>
                  <a:pt x="3325677" y="4476988"/>
                  <a:pt x="3898320" y="4614148"/>
                  <a:pt x="4074914" y="4614148"/>
                </a:cubicBezTo>
                <a:lnTo>
                  <a:pt x="4572119" y="4614148"/>
                </a:lnTo>
                <a:cubicBezTo>
                  <a:pt x="4607266" y="4614148"/>
                  <a:pt x="4636413" y="4643295"/>
                  <a:pt x="4636413" y="4678442"/>
                </a:cubicBezTo>
                <a:cubicBezTo>
                  <a:pt x="4636413" y="4713589"/>
                  <a:pt x="4607266" y="4742736"/>
                  <a:pt x="4572119" y="4742736"/>
                </a:cubicBezTo>
                <a:close/>
                <a:moveTo>
                  <a:pt x="1783485" y="325326"/>
                </a:moveTo>
                <a:cubicBezTo>
                  <a:pt x="1456015" y="325326"/>
                  <a:pt x="1146548" y="418767"/>
                  <a:pt x="937379" y="597075"/>
                </a:cubicBezTo>
                <a:cubicBezTo>
                  <a:pt x="707636" y="792528"/>
                  <a:pt x="620196" y="1068562"/>
                  <a:pt x="683633" y="1395174"/>
                </a:cubicBezTo>
                <a:cubicBezTo>
                  <a:pt x="770215" y="1840944"/>
                  <a:pt x="1198840" y="2242137"/>
                  <a:pt x="1750909" y="2393871"/>
                </a:cubicBezTo>
                <a:cubicBezTo>
                  <a:pt x="2268688" y="2536174"/>
                  <a:pt x="2770180" y="2429875"/>
                  <a:pt x="3119080" y="2109264"/>
                </a:cubicBezTo>
                <a:cubicBezTo>
                  <a:pt x="3233095" y="1686639"/>
                  <a:pt x="3230523" y="1333452"/>
                  <a:pt x="3111365" y="1054846"/>
                </a:cubicBezTo>
                <a:cubicBezTo>
                  <a:pt x="2990493" y="773668"/>
                  <a:pt x="2745319" y="562785"/>
                  <a:pt x="2381845" y="429911"/>
                </a:cubicBezTo>
                <a:cubicBezTo>
                  <a:pt x="2187250" y="360474"/>
                  <a:pt x="1981510" y="325326"/>
                  <a:pt x="1783485" y="325326"/>
                </a:cubicBezTo>
                <a:close/>
              </a:path>
            </a:pathLst>
          </a:custGeom>
          <a:solidFill>
            <a:srgbClr val="FEFDFA"/>
          </a:solidFill>
          <a:ln w="9525" cap="flat">
            <a:noFill/>
            <a:prstDash val="solid"/>
            <a:miter/>
          </a:ln>
        </p:spPr>
        <p:txBody>
          <a:bodyPr rtlCol="0" anchor="ctr"/>
          <a:lstStyle/>
          <a:p>
            <a:endParaRPr lang="zh-CN" altLang="en-US"/>
          </a:p>
        </p:txBody>
      </p:sp>
      <p:sp>
        <p:nvSpPr>
          <p:cNvPr id="9" name="任意多边形: 形状 8">
            <a:extLst>
              <a:ext uri="{FF2B5EF4-FFF2-40B4-BE49-F238E27FC236}">
                <a16:creationId xmlns:a16="http://schemas.microsoft.com/office/drawing/2014/main" id="{C9144628-CD64-4AF4-8625-017FD68A7DC4}"/>
              </a:ext>
            </a:extLst>
          </p:cNvPr>
          <p:cNvSpPr/>
          <p:nvPr userDrawn="1"/>
        </p:nvSpPr>
        <p:spPr>
          <a:xfrm>
            <a:off x="7405514" y="2053302"/>
            <a:ext cx="757411" cy="757411"/>
          </a:xfrm>
          <a:custGeom>
            <a:avLst/>
            <a:gdLst>
              <a:gd name="connsiteX0" fmla="*/ 386271 w 788670"/>
              <a:gd name="connsiteY0" fmla="*/ 782320 h 788670"/>
              <a:gd name="connsiteX1" fmla="*/ 782320 w 788670"/>
              <a:gd name="connsiteY1" fmla="*/ 402558 h 788670"/>
              <a:gd name="connsiteX2" fmla="*/ 402558 w 788670"/>
              <a:gd name="connsiteY2" fmla="*/ 6509 h 788670"/>
              <a:gd name="connsiteX3" fmla="*/ 6509 w 788670"/>
              <a:gd name="connsiteY3" fmla="*/ 386271 h 788670"/>
              <a:gd name="connsiteX4" fmla="*/ 386271 w 788670"/>
              <a:gd name="connsiteY4" fmla="*/ 782320 h 788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70" h="788670">
                <a:moveTo>
                  <a:pt x="386271" y="782320"/>
                </a:moveTo>
                <a:cubicBezTo>
                  <a:pt x="600583" y="786606"/>
                  <a:pt x="778034" y="616871"/>
                  <a:pt x="782320" y="402558"/>
                </a:cubicBezTo>
                <a:cubicBezTo>
                  <a:pt x="786606" y="188246"/>
                  <a:pt x="616871" y="10795"/>
                  <a:pt x="402558" y="6509"/>
                </a:cubicBezTo>
                <a:cubicBezTo>
                  <a:pt x="188246" y="2223"/>
                  <a:pt x="10795" y="171958"/>
                  <a:pt x="6509" y="386271"/>
                </a:cubicBezTo>
                <a:cubicBezTo>
                  <a:pt x="2223" y="600583"/>
                  <a:pt x="171958" y="777177"/>
                  <a:pt x="386271" y="782320"/>
                </a:cubicBezTo>
                <a:close/>
              </a:path>
            </a:pathLst>
          </a:custGeom>
          <a:solidFill>
            <a:srgbClr val="FFCF48"/>
          </a:solidFill>
          <a:ln w="9525" cap="flat">
            <a:noFill/>
            <a:prstDash val="solid"/>
            <a:miter/>
          </a:ln>
        </p:spPr>
        <p:txBody>
          <a:bodyPr rtlCol="0" anchor="ctr"/>
          <a:lstStyle/>
          <a:p>
            <a:endParaRPr lang="zh-CN" altLang="en-US"/>
          </a:p>
        </p:txBody>
      </p:sp>
      <p:sp>
        <p:nvSpPr>
          <p:cNvPr id="10" name="任意多边形: 形状 9">
            <a:extLst>
              <a:ext uri="{FF2B5EF4-FFF2-40B4-BE49-F238E27FC236}">
                <a16:creationId xmlns:a16="http://schemas.microsoft.com/office/drawing/2014/main" id="{4F27F3AC-9350-4B5A-A0E1-0DF76FB4AC9C}"/>
              </a:ext>
            </a:extLst>
          </p:cNvPr>
          <p:cNvSpPr/>
          <p:nvPr userDrawn="1"/>
        </p:nvSpPr>
        <p:spPr>
          <a:xfrm>
            <a:off x="7156139" y="1787461"/>
            <a:ext cx="1259609" cy="1284306"/>
          </a:xfrm>
          <a:custGeom>
            <a:avLst/>
            <a:gdLst>
              <a:gd name="connsiteX0" fmla="*/ 501062 w 1311592"/>
              <a:gd name="connsiteY0" fmla="*/ 1183434 h 1337310"/>
              <a:gd name="connsiteX1" fmla="*/ 585073 w 1311592"/>
              <a:gd name="connsiteY1" fmla="*/ 1201436 h 1337310"/>
              <a:gd name="connsiteX2" fmla="*/ 585073 w 1311592"/>
              <a:gd name="connsiteY2" fmla="*/ 1204865 h 1337310"/>
              <a:gd name="connsiteX3" fmla="*/ 613362 w 1311592"/>
              <a:gd name="connsiteY3" fmla="*/ 1331738 h 1337310"/>
              <a:gd name="connsiteX4" fmla="*/ 747093 w 1311592"/>
              <a:gd name="connsiteY4" fmla="*/ 1325737 h 1337310"/>
              <a:gd name="connsiteX5" fmla="*/ 766810 w 1311592"/>
              <a:gd name="connsiteY5" fmla="*/ 1193721 h 1337310"/>
              <a:gd name="connsiteX6" fmla="*/ 849106 w 1311592"/>
              <a:gd name="connsiteY6" fmla="*/ 1168860 h 1337310"/>
              <a:gd name="connsiteX7" fmla="*/ 850821 w 1311592"/>
              <a:gd name="connsiteY7" fmla="*/ 1170575 h 1337310"/>
              <a:gd name="connsiteX8" fmla="*/ 936546 w 1311592"/>
              <a:gd name="connsiteY8" fmla="*/ 1268301 h 1337310"/>
              <a:gd name="connsiteX9" fmla="*/ 1050560 w 1311592"/>
              <a:gd name="connsiteY9" fmla="*/ 1198864 h 1337310"/>
              <a:gd name="connsiteX10" fmla="*/ 1004268 w 1311592"/>
              <a:gd name="connsiteY10" fmla="*/ 1073706 h 1337310"/>
              <a:gd name="connsiteX11" fmla="*/ 1065133 w 1311592"/>
              <a:gd name="connsiteY11" fmla="*/ 1011984 h 1337310"/>
              <a:gd name="connsiteX12" fmla="*/ 1066848 w 1311592"/>
              <a:gd name="connsiteY12" fmla="*/ 1012841 h 1337310"/>
              <a:gd name="connsiteX13" fmla="*/ 1188577 w 1311592"/>
              <a:gd name="connsiteY13" fmla="*/ 1057418 h 1337310"/>
              <a:gd name="connsiteX14" fmla="*/ 1255443 w 1311592"/>
              <a:gd name="connsiteY14" fmla="*/ 941689 h 1337310"/>
              <a:gd name="connsiteX15" fmla="*/ 1155144 w 1311592"/>
              <a:gd name="connsiteY15" fmla="*/ 854250 h 1337310"/>
              <a:gd name="connsiteX16" fmla="*/ 1178290 w 1311592"/>
              <a:gd name="connsiteY16" fmla="*/ 770239 h 1337310"/>
              <a:gd name="connsiteX17" fmla="*/ 1180862 w 1311592"/>
              <a:gd name="connsiteY17" fmla="*/ 770239 h 1337310"/>
              <a:gd name="connsiteX18" fmla="*/ 1310307 w 1311592"/>
              <a:gd name="connsiteY18" fmla="*/ 751380 h 1337310"/>
              <a:gd name="connsiteX19" fmla="*/ 1312878 w 1311592"/>
              <a:gd name="connsiteY19" fmla="*/ 617649 h 1337310"/>
              <a:gd name="connsiteX20" fmla="*/ 1182576 w 1311592"/>
              <a:gd name="connsiteY20" fmla="*/ 589359 h 1337310"/>
              <a:gd name="connsiteX21" fmla="*/ 1154287 w 1311592"/>
              <a:gd name="connsiteY21" fmla="*/ 479631 h 1337310"/>
              <a:gd name="connsiteX22" fmla="*/ 1156002 w 1311592"/>
              <a:gd name="connsiteY22" fmla="*/ 478774 h 1337310"/>
              <a:gd name="connsiteX23" fmla="*/ 1255443 w 1311592"/>
              <a:gd name="connsiteY23" fmla="*/ 394764 h 1337310"/>
              <a:gd name="connsiteX24" fmla="*/ 1187720 w 1311592"/>
              <a:gd name="connsiteY24" fmla="*/ 279892 h 1337310"/>
              <a:gd name="connsiteX25" fmla="*/ 1061704 w 1311592"/>
              <a:gd name="connsiteY25" fmla="*/ 323612 h 1337310"/>
              <a:gd name="connsiteX26" fmla="*/ 966549 w 1311592"/>
              <a:gd name="connsiteY26" fmla="*/ 235315 h 1337310"/>
              <a:gd name="connsiteX27" fmla="*/ 967407 w 1311592"/>
              <a:gd name="connsiteY27" fmla="*/ 232743 h 1337310"/>
              <a:gd name="connsiteX28" fmla="*/ 1004268 w 1311592"/>
              <a:gd name="connsiteY28" fmla="*/ 107585 h 1337310"/>
              <a:gd name="connsiteX29" fmla="*/ 884253 w 1311592"/>
              <a:gd name="connsiteY29" fmla="*/ 48435 h 1337310"/>
              <a:gd name="connsiteX30" fmla="*/ 802815 w 1311592"/>
              <a:gd name="connsiteY30" fmla="*/ 154734 h 1337310"/>
              <a:gd name="connsiteX31" fmla="*/ 802815 w 1311592"/>
              <a:gd name="connsiteY31" fmla="*/ 154734 h 1337310"/>
              <a:gd name="connsiteX32" fmla="*/ 718804 w 1311592"/>
              <a:gd name="connsiteY32" fmla="*/ 136731 h 1337310"/>
              <a:gd name="connsiteX33" fmla="*/ 718804 w 1311592"/>
              <a:gd name="connsiteY33" fmla="*/ 133302 h 1337310"/>
              <a:gd name="connsiteX34" fmla="*/ 690515 w 1311592"/>
              <a:gd name="connsiteY34" fmla="*/ 6429 h 1337310"/>
              <a:gd name="connsiteX35" fmla="*/ 556784 w 1311592"/>
              <a:gd name="connsiteY35" fmla="*/ 12430 h 1337310"/>
              <a:gd name="connsiteX36" fmla="*/ 537067 w 1311592"/>
              <a:gd name="connsiteY36" fmla="*/ 145304 h 1337310"/>
              <a:gd name="connsiteX37" fmla="*/ 537067 w 1311592"/>
              <a:gd name="connsiteY37" fmla="*/ 146161 h 1337310"/>
              <a:gd name="connsiteX38" fmla="*/ 454771 w 1311592"/>
              <a:gd name="connsiteY38" fmla="*/ 171021 h 1337310"/>
              <a:gd name="connsiteX39" fmla="*/ 453057 w 1311592"/>
              <a:gd name="connsiteY39" fmla="*/ 167592 h 1337310"/>
              <a:gd name="connsiteX40" fmla="*/ 367332 w 1311592"/>
              <a:gd name="connsiteY40" fmla="*/ 69866 h 1337310"/>
              <a:gd name="connsiteX41" fmla="*/ 253317 w 1311592"/>
              <a:gd name="connsiteY41" fmla="*/ 139303 h 1337310"/>
              <a:gd name="connsiteX42" fmla="*/ 299609 w 1311592"/>
              <a:gd name="connsiteY42" fmla="*/ 265319 h 1337310"/>
              <a:gd name="connsiteX43" fmla="*/ 300466 w 1311592"/>
              <a:gd name="connsiteY43" fmla="*/ 266176 h 1337310"/>
              <a:gd name="connsiteX44" fmla="*/ 240459 w 1311592"/>
              <a:gd name="connsiteY44" fmla="*/ 327041 h 1337310"/>
              <a:gd name="connsiteX45" fmla="*/ 236172 w 1311592"/>
              <a:gd name="connsiteY45" fmla="*/ 324469 h 1337310"/>
              <a:gd name="connsiteX46" fmla="*/ 114443 w 1311592"/>
              <a:gd name="connsiteY46" fmla="*/ 279892 h 1337310"/>
              <a:gd name="connsiteX47" fmla="*/ 47577 w 1311592"/>
              <a:gd name="connsiteY47" fmla="*/ 395621 h 1337310"/>
              <a:gd name="connsiteX48" fmla="*/ 148733 w 1311592"/>
              <a:gd name="connsiteY48" fmla="*/ 483918 h 1337310"/>
              <a:gd name="connsiteX49" fmla="*/ 149590 w 1311592"/>
              <a:gd name="connsiteY49" fmla="*/ 491633 h 1337310"/>
              <a:gd name="connsiteX50" fmla="*/ 126444 w 1311592"/>
              <a:gd name="connsiteY50" fmla="*/ 580787 h 1337310"/>
              <a:gd name="connsiteX51" fmla="*/ 121301 w 1311592"/>
              <a:gd name="connsiteY51" fmla="*/ 580787 h 1337310"/>
              <a:gd name="connsiteX52" fmla="*/ 9001 w 1311592"/>
              <a:gd name="connsiteY52" fmla="*/ 586788 h 1337310"/>
              <a:gd name="connsiteX53" fmla="*/ 6429 w 1311592"/>
              <a:gd name="connsiteY53" fmla="*/ 720519 h 1337310"/>
              <a:gd name="connsiteX54" fmla="*/ 129016 w 1311592"/>
              <a:gd name="connsiteY54" fmla="*/ 748808 h 1337310"/>
              <a:gd name="connsiteX55" fmla="*/ 126444 w 1311592"/>
              <a:gd name="connsiteY55" fmla="*/ 748808 h 1337310"/>
              <a:gd name="connsiteX56" fmla="*/ 152162 w 1311592"/>
              <a:gd name="connsiteY56" fmla="*/ 856821 h 1337310"/>
              <a:gd name="connsiteX57" fmla="*/ 147018 w 1311592"/>
              <a:gd name="connsiteY57" fmla="*/ 859393 h 1337310"/>
              <a:gd name="connsiteX58" fmla="*/ 47577 w 1311592"/>
              <a:gd name="connsiteY58" fmla="*/ 943404 h 1337310"/>
              <a:gd name="connsiteX59" fmla="*/ 117015 w 1311592"/>
              <a:gd name="connsiteY59" fmla="*/ 1059990 h 1337310"/>
              <a:gd name="connsiteX60" fmla="*/ 243030 w 1311592"/>
              <a:gd name="connsiteY60" fmla="*/ 1016270 h 1337310"/>
              <a:gd name="connsiteX61" fmla="*/ 243887 w 1311592"/>
              <a:gd name="connsiteY61" fmla="*/ 1015412 h 1337310"/>
              <a:gd name="connsiteX62" fmla="*/ 338185 w 1311592"/>
              <a:gd name="connsiteY62" fmla="*/ 1103709 h 1337310"/>
              <a:gd name="connsiteX63" fmla="*/ 336471 w 1311592"/>
              <a:gd name="connsiteY63" fmla="*/ 1107138 h 1337310"/>
              <a:gd name="connsiteX64" fmla="*/ 299609 w 1311592"/>
              <a:gd name="connsiteY64" fmla="*/ 1231440 h 1337310"/>
              <a:gd name="connsiteX65" fmla="*/ 419624 w 1311592"/>
              <a:gd name="connsiteY65" fmla="*/ 1290590 h 1337310"/>
              <a:gd name="connsiteX66" fmla="*/ 501062 w 1311592"/>
              <a:gd name="connsiteY66" fmla="*/ 1183434 h 1337310"/>
              <a:gd name="connsiteX67" fmla="*/ 501062 w 1311592"/>
              <a:gd name="connsiteY67" fmla="*/ 1183434 h 1337310"/>
              <a:gd name="connsiteX68" fmla="*/ 210455 w 1311592"/>
              <a:gd name="connsiteY68" fmla="*/ 661368 h 1337310"/>
              <a:gd name="connsiteX69" fmla="*/ 663940 w 1311592"/>
              <a:gd name="connsiteY69" fmla="*/ 226743 h 1337310"/>
              <a:gd name="connsiteX70" fmla="*/ 1098566 w 1311592"/>
              <a:gd name="connsiteY70" fmla="*/ 680228 h 1337310"/>
              <a:gd name="connsiteX71" fmla="*/ 645081 w 1311592"/>
              <a:gd name="connsiteY71" fmla="*/ 1114854 h 1337310"/>
              <a:gd name="connsiteX72" fmla="*/ 210455 w 1311592"/>
              <a:gd name="connsiteY72" fmla="*/ 661368 h 133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311592" h="1337310">
                <a:moveTo>
                  <a:pt x="501062" y="1183434"/>
                </a:moveTo>
                <a:cubicBezTo>
                  <a:pt x="528495" y="1191149"/>
                  <a:pt x="555927" y="1198007"/>
                  <a:pt x="585073" y="1201436"/>
                </a:cubicBezTo>
                <a:lnTo>
                  <a:pt x="585073" y="1204865"/>
                </a:lnTo>
                <a:lnTo>
                  <a:pt x="613362" y="1331738"/>
                </a:lnTo>
                <a:lnTo>
                  <a:pt x="747093" y="1325737"/>
                </a:lnTo>
                <a:lnTo>
                  <a:pt x="766810" y="1193721"/>
                </a:lnTo>
                <a:cubicBezTo>
                  <a:pt x="795099" y="1187720"/>
                  <a:pt x="822531" y="1180005"/>
                  <a:pt x="849106" y="1168860"/>
                </a:cubicBezTo>
                <a:lnTo>
                  <a:pt x="850821" y="1170575"/>
                </a:lnTo>
                <a:lnTo>
                  <a:pt x="936546" y="1268301"/>
                </a:lnTo>
                <a:lnTo>
                  <a:pt x="1050560" y="1198864"/>
                </a:lnTo>
                <a:lnTo>
                  <a:pt x="1004268" y="1073706"/>
                </a:lnTo>
                <a:cubicBezTo>
                  <a:pt x="1025700" y="1054846"/>
                  <a:pt x="1046274" y="1034272"/>
                  <a:pt x="1065133" y="1011984"/>
                </a:cubicBezTo>
                <a:lnTo>
                  <a:pt x="1066848" y="1012841"/>
                </a:lnTo>
                <a:lnTo>
                  <a:pt x="1188577" y="1057418"/>
                </a:lnTo>
                <a:lnTo>
                  <a:pt x="1255443" y="941689"/>
                </a:lnTo>
                <a:lnTo>
                  <a:pt x="1155144" y="854250"/>
                </a:lnTo>
                <a:cubicBezTo>
                  <a:pt x="1165431" y="827675"/>
                  <a:pt x="1172289" y="807958"/>
                  <a:pt x="1178290" y="770239"/>
                </a:cubicBezTo>
                <a:lnTo>
                  <a:pt x="1180862" y="770239"/>
                </a:lnTo>
                <a:lnTo>
                  <a:pt x="1310307" y="751380"/>
                </a:lnTo>
                <a:lnTo>
                  <a:pt x="1312878" y="617649"/>
                </a:lnTo>
                <a:lnTo>
                  <a:pt x="1182576" y="589359"/>
                </a:lnTo>
                <a:cubicBezTo>
                  <a:pt x="1176576" y="551640"/>
                  <a:pt x="1167146" y="514779"/>
                  <a:pt x="1154287" y="479631"/>
                </a:cubicBezTo>
                <a:lnTo>
                  <a:pt x="1156002" y="478774"/>
                </a:lnTo>
                <a:lnTo>
                  <a:pt x="1255443" y="394764"/>
                </a:lnTo>
                <a:lnTo>
                  <a:pt x="1187720" y="279892"/>
                </a:lnTo>
                <a:lnTo>
                  <a:pt x="1061704" y="323612"/>
                </a:lnTo>
                <a:cubicBezTo>
                  <a:pt x="1033415" y="290179"/>
                  <a:pt x="1001697" y="261033"/>
                  <a:pt x="966549" y="235315"/>
                </a:cubicBezTo>
                <a:lnTo>
                  <a:pt x="967407" y="232743"/>
                </a:lnTo>
                <a:lnTo>
                  <a:pt x="1004268" y="107585"/>
                </a:lnTo>
                <a:lnTo>
                  <a:pt x="884253" y="48435"/>
                </a:lnTo>
                <a:lnTo>
                  <a:pt x="802815" y="154734"/>
                </a:lnTo>
                <a:lnTo>
                  <a:pt x="802815" y="154734"/>
                </a:lnTo>
                <a:cubicBezTo>
                  <a:pt x="775382" y="147018"/>
                  <a:pt x="747951" y="140160"/>
                  <a:pt x="718804" y="136731"/>
                </a:cubicBezTo>
                <a:lnTo>
                  <a:pt x="718804" y="133302"/>
                </a:lnTo>
                <a:lnTo>
                  <a:pt x="690515" y="6429"/>
                </a:lnTo>
                <a:lnTo>
                  <a:pt x="556784" y="12430"/>
                </a:lnTo>
                <a:lnTo>
                  <a:pt x="537067" y="145304"/>
                </a:lnTo>
                <a:lnTo>
                  <a:pt x="537067" y="146161"/>
                </a:lnTo>
                <a:cubicBezTo>
                  <a:pt x="508778" y="152162"/>
                  <a:pt x="481346" y="159877"/>
                  <a:pt x="454771" y="171021"/>
                </a:cubicBezTo>
                <a:lnTo>
                  <a:pt x="453057" y="167592"/>
                </a:lnTo>
                <a:lnTo>
                  <a:pt x="367332" y="69866"/>
                </a:lnTo>
                <a:lnTo>
                  <a:pt x="253317" y="139303"/>
                </a:lnTo>
                <a:lnTo>
                  <a:pt x="299609" y="265319"/>
                </a:lnTo>
                <a:lnTo>
                  <a:pt x="300466" y="266176"/>
                </a:lnTo>
                <a:cubicBezTo>
                  <a:pt x="279035" y="285036"/>
                  <a:pt x="259318" y="304752"/>
                  <a:pt x="240459" y="327041"/>
                </a:cubicBezTo>
                <a:lnTo>
                  <a:pt x="236172" y="324469"/>
                </a:lnTo>
                <a:lnTo>
                  <a:pt x="114443" y="279892"/>
                </a:lnTo>
                <a:lnTo>
                  <a:pt x="47577" y="395621"/>
                </a:lnTo>
                <a:lnTo>
                  <a:pt x="148733" y="483918"/>
                </a:lnTo>
                <a:lnTo>
                  <a:pt x="149590" y="491633"/>
                </a:lnTo>
                <a:cubicBezTo>
                  <a:pt x="140160" y="518208"/>
                  <a:pt x="132445" y="542211"/>
                  <a:pt x="126444" y="580787"/>
                </a:cubicBezTo>
                <a:lnTo>
                  <a:pt x="121301" y="580787"/>
                </a:lnTo>
                <a:lnTo>
                  <a:pt x="9001" y="586788"/>
                </a:lnTo>
                <a:lnTo>
                  <a:pt x="6429" y="720519"/>
                </a:lnTo>
                <a:lnTo>
                  <a:pt x="129016" y="748808"/>
                </a:lnTo>
                <a:lnTo>
                  <a:pt x="126444" y="748808"/>
                </a:lnTo>
                <a:cubicBezTo>
                  <a:pt x="131588" y="786527"/>
                  <a:pt x="139303" y="822531"/>
                  <a:pt x="152162" y="856821"/>
                </a:cubicBezTo>
                <a:lnTo>
                  <a:pt x="147018" y="859393"/>
                </a:lnTo>
                <a:lnTo>
                  <a:pt x="47577" y="943404"/>
                </a:lnTo>
                <a:lnTo>
                  <a:pt x="117015" y="1059990"/>
                </a:lnTo>
                <a:lnTo>
                  <a:pt x="243030" y="1016270"/>
                </a:lnTo>
                <a:lnTo>
                  <a:pt x="243887" y="1015412"/>
                </a:lnTo>
                <a:cubicBezTo>
                  <a:pt x="271320" y="1047988"/>
                  <a:pt x="303038" y="1077992"/>
                  <a:pt x="338185" y="1103709"/>
                </a:cubicBezTo>
                <a:lnTo>
                  <a:pt x="336471" y="1107138"/>
                </a:lnTo>
                <a:lnTo>
                  <a:pt x="299609" y="1231440"/>
                </a:lnTo>
                <a:lnTo>
                  <a:pt x="419624" y="1290590"/>
                </a:lnTo>
                <a:lnTo>
                  <a:pt x="501062" y="1183434"/>
                </a:lnTo>
                <a:lnTo>
                  <a:pt x="501062" y="1183434"/>
                </a:lnTo>
                <a:close/>
                <a:moveTo>
                  <a:pt x="210455" y="661368"/>
                </a:moveTo>
                <a:cubicBezTo>
                  <a:pt x="215598" y="416195"/>
                  <a:pt x="418767" y="221599"/>
                  <a:pt x="663940" y="226743"/>
                </a:cubicBezTo>
                <a:cubicBezTo>
                  <a:pt x="909114" y="231886"/>
                  <a:pt x="1103709" y="435054"/>
                  <a:pt x="1098566" y="680228"/>
                </a:cubicBezTo>
                <a:cubicBezTo>
                  <a:pt x="1093422" y="925401"/>
                  <a:pt x="890254" y="1119997"/>
                  <a:pt x="645081" y="1114854"/>
                </a:cubicBezTo>
                <a:cubicBezTo>
                  <a:pt x="399050" y="1109710"/>
                  <a:pt x="205311" y="906542"/>
                  <a:pt x="210455" y="661368"/>
                </a:cubicBezTo>
                <a:close/>
              </a:path>
            </a:pathLst>
          </a:custGeom>
          <a:solidFill>
            <a:srgbClr val="FFCF48"/>
          </a:solidFill>
          <a:ln w="9525" cap="flat">
            <a:noFill/>
            <a:prstDash val="solid"/>
            <a:miter/>
          </a:ln>
        </p:spPr>
        <p:txBody>
          <a:bodyPr rtlCol="0" anchor="ctr"/>
          <a:lstStyle/>
          <a:p>
            <a:endParaRPr lang="zh-CN" altLang="en-US"/>
          </a:p>
        </p:txBody>
      </p:sp>
      <p:sp>
        <p:nvSpPr>
          <p:cNvPr id="11" name="任意多边形: 形状 10">
            <a:extLst>
              <a:ext uri="{FF2B5EF4-FFF2-40B4-BE49-F238E27FC236}">
                <a16:creationId xmlns:a16="http://schemas.microsoft.com/office/drawing/2014/main" id="{26D05EEF-155B-4E1D-BA41-C78876C4600D}"/>
              </a:ext>
            </a:extLst>
          </p:cNvPr>
          <p:cNvSpPr/>
          <p:nvPr userDrawn="1"/>
        </p:nvSpPr>
        <p:spPr>
          <a:xfrm>
            <a:off x="8269876" y="2962943"/>
            <a:ext cx="493964" cy="493964"/>
          </a:xfrm>
          <a:custGeom>
            <a:avLst/>
            <a:gdLst>
              <a:gd name="connsiteX0" fmla="*/ 316911 w 514350"/>
              <a:gd name="connsiteY0" fmla="*/ 503792 h 514350"/>
              <a:gd name="connsiteX1" fmla="*/ 503792 w 514350"/>
              <a:gd name="connsiteY1" fmla="*/ 200325 h 514350"/>
              <a:gd name="connsiteX2" fmla="*/ 200325 w 514350"/>
              <a:gd name="connsiteY2" fmla="*/ 13445 h 514350"/>
              <a:gd name="connsiteX3" fmla="*/ 13445 w 514350"/>
              <a:gd name="connsiteY3" fmla="*/ 316911 h 514350"/>
              <a:gd name="connsiteX4" fmla="*/ 316911 w 514350"/>
              <a:gd name="connsiteY4" fmla="*/ 503792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316911" y="503792"/>
                </a:moveTo>
                <a:cubicBezTo>
                  <a:pt x="452357" y="472074"/>
                  <a:pt x="536367" y="335771"/>
                  <a:pt x="503792" y="200325"/>
                </a:cubicBezTo>
                <a:cubicBezTo>
                  <a:pt x="472074" y="64880"/>
                  <a:pt x="335771" y="-19131"/>
                  <a:pt x="200325" y="13445"/>
                </a:cubicBezTo>
                <a:cubicBezTo>
                  <a:pt x="64880" y="45163"/>
                  <a:pt x="-19131" y="181466"/>
                  <a:pt x="13445" y="316911"/>
                </a:cubicBezTo>
                <a:cubicBezTo>
                  <a:pt x="46020" y="452357"/>
                  <a:pt x="181466" y="536367"/>
                  <a:pt x="316911" y="503792"/>
                </a:cubicBezTo>
                <a:close/>
              </a:path>
            </a:pathLst>
          </a:custGeom>
          <a:solidFill>
            <a:srgbClr val="FF6969"/>
          </a:solidFill>
          <a:ln w="9525" cap="flat">
            <a:noFill/>
            <a:prstDash val="solid"/>
            <a:miter/>
          </a:ln>
        </p:spPr>
        <p:txBody>
          <a:bodyPr rtlCol="0" anchor="ctr"/>
          <a:lstStyle/>
          <a:p>
            <a:endParaRPr lang="zh-CN" altLang="en-US"/>
          </a:p>
        </p:txBody>
      </p:sp>
      <p:sp>
        <p:nvSpPr>
          <p:cNvPr id="14" name="任意多边形: 形状 13">
            <a:extLst>
              <a:ext uri="{FF2B5EF4-FFF2-40B4-BE49-F238E27FC236}">
                <a16:creationId xmlns:a16="http://schemas.microsoft.com/office/drawing/2014/main" id="{EA8E04F1-C036-4C39-9CDB-E66A49E72B07}"/>
              </a:ext>
            </a:extLst>
          </p:cNvPr>
          <p:cNvSpPr/>
          <p:nvPr userDrawn="1"/>
        </p:nvSpPr>
        <p:spPr>
          <a:xfrm>
            <a:off x="8104549" y="2792677"/>
            <a:ext cx="823273" cy="831506"/>
          </a:xfrm>
          <a:custGeom>
            <a:avLst/>
            <a:gdLst>
              <a:gd name="connsiteX0" fmla="*/ 418767 w 857250"/>
              <a:gd name="connsiteY0" fmla="*/ 783098 h 865822"/>
              <a:gd name="connsiteX1" fmla="*/ 474488 w 857250"/>
              <a:gd name="connsiteY1" fmla="*/ 780526 h 865822"/>
              <a:gd name="connsiteX2" fmla="*/ 475345 w 857250"/>
              <a:gd name="connsiteY2" fmla="*/ 782241 h 865822"/>
              <a:gd name="connsiteX3" fmla="*/ 513921 w 857250"/>
              <a:gd name="connsiteY3" fmla="*/ 857679 h 865822"/>
              <a:gd name="connsiteX4" fmla="*/ 597075 w 857250"/>
              <a:gd name="connsiteY4" fmla="*/ 831961 h 865822"/>
              <a:gd name="connsiteX5" fmla="*/ 588502 w 857250"/>
              <a:gd name="connsiteY5" fmla="*/ 745379 h 865822"/>
              <a:gd name="connsiteX6" fmla="*/ 636508 w 857250"/>
              <a:gd name="connsiteY6" fmla="*/ 716232 h 865822"/>
              <a:gd name="connsiteX7" fmla="*/ 637366 w 857250"/>
              <a:gd name="connsiteY7" fmla="*/ 717090 h 865822"/>
              <a:gd name="connsiteX8" fmla="*/ 706803 w 857250"/>
              <a:gd name="connsiteY8" fmla="*/ 764238 h 865822"/>
              <a:gd name="connsiteX9" fmla="*/ 767667 w 857250"/>
              <a:gd name="connsiteY9" fmla="*/ 701659 h 865822"/>
              <a:gd name="connsiteX10" fmla="*/ 718804 w 857250"/>
              <a:gd name="connsiteY10" fmla="*/ 630507 h 865822"/>
              <a:gd name="connsiteX11" fmla="*/ 747094 w 857250"/>
              <a:gd name="connsiteY11" fmla="*/ 581644 h 865822"/>
              <a:gd name="connsiteX12" fmla="*/ 748808 w 857250"/>
              <a:gd name="connsiteY12" fmla="*/ 581644 h 865822"/>
              <a:gd name="connsiteX13" fmla="*/ 832819 w 857250"/>
              <a:gd name="connsiteY13" fmla="*/ 590216 h 865822"/>
              <a:gd name="connsiteX14" fmla="*/ 855964 w 857250"/>
              <a:gd name="connsiteY14" fmla="*/ 506206 h 865822"/>
              <a:gd name="connsiteX15" fmla="*/ 778812 w 857250"/>
              <a:gd name="connsiteY15" fmla="*/ 466772 h 865822"/>
              <a:gd name="connsiteX16" fmla="*/ 779669 w 857250"/>
              <a:gd name="connsiteY16" fmla="*/ 410194 h 865822"/>
              <a:gd name="connsiteX17" fmla="*/ 781384 w 857250"/>
              <a:gd name="connsiteY17" fmla="*/ 410194 h 865822"/>
              <a:gd name="connsiteX18" fmla="*/ 856822 w 857250"/>
              <a:gd name="connsiteY18" fmla="*/ 378476 h 865822"/>
              <a:gd name="connsiteX19" fmla="*/ 837105 w 857250"/>
              <a:gd name="connsiteY19" fmla="*/ 294465 h 865822"/>
              <a:gd name="connsiteX20" fmla="*/ 751380 w 857250"/>
              <a:gd name="connsiteY20" fmla="*/ 297894 h 865822"/>
              <a:gd name="connsiteX21" fmla="*/ 716232 w 857250"/>
              <a:gd name="connsiteY21" fmla="*/ 233601 h 865822"/>
              <a:gd name="connsiteX22" fmla="*/ 717947 w 857250"/>
              <a:gd name="connsiteY22" fmla="*/ 232743 h 865822"/>
              <a:gd name="connsiteX23" fmla="*/ 766810 w 857250"/>
              <a:gd name="connsiteY23" fmla="*/ 163306 h 865822"/>
              <a:gd name="connsiteX24" fmla="*/ 705946 w 857250"/>
              <a:gd name="connsiteY24" fmla="*/ 101584 h 865822"/>
              <a:gd name="connsiteX25" fmla="*/ 633937 w 857250"/>
              <a:gd name="connsiteY25" fmla="*/ 149590 h 865822"/>
              <a:gd name="connsiteX26" fmla="*/ 559356 w 857250"/>
              <a:gd name="connsiteY26" fmla="*/ 109299 h 865822"/>
              <a:gd name="connsiteX27" fmla="*/ 559356 w 857250"/>
              <a:gd name="connsiteY27" fmla="*/ 107585 h 865822"/>
              <a:gd name="connsiteX28" fmla="*/ 561927 w 857250"/>
              <a:gd name="connsiteY28" fmla="*/ 23574 h 865822"/>
              <a:gd name="connsiteX29" fmla="*/ 477060 w 857250"/>
              <a:gd name="connsiteY29" fmla="*/ 6429 h 865822"/>
              <a:gd name="connsiteX30" fmla="*/ 443627 w 857250"/>
              <a:gd name="connsiteY30" fmla="*/ 87011 h 865822"/>
              <a:gd name="connsiteX31" fmla="*/ 443627 w 857250"/>
              <a:gd name="connsiteY31" fmla="*/ 87011 h 865822"/>
              <a:gd name="connsiteX32" fmla="*/ 387906 w 857250"/>
              <a:gd name="connsiteY32" fmla="*/ 89582 h 865822"/>
              <a:gd name="connsiteX33" fmla="*/ 387049 w 857250"/>
              <a:gd name="connsiteY33" fmla="*/ 87868 h 865822"/>
              <a:gd name="connsiteX34" fmla="*/ 346758 w 857250"/>
              <a:gd name="connsiteY34" fmla="*/ 13287 h 865822"/>
              <a:gd name="connsiteX35" fmla="*/ 263604 w 857250"/>
              <a:gd name="connsiteY35" fmla="*/ 39005 h 865822"/>
              <a:gd name="connsiteX36" fmla="*/ 273034 w 857250"/>
              <a:gd name="connsiteY36" fmla="*/ 125587 h 865822"/>
              <a:gd name="connsiteX37" fmla="*/ 273034 w 857250"/>
              <a:gd name="connsiteY37" fmla="*/ 126444 h 865822"/>
              <a:gd name="connsiteX38" fmla="*/ 225885 w 857250"/>
              <a:gd name="connsiteY38" fmla="*/ 155591 h 865822"/>
              <a:gd name="connsiteX39" fmla="*/ 224171 w 857250"/>
              <a:gd name="connsiteY39" fmla="*/ 153876 h 865822"/>
              <a:gd name="connsiteX40" fmla="*/ 154734 w 857250"/>
              <a:gd name="connsiteY40" fmla="*/ 106727 h 865822"/>
              <a:gd name="connsiteX41" fmla="*/ 93869 w 857250"/>
              <a:gd name="connsiteY41" fmla="*/ 169307 h 865822"/>
              <a:gd name="connsiteX42" fmla="*/ 143589 w 857250"/>
              <a:gd name="connsiteY42" fmla="*/ 241316 h 865822"/>
              <a:gd name="connsiteX43" fmla="*/ 144447 w 857250"/>
              <a:gd name="connsiteY43" fmla="*/ 242173 h 865822"/>
              <a:gd name="connsiteX44" fmla="*/ 117015 w 857250"/>
              <a:gd name="connsiteY44" fmla="*/ 290179 h 865822"/>
              <a:gd name="connsiteX45" fmla="*/ 113586 w 857250"/>
              <a:gd name="connsiteY45" fmla="*/ 289322 h 865822"/>
              <a:gd name="connsiteX46" fmla="*/ 29575 w 857250"/>
              <a:gd name="connsiteY46" fmla="*/ 280749 h 865822"/>
              <a:gd name="connsiteX47" fmla="*/ 6429 w 857250"/>
              <a:gd name="connsiteY47" fmla="*/ 364760 h 865822"/>
              <a:gd name="connsiteX48" fmla="*/ 84439 w 857250"/>
              <a:gd name="connsiteY48" fmla="*/ 403336 h 865822"/>
              <a:gd name="connsiteX49" fmla="*/ 87011 w 857250"/>
              <a:gd name="connsiteY49" fmla="*/ 409337 h 865822"/>
              <a:gd name="connsiteX50" fmla="*/ 87868 w 857250"/>
              <a:gd name="connsiteY50" fmla="*/ 471059 h 865822"/>
              <a:gd name="connsiteX51" fmla="*/ 84439 w 857250"/>
              <a:gd name="connsiteY51" fmla="*/ 471916 h 865822"/>
              <a:gd name="connsiteX52" fmla="*/ 14145 w 857250"/>
              <a:gd name="connsiteY52" fmla="*/ 490776 h 865822"/>
              <a:gd name="connsiteX53" fmla="*/ 33861 w 857250"/>
              <a:gd name="connsiteY53" fmla="*/ 575643 h 865822"/>
              <a:gd name="connsiteX54" fmla="*/ 115300 w 857250"/>
              <a:gd name="connsiteY54" fmla="*/ 573929 h 865822"/>
              <a:gd name="connsiteX55" fmla="*/ 113586 w 857250"/>
              <a:gd name="connsiteY55" fmla="*/ 573929 h 865822"/>
              <a:gd name="connsiteX56" fmla="*/ 147019 w 857250"/>
              <a:gd name="connsiteY56" fmla="*/ 637365 h 865822"/>
              <a:gd name="connsiteX57" fmla="*/ 144447 w 857250"/>
              <a:gd name="connsiteY57" fmla="*/ 639937 h 865822"/>
              <a:gd name="connsiteX58" fmla="*/ 95584 w 857250"/>
              <a:gd name="connsiteY58" fmla="*/ 708517 h 865822"/>
              <a:gd name="connsiteX59" fmla="*/ 156448 w 857250"/>
              <a:gd name="connsiteY59" fmla="*/ 770239 h 865822"/>
              <a:gd name="connsiteX60" fmla="*/ 228457 w 857250"/>
              <a:gd name="connsiteY60" fmla="*/ 722233 h 865822"/>
              <a:gd name="connsiteX61" fmla="*/ 229314 w 857250"/>
              <a:gd name="connsiteY61" fmla="*/ 721376 h 865822"/>
              <a:gd name="connsiteX62" fmla="*/ 303038 w 857250"/>
              <a:gd name="connsiteY62" fmla="*/ 761666 h 865822"/>
              <a:gd name="connsiteX63" fmla="*/ 302181 w 857250"/>
              <a:gd name="connsiteY63" fmla="*/ 764238 h 865822"/>
              <a:gd name="connsiteX64" fmla="*/ 299609 w 857250"/>
              <a:gd name="connsiteY64" fmla="*/ 848249 h 865822"/>
              <a:gd name="connsiteX65" fmla="*/ 384477 w 857250"/>
              <a:gd name="connsiteY65" fmla="*/ 866251 h 865822"/>
              <a:gd name="connsiteX66" fmla="*/ 418767 w 857250"/>
              <a:gd name="connsiteY66" fmla="*/ 783098 h 865822"/>
              <a:gd name="connsiteX67" fmla="*/ 418767 w 857250"/>
              <a:gd name="connsiteY67" fmla="*/ 783098 h 865822"/>
              <a:gd name="connsiteX68" fmla="*/ 150448 w 857250"/>
              <a:gd name="connsiteY68" fmla="*/ 501920 h 865822"/>
              <a:gd name="connsiteX69" fmla="*/ 364760 w 857250"/>
              <a:gd name="connsiteY69" fmla="*/ 154734 h 865822"/>
              <a:gd name="connsiteX70" fmla="*/ 711946 w 857250"/>
              <a:gd name="connsiteY70" fmla="*/ 369046 h 865822"/>
              <a:gd name="connsiteX71" fmla="*/ 497634 w 857250"/>
              <a:gd name="connsiteY71" fmla="*/ 716232 h 865822"/>
              <a:gd name="connsiteX72" fmla="*/ 150448 w 857250"/>
              <a:gd name="connsiteY72" fmla="*/ 501920 h 86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7250" h="865822">
                <a:moveTo>
                  <a:pt x="418767" y="783098"/>
                </a:moveTo>
                <a:cubicBezTo>
                  <a:pt x="436769" y="783955"/>
                  <a:pt x="455629" y="783098"/>
                  <a:pt x="474488" y="780526"/>
                </a:cubicBezTo>
                <a:lnTo>
                  <a:pt x="475345" y="782241"/>
                </a:lnTo>
                <a:lnTo>
                  <a:pt x="513921" y="857679"/>
                </a:lnTo>
                <a:lnTo>
                  <a:pt x="597075" y="831961"/>
                </a:lnTo>
                <a:lnTo>
                  <a:pt x="588502" y="745379"/>
                </a:lnTo>
                <a:cubicBezTo>
                  <a:pt x="605647" y="736806"/>
                  <a:pt x="621078" y="727376"/>
                  <a:pt x="636508" y="716232"/>
                </a:cubicBezTo>
                <a:lnTo>
                  <a:pt x="637366" y="717090"/>
                </a:lnTo>
                <a:lnTo>
                  <a:pt x="706803" y="764238"/>
                </a:lnTo>
                <a:lnTo>
                  <a:pt x="767667" y="701659"/>
                </a:lnTo>
                <a:lnTo>
                  <a:pt x="718804" y="630507"/>
                </a:lnTo>
                <a:cubicBezTo>
                  <a:pt x="729091" y="615077"/>
                  <a:pt x="738521" y="598789"/>
                  <a:pt x="747094" y="581644"/>
                </a:cubicBezTo>
                <a:lnTo>
                  <a:pt x="748808" y="581644"/>
                </a:lnTo>
                <a:lnTo>
                  <a:pt x="832819" y="590216"/>
                </a:lnTo>
                <a:lnTo>
                  <a:pt x="855964" y="506206"/>
                </a:lnTo>
                <a:lnTo>
                  <a:pt x="778812" y="466772"/>
                </a:lnTo>
                <a:cubicBezTo>
                  <a:pt x="780526" y="447913"/>
                  <a:pt x="783098" y="437626"/>
                  <a:pt x="779669" y="410194"/>
                </a:cubicBezTo>
                <a:lnTo>
                  <a:pt x="781384" y="410194"/>
                </a:lnTo>
                <a:lnTo>
                  <a:pt x="856822" y="378476"/>
                </a:lnTo>
                <a:lnTo>
                  <a:pt x="837105" y="294465"/>
                </a:lnTo>
                <a:lnTo>
                  <a:pt x="751380" y="297894"/>
                </a:lnTo>
                <a:cubicBezTo>
                  <a:pt x="741950" y="274749"/>
                  <a:pt x="729949" y="253317"/>
                  <a:pt x="716232" y="233601"/>
                </a:cubicBezTo>
                <a:lnTo>
                  <a:pt x="717947" y="232743"/>
                </a:lnTo>
                <a:lnTo>
                  <a:pt x="766810" y="163306"/>
                </a:lnTo>
                <a:lnTo>
                  <a:pt x="705946" y="101584"/>
                </a:lnTo>
                <a:lnTo>
                  <a:pt x="633937" y="149590"/>
                </a:lnTo>
                <a:cubicBezTo>
                  <a:pt x="610791" y="133302"/>
                  <a:pt x="585931" y="119586"/>
                  <a:pt x="559356" y="109299"/>
                </a:cubicBezTo>
                <a:lnTo>
                  <a:pt x="559356" y="107585"/>
                </a:lnTo>
                <a:lnTo>
                  <a:pt x="561927" y="23574"/>
                </a:lnTo>
                <a:lnTo>
                  <a:pt x="477060" y="6429"/>
                </a:lnTo>
                <a:lnTo>
                  <a:pt x="443627" y="87011"/>
                </a:lnTo>
                <a:lnTo>
                  <a:pt x="443627" y="87011"/>
                </a:lnTo>
                <a:cubicBezTo>
                  <a:pt x="425625" y="86154"/>
                  <a:pt x="406765" y="87011"/>
                  <a:pt x="387906" y="89582"/>
                </a:cubicBezTo>
                <a:lnTo>
                  <a:pt x="387049" y="87868"/>
                </a:lnTo>
                <a:lnTo>
                  <a:pt x="346758" y="13287"/>
                </a:lnTo>
                <a:lnTo>
                  <a:pt x="263604" y="39005"/>
                </a:lnTo>
                <a:lnTo>
                  <a:pt x="273034" y="125587"/>
                </a:lnTo>
                <a:lnTo>
                  <a:pt x="273034" y="126444"/>
                </a:lnTo>
                <a:cubicBezTo>
                  <a:pt x="256746" y="135017"/>
                  <a:pt x="240459" y="144446"/>
                  <a:pt x="225885" y="155591"/>
                </a:cubicBezTo>
                <a:lnTo>
                  <a:pt x="224171" y="153876"/>
                </a:lnTo>
                <a:lnTo>
                  <a:pt x="154734" y="106727"/>
                </a:lnTo>
                <a:lnTo>
                  <a:pt x="93869" y="169307"/>
                </a:lnTo>
                <a:lnTo>
                  <a:pt x="143589" y="241316"/>
                </a:lnTo>
                <a:lnTo>
                  <a:pt x="144447" y="242173"/>
                </a:lnTo>
                <a:cubicBezTo>
                  <a:pt x="134160" y="257604"/>
                  <a:pt x="124730" y="273034"/>
                  <a:pt x="117015" y="290179"/>
                </a:cubicBezTo>
                <a:lnTo>
                  <a:pt x="113586" y="289322"/>
                </a:lnTo>
                <a:lnTo>
                  <a:pt x="29575" y="280749"/>
                </a:lnTo>
                <a:lnTo>
                  <a:pt x="6429" y="364760"/>
                </a:lnTo>
                <a:lnTo>
                  <a:pt x="84439" y="403336"/>
                </a:lnTo>
                <a:lnTo>
                  <a:pt x="87011" y="409337"/>
                </a:lnTo>
                <a:cubicBezTo>
                  <a:pt x="85296" y="427339"/>
                  <a:pt x="84439" y="442770"/>
                  <a:pt x="87868" y="471059"/>
                </a:cubicBezTo>
                <a:lnTo>
                  <a:pt x="84439" y="471916"/>
                </a:lnTo>
                <a:lnTo>
                  <a:pt x="14145" y="490776"/>
                </a:lnTo>
                <a:lnTo>
                  <a:pt x="33861" y="575643"/>
                </a:lnTo>
                <a:lnTo>
                  <a:pt x="115300" y="573929"/>
                </a:lnTo>
                <a:lnTo>
                  <a:pt x="113586" y="573929"/>
                </a:lnTo>
                <a:cubicBezTo>
                  <a:pt x="123015" y="596217"/>
                  <a:pt x="133303" y="617649"/>
                  <a:pt x="147019" y="637365"/>
                </a:cubicBezTo>
                <a:lnTo>
                  <a:pt x="144447" y="639937"/>
                </a:lnTo>
                <a:lnTo>
                  <a:pt x="95584" y="708517"/>
                </a:lnTo>
                <a:lnTo>
                  <a:pt x="156448" y="770239"/>
                </a:lnTo>
                <a:lnTo>
                  <a:pt x="228457" y="722233"/>
                </a:lnTo>
                <a:lnTo>
                  <a:pt x="229314" y="721376"/>
                </a:lnTo>
                <a:cubicBezTo>
                  <a:pt x="252460" y="737664"/>
                  <a:pt x="276463" y="751380"/>
                  <a:pt x="303038" y="761666"/>
                </a:cubicBezTo>
                <a:lnTo>
                  <a:pt x="302181" y="764238"/>
                </a:lnTo>
                <a:lnTo>
                  <a:pt x="299609" y="848249"/>
                </a:lnTo>
                <a:lnTo>
                  <a:pt x="384477" y="866251"/>
                </a:lnTo>
                <a:lnTo>
                  <a:pt x="418767" y="783098"/>
                </a:lnTo>
                <a:lnTo>
                  <a:pt x="418767" y="783098"/>
                </a:lnTo>
                <a:close/>
                <a:moveTo>
                  <a:pt x="150448" y="501920"/>
                </a:moveTo>
                <a:cubicBezTo>
                  <a:pt x="113586" y="346757"/>
                  <a:pt x="209598" y="191595"/>
                  <a:pt x="364760" y="154734"/>
                </a:cubicBezTo>
                <a:cubicBezTo>
                  <a:pt x="519922" y="117872"/>
                  <a:pt x="675084" y="213884"/>
                  <a:pt x="711946" y="369046"/>
                </a:cubicBezTo>
                <a:cubicBezTo>
                  <a:pt x="748808" y="524208"/>
                  <a:pt x="652796" y="679371"/>
                  <a:pt x="497634" y="716232"/>
                </a:cubicBezTo>
                <a:cubicBezTo>
                  <a:pt x="342471" y="753094"/>
                  <a:pt x="187309" y="657082"/>
                  <a:pt x="150448" y="501920"/>
                </a:cubicBezTo>
                <a:close/>
              </a:path>
            </a:pathLst>
          </a:custGeom>
          <a:solidFill>
            <a:srgbClr val="FF6969"/>
          </a:solidFill>
          <a:ln w="9525" cap="flat">
            <a:noFill/>
            <a:prstDash val="solid"/>
            <a:miter/>
          </a:ln>
        </p:spPr>
        <p:txBody>
          <a:bodyPr rtlCol="0" anchor="ctr"/>
          <a:lstStyle/>
          <a:p>
            <a:endParaRPr lang="zh-CN" altLang="en-US"/>
          </a:p>
        </p:txBody>
      </p:sp>
      <p:sp>
        <p:nvSpPr>
          <p:cNvPr id="15" name="任意多边形: 形状 14">
            <a:extLst>
              <a:ext uri="{FF2B5EF4-FFF2-40B4-BE49-F238E27FC236}">
                <a16:creationId xmlns:a16="http://schemas.microsoft.com/office/drawing/2014/main" id="{9F6D96BC-F157-439A-BF07-91323BF2F50E}"/>
              </a:ext>
            </a:extLst>
          </p:cNvPr>
          <p:cNvSpPr/>
          <p:nvPr userDrawn="1"/>
        </p:nvSpPr>
        <p:spPr>
          <a:xfrm>
            <a:off x="8669842" y="2195508"/>
            <a:ext cx="518663" cy="518663"/>
          </a:xfrm>
          <a:custGeom>
            <a:avLst/>
            <a:gdLst>
              <a:gd name="connsiteX0" fmla="*/ 381356 w 540067"/>
              <a:gd name="connsiteY0" fmla="*/ 518516 h 540067"/>
              <a:gd name="connsiteX1" fmla="*/ 518516 w 540067"/>
              <a:gd name="connsiteY1" fmla="*/ 166186 h 540067"/>
              <a:gd name="connsiteX2" fmla="*/ 166186 w 540067"/>
              <a:gd name="connsiteY2" fmla="*/ 29026 h 540067"/>
              <a:gd name="connsiteX3" fmla="*/ 29026 w 540067"/>
              <a:gd name="connsiteY3" fmla="*/ 381356 h 540067"/>
              <a:gd name="connsiteX4" fmla="*/ 381356 w 540067"/>
              <a:gd name="connsiteY4" fmla="*/ 518516 h 540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67" h="540067">
                <a:moveTo>
                  <a:pt x="381356" y="518516"/>
                </a:moveTo>
                <a:cubicBezTo>
                  <a:pt x="516802" y="459366"/>
                  <a:pt x="577666" y="300775"/>
                  <a:pt x="518516" y="166186"/>
                </a:cubicBezTo>
                <a:cubicBezTo>
                  <a:pt x="459366" y="30741"/>
                  <a:pt x="300775" y="-30124"/>
                  <a:pt x="166186" y="29026"/>
                </a:cubicBezTo>
                <a:cubicBezTo>
                  <a:pt x="30741" y="88177"/>
                  <a:pt x="-30124" y="246768"/>
                  <a:pt x="29026" y="381356"/>
                </a:cubicBezTo>
                <a:cubicBezTo>
                  <a:pt x="88177" y="515944"/>
                  <a:pt x="245911" y="577666"/>
                  <a:pt x="381356" y="518516"/>
                </a:cubicBezTo>
                <a:close/>
              </a:path>
            </a:pathLst>
          </a:custGeom>
          <a:solidFill>
            <a:srgbClr val="52FFEA"/>
          </a:solidFill>
          <a:ln w="9525" cap="flat">
            <a:noFill/>
            <a:prstDash val="solid"/>
            <a:miter/>
          </a:ln>
        </p:spPr>
        <p:txBody>
          <a:bodyPr rtlCol="0" anchor="ctr"/>
          <a:lstStyle/>
          <a:p>
            <a:endParaRPr lang="zh-CN" altLang="en-US"/>
          </a:p>
        </p:txBody>
      </p:sp>
      <p:sp>
        <p:nvSpPr>
          <p:cNvPr id="16" name="任意多边形: 形状 15">
            <a:extLst>
              <a:ext uri="{FF2B5EF4-FFF2-40B4-BE49-F238E27FC236}">
                <a16:creationId xmlns:a16="http://schemas.microsoft.com/office/drawing/2014/main" id="{9734CC28-C3F3-4614-9929-4525399211CF}"/>
              </a:ext>
            </a:extLst>
          </p:cNvPr>
          <p:cNvSpPr/>
          <p:nvPr userDrawn="1"/>
        </p:nvSpPr>
        <p:spPr>
          <a:xfrm>
            <a:off x="8485725" y="2016331"/>
            <a:ext cx="889135" cy="880903"/>
          </a:xfrm>
          <a:custGeom>
            <a:avLst/>
            <a:gdLst>
              <a:gd name="connsiteX0" fmla="*/ 519065 w 925830"/>
              <a:gd name="connsiteY0" fmla="*/ 825103 h 917257"/>
              <a:gd name="connsiteX1" fmla="*/ 576500 w 925830"/>
              <a:gd name="connsiteY1" fmla="*/ 812244 h 917257"/>
              <a:gd name="connsiteX2" fmla="*/ 577358 w 925830"/>
              <a:gd name="connsiteY2" fmla="*/ 813959 h 917257"/>
              <a:gd name="connsiteX3" fmla="*/ 631365 w 925830"/>
              <a:gd name="connsiteY3" fmla="*/ 885111 h 917257"/>
              <a:gd name="connsiteX4" fmla="*/ 712803 w 925830"/>
              <a:gd name="connsiteY4" fmla="*/ 842248 h 917257"/>
              <a:gd name="connsiteX5" fmla="*/ 687086 w 925830"/>
              <a:gd name="connsiteY5" fmla="*/ 753952 h 917257"/>
              <a:gd name="connsiteX6" fmla="*/ 731663 w 925830"/>
              <a:gd name="connsiteY6" fmla="*/ 714518 h 917257"/>
              <a:gd name="connsiteX7" fmla="*/ 733378 w 925830"/>
              <a:gd name="connsiteY7" fmla="*/ 715375 h 917257"/>
              <a:gd name="connsiteX8" fmla="*/ 815673 w 925830"/>
              <a:gd name="connsiteY8" fmla="*/ 751380 h 917257"/>
              <a:gd name="connsiteX9" fmla="*/ 867108 w 925830"/>
              <a:gd name="connsiteY9" fmla="*/ 675084 h 917257"/>
              <a:gd name="connsiteX10" fmla="*/ 801958 w 925830"/>
              <a:gd name="connsiteY10" fmla="*/ 609933 h 917257"/>
              <a:gd name="connsiteX11" fmla="*/ 821674 w 925830"/>
              <a:gd name="connsiteY11" fmla="*/ 553355 h 917257"/>
              <a:gd name="connsiteX12" fmla="*/ 823389 w 925830"/>
              <a:gd name="connsiteY12" fmla="*/ 553355 h 917257"/>
              <a:gd name="connsiteX13" fmla="*/ 912542 w 925830"/>
              <a:gd name="connsiteY13" fmla="*/ 545640 h 917257"/>
              <a:gd name="connsiteX14" fmla="*/ 920258 w 925830"/>
              <a:gd name="connsiteY14" fmla="*/ 453914 h 917257"/>
              <a:gd name="connsiteX15" fmla="*/ 831961 w 925830"/>
              <a:gd name="connsiteY15" fmla="*/ 428196 h 917257"/>
              <a:gd name="connsiteX16" fmla="*/ 821674 w 925830"/>
              <a:gd name="connsiteY16" fmla="*/ 369046 h 917257"/>
              <a:gd name="connsiteX17" fmla="*/ 823389 w 925830"/>
              <a:gd name="connsiteY17" fmla="*/ 368189 h 917257"/>
              <a:gd name="connsiteX18" fmla="*/ 896255 w 925830"/>
              <a:gd name="connsiteY18" fmla="*/ 321040 h 917257"/>
              <a:gd name="connsiteX19" fmla="*/ 859393 w 925830"/>
              <a:gd name="connsiteY19" fmla="*/ 237030 h 917257"/>
              <a:gd name="connsiteX20" fmla="*/ 771096 w 925830"/>
              <a:gd name="connsiteY20" fmla="*/ 256746 h 917257"/>
              <a:gd name="connsiteX21" fmla="*/ 722233 w 925830"/>
              <a:gd name="connsiteY21" fmla="*/ 196739 h 917257"/>
              <a:gd name="connsiteX22" fmla="*/ 723090 w 925830"/>
              <a:gd name="connsiteY22" fmla="*/ 195024 h 917257"/>
              <a:gd name="connsiteX23" fmla="*/ 760809 w 925830"/>
              <a:gd name="connsiteY23" fmla="*/ 113586 h 917257"/>
              <a:gd name="connsiteX24" fmla="*/ 685371 w 925830"/>
              <a:gd name="connsiteY24" fmla="*/ 61293 h 917257"/>
              <a:gd name="connsiteX25" fmla="*/ 619363 w 925830"/>
              <a:gd name="connsiteY25" fmla="*/ 125587 h 917257"/>
              <a:gd name="connsiteX26" fmla="*/ 534495 w 925830"/>
              <a:gd name="connsiteY26" fmla="*/ 98155 h 917257"/>
              <a:gd name="connsiteX27" fmla="*/ 534495 w 925830"/>
              <a:gd name="connsiteY27" fmla="*/ 96441 h 917257"/>
              <a:gd name="connsiteX28" fmla="*/ 520779 w 925830"/>
              <a:gd name="connsiteY28" fmla="*/ 8144 h 917257"/>
              <a:gd name="connsiteX29" fmla="*/ 429054 w 925830"/>
              <a:gd name="connsiteY29" fmla="*/ 6429 h 917257"/>
              <a:gd name="connsiteX30" fmla="*/ 409337 w 925830"/>
              <a:gd name="connsiteY30" fmla="*/ 96441 h 917257"/>
              <a:gd name="connsiteX31" fmla="*/ 409337 w 925830"/>
              <a:gd name="connsiteY31" fmla="*/ 96441 h 917257"/>
              <a:gd name="connsiteX32" fmla="*/ 351901 w 925830"/>
              <a:gd name="connsiteY32" fmla="*/ 109299 h 917257"/>
              <a:gd name="connsiteX33" fmla="*/ 351044 w 925830"/>
              <a:gd name="connsiteY33" fmla="*/ 107585 h 917257"/>
              <a:gd name="connsiteX34" fmla="*/ 296180 w 925830"/>
              <a:gd name="connsiteY34" fmla="*/ 36433 h 917257"/>
              <a:gd name="connsiteX35" fmla="*/ 214741 w 925830"/>
              <a:gd name="connsiteY35" fmla="*/ 79296 h 917257"/>
              <a:gd name="connsiteX36" fmla="*/ 240459 w 925830"/>
              <a:gd name="connsiteY36" fmla="*/ 167592 h 917257"/>
              <a:gd name="connsiteX37" fmla="*/ 240459 w 925830"/>
              <a:gd name="connsiteY37" fmla="*/ 168450 h 917257"/>
              <a:gd name="connsiteX38" fmla="*/ 196739 w 925830"/>
              <a:gd name="connsiteY38" fmla="*/ 207883 h 917257"/>
              <a:gd name="connsiteX39" fmla="*/ 194167 w 925830"/>
              <a:gd name="connsiteY39" fmla="*/ 206169 h 917257"/>
              <a:gd name="connsiteX40" fmla="*/ 111871 w 925830"/>
              <a:gd name="connsiteY40" fmla="*/ 170164 h 917257"/>
              <a:gd name="connsiteX41" fmla="*/ 60436 w 925830"/>
              <a:gd name="connsiteY41" fmla="*/ 246459 h 917257"/>
              <a:gd name="connsiteX42" fmla="*/ 125587 w 925830"/>
              <a:gd name="connsiteY42" fmla="*/ 311610 h 917257"/>
              <a:gd name="connsiteX43" fmla="*/ 126444 w 925830"/>
              <a:gd name="connsiteY43" fmla="*/ 312468 h 917257"/>
              <a:gd name="connsiteX44" fmla="*/ 106727 w 925830"/>
              <a:gd name="connsiteY44" fmla="*/ 368189 h 917257"/>
              <a:gd name="connsiteX45" fmla="*/ 103299 w 925830"/>
              <a:gd name="connsiteY45" fmla="*/ 368189 h 917257"/>
              <a:gd name="connsiteX46" fmla="*/ 14145 w 925830"/>
              <a:gd name="connsiteY46" fmla="*/ 375904 h 917257"/>
              <a:gd name="connsiteX47" fmla="*/ 6429 w 925830"/>
              <a:gd name="connsiteY47" fmla="*/ 467630 h 917257"/>
              <a:gd name="connsiteX48" fmla="*/ 95583 w 925830"/>
              <a:gd name="connsiteY48" fmla="*/ 493348 h 917257"/>
              <a:gd name="connsiteX49" fmla="*/ 99013 w 925830"/>
              <a:gd name="connsiteY49" fmla="*/ 499348 h 917257"/>
              <a:gd name="connsiteX50" fmla="*/ 111014 w 925830"/>
              <a:gd name="connsiteY50" fmla="*/ 563642 h 917257"/>
              <a:gd name="connsiteX51" fmla="*/ 107585 w 925830"/>
              <a:gd name="connsiteY51" fmla="*/ 565357 h 917257"/>
              <a:gd name="connsiteX52" fmla="*/ 38147 w 925830"/>
              <a:gd name="connsiteY52" fmla="*/ 598789 h 917257"/>
              <a:gd name="connsiteX53" fmla="*/ 75009 w 925830"/>
              <a:gd name="connsiteY53" fmla="*/ 682800 h 917257"/>
              <a:gd name="connsiteX54" fmla="*/ 159877 w 925830"/>
              <a:gd name="connsiteY54" fmla="*/ 664798 h 917257"/>
              <a:gd name="connsiteX55" fmla="*/ 158162 w 925830"/>
              <a:gd name="connsiteY55" fmla="*/ 665655 h 917257"/>
              <a:gd name="connsiteX56" fmla="*/ 205311 w 925830"/>
              <a:gd name="connsiteY56" fmla="*/ 725662 h 917257"/>
              <a:gd name="connsiteX57" fmla="*/ 202740 w 925830"/>
              <a:gd name="connsiteY57" fmla="*/ 729091 h 917257"/>
              <a:gd name="connsiteX58" fmla="*/ 165020 w 925830"/>
              <a:gd name="connsiteY58" fmla="*/ 810530 h 917257"/>
              <a:gd name="connsiteX59" fmla="*/ 240459 w 925830"/>
              <a:gd name="connsiteY59" fmla="*/ 862822 h 917257"/>
              <a:gd name="connsiteX60" fmla="*/ 306467 w 925830"/>
              <a:gd name="connsiteY60" fmla="*/ 798528 h 917257"/>
              <a:gd name="connsiteX61" fmla="*/ 306467 w 925830"/>
              <a:gd name="connsiteY61" fmla="*/ 797671 h 917257"/>
              <a:gd name="connsiteX62" fmla="*/ 391335 w 925830"/>
              <a:gd name="connsiteY62" fmla="*/ 825103 h 917257"/>
              <a:gd name="connsiteX63" fmla="*/ 391335 w 925830"/>
              <a:gd name="connsiteY63" fmla="*/ 827675 h 917257"/>
              <a:gd name="connsiteX64" fmla="*/ 405050 w 925830"/>
              <a:gd name="connsiteY64" fmla="*/ 915972 h 917257"/>
              <a:gd name="connsiteX65" fmla="*/ 496776 w 925830"/>
              <a:gd name="connsiteY65" fmla="*/ 917686 h 917257"/>
              <a:gd name="connsiteX66" fmla="*/ 519065 w 925830"/>
              <a:gd name="connsiteY66" fmla="*/ 825103 h 917257"/>
              <a:gd name="connsiteX67" fmla="*/ 519065 w 925830"/>
              <a:gd name="connsiteY67" fmla="*/ 825103 h 917257"/>
              <a:gd name="connsiteX68" fmla="*/ 184738 w 925830"/>
              <a:gd name="connsiteY68" fmla="*/ 583359 h 917257"/>
              <a:gd name="connsiteX69" fmla="*/ 341614 w 925830"/>
              <a:gd name="connsiteY69" fmla="*/ 179594 h 917257"/>
              <a:gd name="connsiteX70" fmla="*/ 745379 w 925830"/>
              <a:gd name="connsiteY70" fmla="*/ 336471 h 917257"/>
              <a:gd name="connsiteX71" fmla="*/ 588502 w 925830"/>
              <a:gd name="connsiteY71" fmla="*/ 740235 h 917257"/>
              <a:gd name="connsiteX72" fmla="*/ 184738 w 925830"/>
              <a:gd name="connsiteY72" fmla="*/ 583359 h 91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25830" h="917257">
                <a:moveTo>
                  <a:pt x="519065" y="825103"/>
                </a:moveTo>
                <a:cubicBezTo>
                  <a:pt x="538782" y="822532"/>
                  <a:pt x="557641" y="818245"/>
                  <a:pt x="576500" y="812244"/>
                </a:cubicBezTo>
                <a:lnTo>
                  <a:pt x="577358" y="813959"/>
                </a:lnTo>
                <a:lnTo>
                  <a:pt x="631365" y="885111"/>
                </a:lnTo>
                <a:lnTo>
                  <a:pt x="712803" y="842248"/>
                </a:lnTo>
                <a:lnTo>
                  <a:pt x="687086" y="753952"/>
                </a:lnTo>
                <a:cubicBezTo>
                  <a:pt x="703374" y="741950"/>
                  <a:pt x="717947" y="729091"/>
                  <a:pt x="731663" y="714518"/>
                </a:cubicBezTo>
                <a:lnTo>
                  <a:pt x="733378" y="715375"/>
                </a:lnTo>
                <a:lnTo>
                  <a:pt x="815673" y="751380"/>
                </a:lnTo>
                <a:lnTo>
                  <a:pt x="867108" y="675084"/>
                </a:lnTo>
                <a:lnTo>
                  <a:pt x="801958" y="609933"/>
                </a:lnTo>
                <a:cubicBezTo>
                  <a:pt x="809672" y="591931"/>
                  <a:pt x="816530" y="573072"/>
                  <a:pt x="821674" y="553355"/>
                </a:cubicBezTo>
                <a:lnTo>
                  <a:pt x="823389" y="553355"/>
                </a:lnTo>
                <a:lnTo>
                  <a:pt x="912542" y="545640"/>
                </a:lnTo>
                <a:lnTo>
                  <a:pt x="920258" y="453914"/>
                </a:lnTo>
                <a:lnTo>
                  <a:pt x="831961" y="428196"/>
                </a:lnTo>
                <a:cubicBezTo>
                  <a:pt x="830247" y="408480"/>
                  <a:pt x="831104" y="397335"/>
                  <a:pt x="821674" y="369046"/>
                </a:cubicBezTo>
                <a:lnTo>
                  <a:pt x="823389" y="368189"/>
                </a:lnTo>
                <a:lnTo>
                  <a:pt x="896255" y="321040"/>
                </a:lnTo>
                <a:lnTo>
                  <a:pt x="859393" y="237030"/>
                </a:lnTo>
                <a:lnTo>
                  <a:pt x="771096" y="256746"/>
                </a:lnTo>
                <a:cubicBezTo>
                  <a:pt x="756523" y="234458"/>
                  <a:pt x="740235" y="214741"/>
                  <a:pt x="722233" y="196739"/>
                </a:cubicBezTo>
                <a:lnTo>
                  <a:pt x="723090" y="195024"/>
                </a:lnTo>
                <a:lnTo>
                  <a:pt x="760809" y="113586"/>
                </a:lnTo>
                <a:lnTo>
                  <a:pt x="685371" y="61293"/>
                </a:lnTo>
                <a:lnTo>
                  <a:pt x="619363" y="125587"/>
                </a:lnTo>
                <a:cubicBezTo>
                  <a:pt x="591931" y="112728"/>
                  <a:pt x="563642" y="103299"/>
                  <a:pt x="534495" y="98155"/>
                </a:cubicBezTo>
                <a:lnTo>
                  <a:pt x="534495" y="96441"/>
                </a:lnTo>
                <a:lnTo>
                  <a:pt x="520779" y="8144"/>
                </a:lnTo>
                <a:lnTo>
                  <a:pt x="429054" y="6429"/>
                </a:lnTo>
                <a:lnTo>
                  <a:pt x="409337" y="96441"/>
                </a:lnTo>
                <a:lnTo>
                  <a:pt x="409337" y="96441"/>
                </a:lnTo>
                <a:cubicBezTo>
                  <a:pt x="389620" y="99012"/>
                  <a:pt x="370760" y="103299"/>
                  <a:pt x="351901" y="109299"/>
                </a:cubicBezTo>
                <a:lnTo>
                  <a:pt x="351044" y="107585"/>
                </a:lnTo>
                <a:lnTo>
                  <a:pt x="296180" y="36433"/>
                </a:lnTo>
                <a:lnTo>
                  <a:pt x="214741" y="79296"/>
                </a:lnTo>
                <a:lnTo>
                  <a:pt x="240459" y="167592"/>
                </a:lnTo>
                <a:lnTo>
                  <a:pt x="240459" y="168450"/>
                </a:lnTo>
                <a:cubicBezTo>
                  <a:pt x="225028" y="180451"/>
                  <a:pt x="209597" y="193310"/>
                  <a:pt x="196739" y="207883"/>
                </a:cubicBezTo>
                <a:lnTo>
                  <a:pt x="194167" y="206169"/>
                </a:lnTo>
                <a:lnTo>
                  <a:pt x="111871" y="170164"/>
                </a:lnTo>
                <a:lnTo>
                  <a:pt x="60436" y="246459"/>
                </a:lnTo>
                <a:lnTo>
                  <a:pt x="125587" y="311610"/>
                </a:lnTo>
                <a:lnTo>
                  <a:pt x="126444" y="312468"/>
                </a:lnTo>
                <a:cubicBezTo>
                  <a:pt x="118729" y="330470"/>
                  <a:pt x="111871" y="348472"/>
                  <a:pt x="106727" y="368189"/>
                </a:cubicBezTo>
                <a:lnTo>
                  <a:pt x="103299" y="368189"/>
                </a:lnTo>
                <a:lnTo>
                  <a:pt x="14145" y="375904"/>
                </a:lnTo>
                <a:lnTo>
                  <a:pt x="6429" y="467630"/>
                </a:lnTo>
                <a:lnTo>
                  <a:pt x="95583" y="493348"/>
                </a:lnTo>
                <a:lnTo>
                  <a:pt x="99013" y="499348"/>
                </a:lnTo>
                <a:cubicBezTo>
                  <a:pt x="100727" y="519065"/>
                  <a:pt x="102441" y="534495"/>
                  <a:pt x="111014" y="563642"/>
                </a:cubicBezTo>
                <a:lnTo>
                  <a:pt x="107585" y="565357"/>
                </a:lnTo>
                <a:lnTo>
                  <a:pt x="38147" y="598789"/>
                </a:lnTo>
                <a:lnTo>
                  <a:pt x="75009" y="682800"/>
                </a:lnTo>
                <a:lnTo>
                  <a:pt x="159877" y="664798"/>
                </a:lnTo>
                <a:lnTo>
                  <a:pt x="158162" y="665655"/>
                </a:lnTo>
                <a:cubicBezTo>
                  <a:pt x="172736" y="687086"/>
                  <a:pt x="187309" y="707660"/>
                  <a:pt x="205311" y="725662"/>
                </a:cubicBezTo>
                <a:lnTo>
                  <a:pt x="202740" y="729091"/>
                </a:lnTo>
                <a:lnTo>
                  <a:pt x="165020" y="810530"/>
                </a:lnTo>
                <a:lnTo>
                  <a:pt x="240459" y="862822"/>
                </a:lnTo>
                <a:lnTo>
                  <a:pt x="306467" y="798528"/>
                </a:lnTo>
                <a:lnTo>
                  <a:pt x="306467" y="797671"/>
                </a:lnTo>
                <a:cubicBezTo>
                  <a:pt x="333042" y="810530"/>
                  <a:pt x="361331" y="819960"/>
                  <a:pt x="391335" y="825103"/>
                </a:cubicBezTo>
                <a:lnTo>
                  <a:pt x="391335" y="827675"/>
                </a:lnTo>
                <a:lnTo>
                  <a:pt x="405050" y="915972"/>
                </a:lnTo>
                <a:lnTo>
                  <a:pt x="496776" y="917686"/>
                </a:lnTo>
                <a:lnTo>
                  <a:pt x="519065" y="825103"/>
                </a:lnTo>
                <a:lnTo>
                  <a:pt x="519065" y="825103"/>
                </a:lnTo>
                <a:close/>
                <a:moveTo>
                  <a:pt x="184738" y="583359"/>
                </a:moveTo>
                <a:cubicBezTo>
                  <a:pt x="117015" y="428196"/>
                  <a:pt x="187309" y="248174"/>
                  <a:pt x="341614" y="179594"/>
                </a:cubicBezTo>
                <a:cubicBezTo>
                  <a:pt x="496776" y="111871"/>
                  <a:pt x="676799" y="182166"/>
                  <a:pt x="745379" y="336471"/>
                </a:cubicBezTo>
                <a:cubicBezTo>
                  <a:pt x="813102" y="491633"/>
                  <a:pt x="742807" y="671655"/>
                  <a:pt x="588502" y="740235"/>
                </a:cubicBezTo>
                <a:cubicBezTo>
                  <a:pt x="433340" y="807958"/>
                  <a:pt x="252460" y="737664"/>
                  <a:pt x="184738" y="583359"/>
                </a:cubicBezTo>
                <a:close/>
              </a:path>
            </a:pathLst>
          </a:custGeom>
          <a:solidFill>
            <a:srgbClr val="52FFEA"/>
          </a:solidFill>
          <a:ln w="9525" cap="flat">
            <a:noFill/>
            <a:prstDash val="solid"/>
            <a:miter/>
          </a:ln>
        </p:spPr>
        <p:txBody>
          <a:bodyPr rtlCol="0" anchor="ctr"/>
          <a:lstStyle/>
          <a:p>
            <a:endParaRPr lang="zh-CN" altLang="en-US"/>
          </a:p>
        </p:txBody>
      </p:sp>
      <p:sp>
        <p:nvSpPr>
          <p:cNvPr id="17" name="任意多边形: 形状 16">
            <a:extLst>
              <a:ext uri="{FF2B5EF4-FFF2-40B4-BE49-F238E27FC236}">
                <a16:creationId xmlns:a16="http://schemas.microsoft.com/office/drawing/2014/main" id="{2A5131D0-9834-4E89-876B-6594BACC07D4}"/>
              </a:ext>
            </a:extLst>
          </p:cNvPr>
          <p:cNvSpPr/>
          <p:nvPr userDrawn="1"/>
        </p:nvSpPr>
        <p:spPr>
          <a:xfrm>
            <a:off x="7584241" y="2150524"/>
            <a:ext cx="370473" cy="444568"/>
          </a:xfrm>
          <a:custGeom>
            <a:avLst/>
            <a:gdLst>
              <a:gd name="connsiteX0" fmla="*/ 196739 w 385762"/>
              <a:gd name="connsiteY0" fmla="*/ 6429 h 462915"/>
              <a:gd name="connsiteX1" fmla="*/ 6429 w 385762"/>
              <a:gd name="connsiteY1" fmla="*/ 196739 h 462915"/>
              <a:gd name="connsiteX2" fmla="*/ 55292 w 385762"/>
              <a:gd name="connsiteY2" fmla="*/ 323612 h 462915"/>
              <a:gd name="connsiteX3" fmla="*/ 55292 w 385762"/>
              <a:gd name="connsiteY3" fmla="*/ 323612 h 462915"/>
              <a:gd name="connsiteX4" fmla="*/ 56150 w 385762"/>
              <a:gd name="connsiteY4" fmla="*/ 324469 h 462915"/>
              <a:gd name="connsiteX5" fmla="*/ 64722 w 385762"/>
              <a:gd name="connsiteY5" fmla="*/ 333042 h 462915"/>
              <a:gd name="connsiteX6" fmla="*/ 108442 w 385762"/>
              <a:gd name="connsiteY6" fmla="*/ 387906 h 462915"/>
              <a:gd name="connsiteX7" fmla="*/ 163306 w 385762"/>
              <a:gd name="connsiteY7" fmla="*/ 463344 h 462915"/>
              <a:gd name="connsiteX8" fmla="*/ 191595 w 385762"/>
              <a:gd name="connsiteY8" fmla="*/ 463344 h 462915"/>
              <a:gd name="connsiteX9" fmla="*/ 201025 w 385762"/>
              <a:gd name="connsiteY9" fmla="*/ 463344 h 462915"/>
              <a:gd name="connsiteX10" fmla="*/ 229314 w 385762"/>
              <a:gd name="connsiteY10" fmla="*/ 463344 h 462915"/>
              <a:gd name="connsiteX11" fmla="*/ 284178 w 385762"/>
              <a:gd name="connsiteY11" fmla="*/ 387906 h 462915"/>
              <a:gd name="connsiteX12" fmla="*/ 327041 w 385762"/>
              <a:gd name="connsiteY12" fmla="*/ 334756 h 462915"/>
              <a:gd name="connsiteX13" fmla="*/ 386191 w 385762"/>
              <a:gd name="connsiteY13" fmla="*/ 196739 h 462915"/>
              <a:gd name="connsiteX14" fmla="*/ 196739 w 385762"/>
              <a:gd name="connsiteY14" fmla="*/ 6429 h 462915"/>
              <a:gd name="connsiteX15" fmla="*/ 267033 w 385762"/>
              <a:gd name="connsiteY15" fmla="*/ 281607 h 462915"/>
              <a:gd name="connsiteX16" fmla="*/ 243887 w 385762"/>
              <a:gd name="connsiteY16" fmla="*/ 312468 h 462915"/>
              <a:gd name="connsiteX17" fmla="*/ 213884 w 385762"/>
              <a:gd name="connsiteY17" fmla="*/ 356187 h 462915"/>
              <a:gd name="connsiteX18" fmla="*/ 198453 w 385762"/>
              <a:gd name="connsiteY18" fmla="*/ 356187 h 462915"/>
              <a:gd name="connsiteX19" fmla="*/ 194167 w 385762"/>
              <a:gd name="connsiteY19" fmla="*/ 356187 h 462915"/>
              <a:gd name="connsiteX20" fmla="*/ 178737 w 385762"/>
              <a:gd name="connsiteY20" fmla="*/ 356187 h 462915"/>
              <a:gd name="connsiteX21" fmla="*/ 148733 w 385762"/>
              <a:gd name="connsiteY21" fmla="*/ 312468 h 462915"/>
              <a:gd name="connsiteX22" fmla="*/ 124730 w 385762"/>
              <a:gd name="connsiteY22" fmla="*/ 280750 h 462915"/>
              <a:gd name="connsiteX23" fmla="*/ 120444 w 385762"/>
              <a:gd name="connsiteY23" fmla="*/ 275606 h 462915"/>
              <a:gd name="connsiteX24" fmla="*/ 120444 w 385762"/>
              <a:gd name="connsiteY24" fmla="*/ 275606 h 462915"/>
              <a:gd name="connsiteX25" fmla="*/ 120444 w 385762"/>
              <a:gd name="connsiteY25" fmla="*/ 275606 h 462915"/>
              <a:gd name="connsiteX26" fmla="*/ 93869 w 385762"/>
              <a:gd name="connsiteY26" fmla="*/ 202740 h 462915"/>
              <a:gd name="connsiteX27" fmla="*/ 196739 w 385762"/>
              <a:gd name="connsiteY27" fmla="*/ 93012 h 462915"/>
              <a:gd name="connsiteX28" fmla="*/ 299609 w 385762"/>
              <a:gd name="connsiteY28" fmla="*/ 202740 h 462915"/>
              <a:gd name="connsiteX29" fmla="*/ 267033 w 385762"/>
              <a:gd name="connsiteY29" fmla="*/ 281607 h 46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5762" h="462915">
                <a:moveTo>
                  <a:pt x="196739" y="6429"/>
                </a:moveTo>
                <a:cubicBezTo>
                  <a:pt x="92154" y="6429"/>
                  <a:pt x="6429" y="91297"/>
                  <a:pt x="6429" y="196739"/>
                </a:cubicBezTo>
                <a:cubicBezTo>
                  <a:pt x="6429" y="245602"/>
                  <a:pt x="24432" y="290179"/>
                  <a:pt x="55292" y="323612"/>
                </a:cubicBezTo>
                <a:lnTo>
                  <a:pt x="55292" y="323612"/>
                </a:lnTo>
                <a:cubicBezTo>
                  <a:pt x="55292" y="323612"/>
                  <a:pt x="55292" y="323612"/>
                  <a:pt x="56150" y="324469"/>
                </a:cubicBezTo>
                <a:cubicBezTo>
                  <a:pt x="58722" y="327041"/>
                  <a:pt x="61293" y="330470"/>
                  <a:pt x="64722" y="333042"/>
                </a:cubicBezTo>
                <a:cubicBezTo>
                  <a:pt x="75867" y="345043"/>
                  <a:pt x="95583" y="366475"/>
                  <a:pt x="108442" y="387906"/>
                </a:cubicBezTo>
                <a:cubicBezTo>
                  <a:pt x="128159" y="419624"/>
                  <a:pt x="117872" y="463344"/>
                  <a:pt x="163306" y="463344"/>
                </a:cubicBezTo>
                <a:lnTo>
                  <a:pt x="191595" y="463344"/>
                </a:lnTo>
                <a:lnTo>
                  <a:pt x="201025" y="463344"/>
                </a:lnTo>
                <a:lnTo>
                  <a:pt x="229314" y="463344"/>
                </a:lnTo>
                <a:cubicBezTo>
                  <a:pt x="274749" y="463344"/>
                  <a:pt x="264462" y="418767"/>
                  <a:pt x="284178" y="387906"/>
                </a:cubicBezTo>
                <a:cubicBezTo>
                  <a:pt x="297037" y="367332"/>
                  <a:pt x="315039" y="346758"/>
                  <a:pt x="327041" y="334756"/>
                </a:cubicBezTo>
                <a:cubicBezTo>
                  <a:pt x="363045" y="300466"/>
                  <a:pt x="386191" y="251603"/>
                  <a:pt x="386191" y="196739"/>
                </a:cubicBezTo>
                <a:cubicBezTo>
                  <a:pt x="386191" y="92154"/>
                  <a:pt x="301323" y="6429"/>
                  <a:pt x="196739" y="6429"/>
                </a:cubicBezTo>
                <a:close/>
                <a:moveTo>
                  <a:pt x="267033" y="281607"/>
                </a:moveTo>
                <a:cubicBezTo>
                  <a:pt x="261032" y="288465"/>
                  <a:pt x="250746" y="300466"/>
                  <a:pt x="243887" y="312468"/>
                </a:cubicBezTo>
                <a:cubicBezTo>
                  <a:pt x="233601" y="330470"/>
                  <a:pt x="238744" y="356187"/>
                  <a:pt x="213884" y="356187"/>
                </a:cubicBezTo>
                <a:lnTo>
                  <a:pt x="198453" y="356187"/>
                </a:lnTo>
                <a:lnTo>
                  <a:pt x="194167" y="356187"/>
                </a:lnTo>
                <a:lnTo>
                  <a:pt x="178737" y="356187"/>
                </a:lnTo>
                <a:cubicBezTo>
                  <a:pt x="153876" y="356187"/>
                  <a:pt x="159877" y="330470"/>
                  <a:pt x="148733" y="312468"/>
                </a:cubicBezTo>
                <a:cubicBezTo>
                  <a:pt x="141875" y="300466"/>
                  <a:pt x="130731" y="287607"/>
                  <a:pt x="124730" y="280750"/>
                </a:cubicBezTo>
                <a:cubicBezTo>
                  <a:pt x="123015" y="279035"/>
                  <a:pt x="121301" y="277320"/>
                  <a:pt x="120444" y="275606"/>
                </a:cubicBezTo>
                <a:cubicBezTo>
                  <a:pt x="120444" y="275606"/>
                  <a:pt x="120444" y="275606"/>
                  <a:pt x="120444" y="275606"/>
                </a:cubicBezTo>
                <a:lnTo>
                  <a:pt x="120444" y="275606"/>
                </a:lnTo>
                <a:cubicBezTo>
                  <a:pt x="104156" y="255889"/>
                  <a:pt x="93869" y="231029"/>
                  <a:pt x="93869" y="202740"/>
                </a:cubicBezTo>
                <a:cubicBezTo>
                  <a:pt x="93869" y="142732"/>
                  <a:pt x="140160" y="93012"/>
                  <a:pt x="196739" y="93012"/>
                </a:cubicBezTo>
                <a:cubicBezTo>
                  <a:pt x="253317" y="93012"/>
                  <a:pt x="299609" y="141875"/>
                  <a:pt x="299609" y="202740"/>
                </a:cubicBezTo>
                <a:cubicBezTo>
                  <a:pt x="299609" y="233601"/>
                  <a:pt x="286750" y="261890"/>
                  <a:pt x="267033" y="281607"/>
                </a:cubicBezTo>
                <a:close/>
              </a:path>
            </a:pathLst>
          </a:custGeom>
          <a:solidFill>
            <a:srgbClr val="FEFDFA"/>
          </a:solidFill>
          <a:ln w="9525" cap="flat">
            <a:noFill/>
            <a:prstDash val="solid"/>
            <a:miter/>
          </a:ln>
        </p:spPr>
        <p:txBody>
          <a:bodyPr rtlCol="0" anchor="ctr"/>
          <a:lstStyle/>
          <a:p>
            <a:endParaRPr lang="zh-CN" altLang="en-US"/>
          </a:p>
        </p:txBody>
      </p:sp>
      <p:sp>
        <p:nvSpPr>
          <p:cNvPr id="18" name="任意多边形: 形状 17">
            <a:extLst>
              <a:ext uri="{FF2B5EF4-FFF2-40B4-BE49-F238E27FC236}">
                <a16:creationId xmlns:a16="http://schemas.microsoft.com/office/drawing/2014/main" id="{6DCA7D21-EAB1-4020-A104-B291DA744406}"/>
              </a:ext>
            </a:extLst>
          </p:cNvPr>
          <p:cNvSpPr/>
          <p:nvPr userDrawn="1"/>
        </p:nvSpPr>
        <p:spPr>
          <a:xfrm>
            <a:off x="7705262" y="2592622"/>
            <a:ext cx="131724" cy="41164"/>
          </a:xfrm>
          <a:custGeom>
            <a:avLst/>
            <a:gdLst>
              <a:gd name="connsiteX0" fmla="*/ 134160 w 137160"/>
              <a:gd name="connsiteY0" fmla="*/ 22717 h 42862"/>
              <a:gd name="connsiteX1" fmla="*/ 119586 w 137160"/>
              <a:gd name="connsiteY1" fmla="*/ 37290 h 42862"/>
              <a:gd name="connsiteX2" fmla="*/ 20145 w 137160"/>
              <a:gd name="connsiteY2" fmla="*/ 37290 h 42862"/>
              <a:gd name="connsiteX3" fmla="*/ 6429 w 137160"/>
              <a:gd name="connsiteY3" fmla="*/ 22717 h 42862"/>
              <a:gd name="connsiteX4" fmla="*/ 6429 w 137160"/>
              <a:gd name="connsiteY4" fmla="*/ 21860 h 42862"/>
              <a:gd name="connsiteX5" fmla="*/ 20145 w 137160"/>
              <a:gd name="connsiteY5" fmla="*/ 6429 h 42862"/>
              <a:gd name="connsiteX6" fmla="*/ 119586 w 137160"/>
              <a:gd name="connsiteY6" fmla="*/ 6429 h 42862"/>
              <a:gd name="connsiteX7" fmla="*/ 134160 w 137160"/>
              <a:gd name="connsiteY7" fmla="*/ 22717 h 42862"/>
              <a:gd name="connsiteX8" fmla="*/ 134160 w 137160"/>
              <a:gd name="connsiteY8" fmla="*/ 22717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42862">
                <a:moveTo>
                  <a:pt x="134160" y="22717"/>
                </a:moveTo>
                <a:cubicBezTo>
                  <a:pt x="134160" y="30433"/>
                  <a:pt x="127302" y="37290"/>
                  <a:pt x="119586" y="37290"/>
                </a:cubicBezTo>
                <a:lnTo>
                  <a:pt x="20145" y="37290"/>
                </a:lnTo>
                <a:cubicBezTo>
                  <a:pt x="12430" y="37290"/>
                  <a:pt x="6429" y="29575"/>
                  <a:pt x="6429" y="22717"/>
                </a:cubicBezTo>
                <a:lnTo>
                  <a:pt x="6429" y="21860"/>
                </a:lnTo>
                <a:cubicBezTo>
                  <a:pt x="6429" y="14145"/>
                  <a:pt x="11573" y="6429"/>
                  <a:pt x="20145" y="6429"/>
                </a:cubicBezTo>
                <a:lnTo>
                  <a:pt x="119586" y="6429"/>
                </a:lnTo>
                <a:cubicBezTo>
                  <a:pt x="127302" y="7287"/>
                  <a:pt x="134160" y="15002"/>
                  <a:pt x="134160" y="22717"/>
                </a:cubicBezTo>
                <a:lnTo>
                  <a:pt x="134160" y="22717"/>
                </a:lnTo>
                <a:close/>
              </a:path>
            </a:pathLst>
          </a:custGeom>
          <a:solidFill>
            <a:srgbClr val="FEFDFA"/>
          </a:solidFill>
          <a:ln w="9525" cap="flat">
            <a:noFill/>
            <a:prstDash val="solid"/>
            <a:miter/>
          </a:ln>
        </p:spPr>
        <p:txBody>
          <a:bodyPr rtlCol="0" anchor="ctr"/>
          <a:lstStyle/>
          <a:p>
            <a:endParaRPr lang="zh-CN" altLang="en-US"/>
          </a:p>
        </p:txBody>
      </p:sp>
      <p:sp>
        <p:nvSpPr>
          <p:cNvPr id="19" name="任意多边形: 形状 18">
            <a:extLst>
              <a:ext uri="{FF2B5EF4-FFF2-40B4-BE49-F238E27FC236}">
                <a16:creationId xmlns:a16="http://schemas.microsoft.com/office/drawing/2014/main" id="{234B2575-67A8-446B-A1AC-489709352FE7}"/>
              </a:ext>
            </a:extLst>
          </p:cNvPr>
          <p:cNvSpPr/>
          <p:nvPr userDrawn="1"/>
        </p:nvSpPr>
        <p:spPr>
          <a:xfrm>
            <a:off x="7705262" y="2627200"/>
            <a:ext cx="131724" cy="32931"/>
          </a:xfrm>
          <a:custGeom>
            <a:avLst/>
            <a:gdLst>
              <a:gd name="connsiteX0" fmla="*/ 134160 w 137160"/>
              <a:gd name="connsiteY0" fmla="*/ 21860 h 34290"/>
              <a:gd name="connsiteX1" fmla="*/ 119586 w 137160"/>
              <a:gd name="connsiteY1" fmla="*/ 34719 h 34290"/>
              <a:gd name="connsiteX2" fmla="*/ 20145 w 137160"/>
              <a:gd name="connsiteY2" fmla="*/ 34719 h 34290"/>
              <a:gd name="connsiteX3" fmla="*/ 6429 w 137160"/>
              <a:gd name="connsiteY3" fmla="*/ 21860 h 34290"/>
              <a:gd name="connsiteX4" fmla="*/ 6429 w 137160"/>
              <a:gd name="connsiteY4" fmla="*/ 21002 h 34290"/>
              <a:gd name="connsiteX5" fmla="*/ 20145 w 137160"/>
              <a:gd name="connsiteY5" fmla="*/ 6429 h 34290"/>
              <a:gd name="connsiteX6" fmla="*/ 119586 w 137160"/>
              <a:gd name="connsiteY6" fmla="*/ 6429 h 34290"/>
              <a:gd name="connsiteX7" fmla="*/ 134160 w 137160"/>
              <a:gd name="connsiteY7" fmla="*/ 21860 h 34290"/>
              <a:gd name="connsiteX8" fmla="*/ 134160 w 137160"/>
              <a:gd name="connsiteY8" fmla="*/ 21860 h 3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34290">
                <a:moveTo>
                  <a:pt x="134160" y="21860"/>
                </a:moveTo>
                <a:cubicBezTo>
                  <a:pt x="134160" y="29575"/>
                  <a:pt x="127302" y="34719"/>
                  <a:pt x="119586" y="34719"/>
                </a:cubicBezTo>
                <a:lnTo>
                  <a:pt x="20145" y="34719"/>
                </a:lnTo>
                <a:cubicBezTo>
                  <a:pt x="12430" y="34719"/>
                  <a:pt x="6429" y="29575"/>
                  <a:pt x="6429" y="21860"/>
                </a:cubicBezTo>
                <a:lnTo>
                  <a:pt x="6429" y="21002"/>
                </a:lnTo>
                <a:cubicBezTo>
                  <a:pt x="6429" y="13287"/>
                  <a:pt x="11573" y="6429"/>
                  <a:pt x="20145" y="6429"/>
                </a:cubicBezTo>
                <a:lnTo>
                  <a:pt x="119586" y="6429"/>
                </a:lnTo>
                <a:cubicBezTo>
                  <a:pt x="127302" y="7287"/>
                  <a:pt x="134160" y="14145"/>
                  <a:pt x="134160" y="21860"/>
                </a:cubicBezTo>
                <a:lnTo>
                  <a:pt x="134160" y="21860"/>
                </a:lnTo>
                <a:close/>
              </a:path>
            </a:pathLst>
          </a:custGeom>
          <a:solidFill>
            <a:srgbClr val="FEFDFA"/>
          </a:solidFill>
          <a:ln w="9525" cap="flat">
            <a:noFill/>
            <a:prstDash val="solid"/>
            <a:miter/>
          </a:ln>
        </p:spPr>
        <p:txBody>
          <a:bodyPr rtlCol="0" anchor="ctr"/>
          <a:lstStyle/>
          <a:p>
            <a:endParaRPr lang="zh-CN" altLang="en-US"/>
          </a:p>
        </p:txBody>
      </p:sp>
      <p:sp>
        <p:nvSpPr>
          <p:cNvPr id="20" name="任意多边形: 形状 19">
            <a:extLst>
              <a:ext uri="{FF2B5EF4-FFF2-40B4-BE49-F238E27FC236}">
                <a16:creationId xmlns:a16="http://schemas.microsoft.com/office/drawing/2014/main" id="{030FA234-8D35-441D-81CF-C793BB589C20}"/>
              </a:ext>
            </a:extLst>
          </p:cNvPr>
          <p:cNvSpPr/>
          <p:nvPr userDrawn="1"/>
        </p:nvSpPr>
        <p:spPr>
          <a:xfrm>
            <a:off x="7736546" y="2632139"/>
            <a:ext cx="65862" cy="57630"/>
          </a:xfrm>
          <a:custGeom>
            <a:avLst/>
            <a:gdLst>
              <a:gd name="connsiteX0" fmla="*/ 68151 w 68580"/>
              <a:gd name="connsiteY0" fmla="*/ 32147 h 60007"/>
              <a:gd name="connsiteX1" fmla="*/ 37290 w 68580"/>
              <a:gd name="connsiteY1" fmla="*/ 57864 h 60007"/>
              <a:gd name="connsiteX2" fmla="*/ 6429 w 68580"/>
              <a:gd name="connsiteY2" fmla="*/ 32147 h 60007"/>
              <a:gd name="connsiteX3" fmla="*/ 37290 w 68580"/>
              <a:gd name="connsiteY3" fmla="*/ 6429 h 60007"/>
              <a:gd name="connsiteX4" fmla="*/ 68151 w 68580"/>
              <a:gd name="connsiteY4" fmla="*/ 32147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60007">
                <a:moveTo>
                  <a:pt x="68151" y="32147"/>
                </a:moveTo>
                <a:cubicBezTo>
                  <a:pt x="68151" y="46720"/>
                  <a:pt x="54435" y="57864"/>
                  <a:pt x="37290" y="57864"/>
                </a:cubicBezTo>
                <a:cubicBezTo>
                  <a:pt x="20145" y="57864"/>
                  <a:pt x="6429" y="45863"/>
                  <a:pt x="6429" y="32147"/>
                </a:cubicBezTo>
                <a:cubicBezTo>
                  <a:pt x="6429" y="17574"/>
                  <a:pt x="20145" y="6429"/>
                  <a:pt x="37290" y="6429"/>
                </a:cubicBezTo>
                <a:cubicBezTo>
                  <a:pt x="54435" y="6429"/>
                  <a:pt x="68151" y="17574"/>
                  <a:pt x="68151" y="32147"/>
                </a:cubicBezTo>
                <a:close/>
              </a:path>
            </a:pathLst>
          </a:custGeom>
          <a:solidFill>
            <a:srgbClr val="FEFDFA"/>
          </a:solidFill>
          <a:ln w="9525" cap="flat">
            <a:noFill/>
            <a:prstDash val="solid"/>
            <a:miter/>
          </a:ln>
        </p:spPr>
        <p:txBody>
          <a:bodyPr rtlCol="0" anchor="ctr"/>
          <a:lstStyle/>
          <a:p>
            <a:endParaRPr lang="zh-CN" altLang="en-US"/>
          </a:p>
        </p:txBody>
      </p:sp>
      <p:sp>
        <p:nvSpPr>
          <p:cNvPr id="21" name="任意多边形: 形状 20">
            <a:extLst>
              <a:ext uri="{FF2B5EF4-FFF2-40B4-BE49-F238E27FC236}">
                <a16:creationId xmlns:a16="http://schemas.microsoft.com/office/drawing/2014/main" id="{C2E80A91-B77E-42D9-977F-B5A6F4CE8811}"/>
              </a:ext>
            </a:extLst>
          </p:cNvPr>
          <p:cNvSpPr/>
          <p:nvPr userDrawn="1"/>
        </p:nvSpPr>
        <p:spPr>
          <a:xfrm>
            <a:off x="8791983" y="2326705"/>
            <a:ext cx="304612" cy="139957"/>
          </a:xfrm>
          <a:custGeom>
            <a:avLst/>
            <a:gdLst>
              <a:gd name="connsiteX0" fmla="*/ 160734 w 317182"/>
              <a:gd name="connsiteY0" fmla="*/ 147018 h 145732"/>
              <a:gd name="connsiteX1" fmla="*/ 6429 w 317182"/>
              <a:gd name="connsiteY1" fmla="*/ 76724 h 145732"/>
              <a:gd name="connsiteX2" fmla="*/ 165021 w 317182"/>
              <a:gd name="connsiteY2" fmla="*/ 6429 h 145732"/>
              <a:gd name="connsiteX3" fmla="*/ 318469 w 317182"/>
              <a:gd name="connsiteY3" fmla="*/ 75009 h 145732"/>
            </a:gdLst>
            <a:ahLst/>
            <a:cxnLst>
              <a:cxn ang="0">
                <a:pos x="connsiteX0" y="connsiteY0"/>
              </a:cxn>
              <a:cxn ang="0">
                <a:pos x="connsiteX1" y="connsiteY1"/>
              </a:cxn>
              <a:cxn ang="0">
                <a:pos x="connsiteX2" y="connsiteY2"/>
              </a:cxn>
              <a:cxn ang="0">
                <a:pos x="connsiteX3" y="connsiteY3"/>
              </a:cxn>
            </a:cxnLst>
            <a:rect l="l" t="t" r="r" b="b"/>
            <a:pathLst>
              <a:path w="317182" h="145732">
                <a:moveTo>
                  <a:pt x="160734" y="147018"/>
                </a:moveTo>
                <a:lnTo>
                  <a:pt x="6429" y="76724"/>
                </a:lnTo>
                <a:lnTo>
                  <a:pt x="165021" y="6429"/>
                </a:lnTo>
                <a:lnTo>
                  <a:pt x="318469" y="75009"/>
                </a:lnTo>
                <a:close/>
              </a:path>
            </a:pathLst>
          </a:custGeom>
          <a:solidFill>
            <a:srgbClr val="FEFDFA"/>
          </a:solidFill>
          <a:ln w="9525" cap="flat">
            <a:noFill/>
            <a:prstDash val="solid"/>
            <a:miter/>
          </a:ln>
        </p:spPr>
        <p:txBody>
          <a:bodyPr rtlCol="0" anchor="ctr"/>
          <a:lstStyle/>
          <a:p>
            <a:endParaRPr lang="zh-CN" altLang="en-US"/>
          </a:p>
        </p:txBody>
      </p:sp>
      <p:sp>
        <p:nvSpPr>
          <p:cNvPr id="22" name="任意多边形: 形状 21">
            <a:extLst>
              <a:ext uri="{FF2B5EF4-FFF2-40B4-BE49-F238E27FC236}">
                <a16:creationId xmlns:a16="http://schemas.microsoft.com/office/drawing/2014/main" id="{57FDF505-5149-4732-9237-4A368BB5F338}"/>
              </a:ext>
            </a:extLst>
          </p:cNvPr>
          <p:cNvSpPr/>
          <p:nvPr userDrawn="1"/>
        </p:nvSpPr>
        <p:spPr>
          <a:xfrm>
            <a:off x="9079305" y="2390097"/>
            <a:ext cx="16465" cy="107026"/>
          </a:xfrm>
          <a:custGeom>
            <a:avLst/>
            <a:gdLst>
              <a:gd name="connsiteX0" fmla="*/ 6429 w 17145"/>
              <a:gd name="connsiteY0" fmla="*/ 6429 h 111442"/>
              <a:gd name="connsiteX1" fmla="*/ 15859 w 17145"/>
              <a:gd name="connsiteY1" fmla="*/ 6429 h 111442"/>
              <a:gd name="connsiteX2" fmla="*/ 15859 w 17145"/>
              <a:gd name="connsiteY2" fmla="*/ 109299 h 111442"/>
              <a:gd name="connsiteX3" fmla="*/ 6429 w 17145"/>
              <a:gd name="connsiteY3" fmla="*/ 109299 h 111442"/>
            </a:gdLst>
            <a:ahLst/>
            <a:cxnLst>
              <a:cxn ang="0">
                <a:pos x="connsiteX0" y="connsiteY0"/>
              </a:cxn>
              <a:cxn ang="0">
                <a:pos x="connsiteX1" y="connsiteY1"/>
              </a:cxn>
              <a:cxn ang="0">
                <a:pos x="connsiteX2" y="connsiteY2"/>
              </a:cxn>
              <a:cxn ang="0">
                <a:pos x="connsiteX3" y="connsiteY3"/>
              </a:cxn>
            </a:cxnLst>
            <a:rect l="l" t="t" r="r" b="b"/>
            <a:pathLst>
              <a:path w="17145" h="111442">
                <a:moveTo>
                  <a:pt x="6429" y="6429"/>
                </a:moveTo>
                <a:lnTo>
                  <a:pt x="15859" y="6429"/>
                </a:lnTo>
                <a:lnTo>
                  <a:pt x="15859" y="109299"/>
                </a:lnTo>
                <a:lnTo>
                  <a:pt x="6429" y="109299"/>
                </a:lnTo>
                <a:close/>
              </a:path>
            </a:pathLst>
          </a:custGeom>
          <a:solidFill>
            <a:srgbClr val="FEFDFA"/>
          </a:solidFill>
          <a:ln w="9525" cap="flat">
            <a:noFill/>
            <a:prstDash val="solid"/>
            <a:miter/>
          </a:ln>
        </p:spPr>
        <p:txBody>
          <a:bodyPr rtlCol="0" anchor="ctr"/>
          <a:lstStyle/>
          <a:p>
            <a:endParaRPr lang="zh-CN" altLang="en-US"/>
          </a:p>
        </p:txBody>
      </p:sp>
      <p:sp>
        <p:nvSpPr>
          <p:cNvPr id="23" name="任意多边形: 形状 22">
            <a:extLst>
              <a:ext uri="{FF2B5EF4-FFF2-40B4-BE49-F238E27FC236}">
                <a16:creationId xmlns:a16="http://schemas.microsoft.com/office/drawing/2014/main" id="{F493B5ED-1B66-43AE-BD04-24524E64AA85}"/>
              </a:ext>
            </a:extLst>
          </p:cNvPr>
          <p:cNvSpPr/>
          <p:nvPr userDrawn="1"/>
        </p:nvSpPr>
        <p:spPr>
          <a:xfrm>
            <a:off x="9068603" y="2477364"/>
            <a:ext cx="41164" cy="41164"/>
          </a:xfrm>
          <a:custGeom>
            <a:avLst/>
            <a:gdLst>
              <a:gd name="connsiteX0" fmla="*/ 37290 w 42862"/>
              <a:gd name="connsiteY0" fmla="*/ 21860 h 42862"/>
              <a:gd name="connsiteX1" fmla="*/ 21860 w 42862"/>
              <a:gd name="connsiteY1" fmla="*/ 6429 h 42862"/>
              <a:gd name="connsiteX2" fmla="*/ 6429 w 42862"/>
              <a:gd name="connsiteY2" fmla="*/ 21860 h 42862"/>
              <a:gd name="connsiteX3" fmla="*/ 21860 w 42862"/>
              <a:gd name="connsiteY3" fmla="*/ 37290 h 42862"/>
              <a:gd name="connsiteX4" fmla="*/ 37290 w 42862"/>
              <a:gd name="connsiteY4" fmla="*/ 21860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2862">
                <a:moveTo>
                  <a:pt x="37290" y="21860"/>
                </a:moveTo>
                <a:cubicBezTo>
                  <a:pt x="37290" y="13288"/>
                  <a:pt x="30432" y="6429"/>
                  <a:pt x="21860" y="6429"/>
                </a:cubicBezTo>
                <a:cubicBezTo>
                  <a:pt x="13287" y="6429"/>
                  <a:pt x="6429" y="13288"/>
                  <a:pt x="6429" y="21860"/>
                </a:cubicBezTo>
                <a:cubicBezTo>
                  <a:pt x="6429" y="30433"/>
                  <a:pt x="13287" y="37290"/>
                  <a:pt x="21860" y="37290"/>
                </a:cubicBezTo>
                <a:cubicBezTo>
                  <a:pt x="30432" y="37290"/>
                  <a:pt x="37290" y="30433"/>
                  <a:pt x="37290" y="21860"/>
                </a:cubicBezTo>
                <a:close/>
              </a:path>
            </a:pathLst>
          </a:custGeom>
          <a:solidFill>
            <a:srgbClr val="FEFDFA"/>
          </a:solidFill>
          <a:ln w="9525" cap="flat">
            <a:noFill/>
            <a:prstDash val="solid"/>
            <a:miter/>
          </a:ln>
        </p:spPr>
        <p:txBody>
          <a:bodyPr rtlCol="0" anchor="ctr"/>
          <a:lstStyle/>
          <a:p>
            <a:endParaRPr lang="zh-CN" altLang="en-US"/>
          </a:p>
        </p:txBody>
      </p:sp>
      <p:sp>
        <p:nvSpPr>
          <p:cNvPr id="24" name="任意多边形: 形状 23">
            <a:extLst>
              <a:ext uri="{FF2B5EF4-FFF2-40B4-BE49-F238E27FC236}">
                <a16:creationId xmlns:a16="http://schemas.microsoft.com/office/drawing/2014/main" id="{7F4919C0-19AB-42FB-BA10-E66E447F9A89}"/>
              </a:ext>
            </a:extLst>
          </p:cNvPr>
          <p:cNvSpPr/>
          <p:nvPr userDrawn="1"/>
        </p:nvSpPr>
        <p:spPr>
          <a:xfrm>
            <a:off x="9069018" y="2493829"/>
            <a:ext cx="24699" cy="74095"/>
          </a:xfrm>
          <a:custGeom>
            <a:avLst/>
            <a:gdLst>
              <a:gd name="connsiteX0" fmla="*/ 14569 w 25717"/>
              <a:gd name="connsiteY0" fmla="*/ 9858 h 77152"/>
              <a:gd name="connsiteX1" fmla="*/ 7711 w 25717"/>
              <a:gd name="connsiteY1" fmla="*/ 75009 h 77152"/>
              <a:gd name="connsiteX2" fmla="*/ 24856 w 25717"/>
              <a:gd name="connsiteY2" fmla="*/ 75009 h 77152"/>
              <a:gd name="connsiteX3" fmla="*/ 24856 w 25717"/>
              <a:gd name="connsiteY3" fmla="*/ 6429 h 77152"/>
              <a:gd name="connsiteX4" fmla="*/ 14569 w 25717"/>
              <a:gd name="connsiteY4" fmla="*/ 9858 h 77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 h="77152">
                <a:moveTo>
                  <a:pt x="14569" y="9858"/>
                </a:moveTo>
                <a:cubicBezTo>
                  <a:pt x="14569" y="9858"/>
                  <a:pt x="2567" y="35576"/>
                  <a:pt x="7711" y="75009"/>
                </a:cubicBezTo>
                <a:lnTo>
                  <a:pt x="24856" y="75009"/>
                </a:lnTo>
                <a:lnTo>
                  <a:pt x="24856" y="6429"/>
                </a:lnTo>
                <a:cubicBezTo>
                  <a:pt x="24856" y="6429"/>
                  <a:pt x="14569" y="11573"/>
                  <a:pt x="14569" y="9858"/>
                </a:cubicBezTo>
                <a:close/>
              </a:path>
            </a:pathLst>
          </a:custGeom>
          <a:solidFill>
            <a:srgbClr val="FEFDFA"/>
          </a:solidFill>
          <a:ln w="9525" cap="flat">
            <a:noFill/>
            <a:prstDash val="solid"/>
            <a:miter/>
          </a:ln>
        </p:spPr>
        <p:txBody>
          <a:bodyPr rtlCol="0" anchor="ctr"/>
          <a:lstStyle/>
          <a:p>
            <a:endParaRPr lang="zh-CN" altLang="en-US"/>
          </a:p>
        </p:txBody>
      </p:sp>
      <p:sp>
        <p:nvSpPr>
          <p:cNvPr id="25" name="任意多边形: 形状 24">
            <a:extLst>
              <a:ext uri="{FF2B5EF4-FFF2-40B4-BE49-F238E27FC236}">
                <a16:creationId xmlns:a16="http://schemas.microsoft.com/office/drawing/2014/main" id="{A152C0AD-62CB-4DB5-A3C7-FD70B415C4C3}"/>
              </a:ext>
            </a:extLst>
          </p:cNvPr>
          <p:cNvSpPr/>
          <p:nvPr userDrawn="1"/>
        </p:nvSpPr>
        <p:spPr>
          <a:xfrm>
            <a:off x="9081775" y="2493829"/>
            <a:ext cx="24699" cy="74095"/>
          </a:xfrm>
          <a:custGeom>
            <a:avLst/>
            <a:gdLst>
              <a:gd name="connsiteX0" fmla="*/ 16716 w 25717"/>
              <a:gd name="connsiteY0" fmla="*/ 9858 h 77152"/>
              <a:gd name="connsiteX1" fmla="*/ 24431 w 25717"/>
              <a:gd name="connsiteY1" fmla="*/ 75009 h 77152"/>
              <a:gd name="connsiteX2" fmla="*/ 6429 w 25717"/>
              <a:gd name="connsiteY2" fmla="*/ 75009 h 77152"/>
              <a:gd name="connsiteX3" fmla="*/ 6429 w 25717"/>
              <a:gd name="connsiteY3" fmla="*/ 6429 h 77152"/>
              <a:gd name="connsiteX4" fmla="*/ 16716 w 25717"/>
              <a:gd name="connsiteY4" fmla="*/ 9858 h 77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 h="77152">
                <a:moveTo>
                  <a:pt x="16716" y="9858"/>
                </a:moveTo>
                <a:cubicBezTo>
                  <a:pt x="16716" y="9858"/>
                  <a:pt x="28718" y="35576"/>
                  <a:pt x="24431" y="75009"/>
                </a:cubicBezTo>
                <a:lnTo>
                  <a:pt x="6429" y="75009"/>
                </a:lnTo>
                <a:lnTo>
                  <a:pt x="6429" y="6429"/>
                </a:lnTo>
                <a:cubicBezTo>
                  <a:pt x="6429" y="6429"/>
                  <a:pt x="16716" y="11573"/>
                  <a:pt x="16716" y="9858"/>
                </a:cubicBezTo>
                <a:close/>
              </a:path>
            </a:pathLst>
          </a:custGeom>
          <a:solidFill>
            <a:srgbClr val="FEFDFA"/>
          </a:solidFill>
          <a:ln w="9525" cap="flat">
            <a:noFill/>
            <a:prstDash val="solid"/>
            <a:miter/>
          </a:ln>
        </p:spPr>
        <p:txBody>
          <a:bodyPr rtlCol="0" anchor="ctr"/>
          <a:lstStyle/>
          <a:p>
            <a:endParaRPr lang="zh-CN" altLang="en-US"/>
          </a:p>
        </p:txBody>
      </p:sp>
      <p:sp>
        <p:nvSpPr>
          <p:cNvPr id="26" name="任意多边形: 形状 25">
            <a:extLst>
              <a:ext uri="{FF2B5EF4-FFF2-40B4-BE49-F238E27FC236}">
                <a16:creationId xmlns:a16="http://schemas.microsoft.com/office/drawing/2014/main" id="{DE280938-4FA1-469E-BAE9-351AC198C802}"/>
              </a:ext>
            </a:extLst>
          </p:cNvPr>
          <p:cNvSpPr/>
          <p:nvPr userDrawn="1"/>
        </p:nvSpPr>
        <p:spPr>
          <a:xfrm>
            <a:off x="8852081" y="2434553"/>
            <a:ext cx="181120" cy="139957"/>
          </a:xfrm>
          <a:custGeom>
            <a:avLst/>
            <a:gdLst>
              <a:gd name="connsiteX0" fmla="*/ 186452 w 188595"/>
              <a:gd name="connsiteY0" fmla="*/ 6429 h 145732"/>
              <a:gd name="connsiteX1" fmla="*/ 96441 w 188595"/>
              <a:gd name="connsiteY1" fmla="*/ 49292 h 145732"/>
              <a:gd name="connsiteX2" fmla="*/ 6429 w 188595"/>
              <a:gd name="connsiteY2" fmla="*/ 6429 h 145732"/>
              <a:gd name="connsiteX3" fmla="*/ 6429 w 188595"/>
              <a:gd name="connsiteY3" fmla="*/ 110156 h 145732"/>
              <a:gd name="connsiteX4" fmla="*/ 94727 w 188595"/>
              <a:gd name="connsiteY4" fmla="*/ 141017 h 145732"/>
              <a:gd name="connsiteX5" fmla="*/ 94727 w 188595"/>
              <a:gd name="connsiteY5" fmla="*/ 141017 h 145732"/>
              <a:gd name="connsiteX6" fmla="*/ 97298 w 188595"/>
              <a:gd name="connsiteY6" fmla="*/ 141017 h 145732"/>
              <a:gd name="connsiteX7" fmla="*/ 99870 w 188595"/>
              <a:gd name="connsiteY7" fmla="*/ 141017 h 145732"/>
              <a:gd name="connsiteX8" fmla="*/ 99870 w 188595"/>
              <a:gd name="connsiteY8" fmla="*/ 141017 h 145732"/>
              <a:gd name="connsiteX9" fmla="*/ 188166 w 188595"/>
              <a:gd name="connsiteY9" fmla="*/ 110156 h 145732"/>
              <a:gd name="connsiteX10" fmla="*/ 188166 w 188595"/>
              <a:gd name="connsiteY10" fmla="*/ 6429 h 14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595" h="145732">
                <a:moveTo>
                  <a:pt x="186452" y="6429"/>
                </a:moveTo>
                <a:cubicBezTo>
                  <a:pt x="186452" y="7286"/>
                  <a:pt x="111014" y="42434"/>
                  <a:pt x="96441" y="49292"/>
                </a:cubicBezTo>
                <a:cubicBezTo>
                  <a:pt x="81868" y="42434"/>
                  <a:pt x="6429" y="7286"/>
                  <a:pt x="6429" y="6429"/>
                </a:cubicBezTo>
                <a:lnTo>
                  <a:pt x="6429" y="110156"/>
                </a:lnTo>
                <a:cubicBezTo>
                  <a:pt x="30433" y="135874"/>
                  <a:pt x="79296" y="140160"/>
                  <a:pt x="94727" y="141017"/>
                </a:cubicBezTo>
                <a:lnTo>
                  <a:pt x="94727" y="141017"/>
                </a:lnTo>
                <a:cubicBezTo>
                  <a:pt x="94727" y="141017"/>
                  <a:pt x="95584" y="141017"/>
                  <a:pt x="97298" y="141017"/>
                </a:cubicBezTo>
                <a:cubicBezTo>
                  <a:pt x="99013" y="141017"/>
                  <a:pt x="99870" y="141017"/>
                  <a:pt x="99870" y="141017"/>
                </a:cubicBezTo>
                <a:lnTo>
                  <a:pt x="99870" y="141017"/>
                </a:lnTo>
                <a:cubicBezTo>
                  <a:pt x="115300" y="140160"/>
                  <a:pt x="163307" y="135874"/>
                  <a:pt x="188166" y="110156"/>
                </a:cubicBezTo>
                <a:lnTo>
                  <a:pt x="188166" y="6429"/>
                </a:lnTo>
                <a:close/>
              </a:path>
            </a:pathLst>
          </a:custGeom>
          <a:solidFill>
            <a:srgbClr val="FEFDFA"/>
          </a:solidFill>
          <a:ln w="9525" cap="flat">
            <a:noFill/>
            <a:prstDash val="solid"/>
            <a:miter/>
          </a:ln>
        </p:spPr>
        <p:txBody>
          <a:bodyPr rtlCol="0" anchor="ctr"/>
          <a:lstStyle/>
          <a:p>
            <a:endParaRPr lang="zh-CN" altLang="en-US"/>
          </a:p>
        </p:txBody>
      </p:sp>
      <p:sp>
        <p:nvSpPr>
          <p:cNvPr id="27" name="任意多边形: 形状 26">
            <a:extLst>
              <a:ext uri="{FF2B5EF4-FFF2-40B4-BE49-F238E27FC236}">
                <a16:creationId xmlns:a16="http://schemas.microsoft.com/office/drawing/2014/main" id="{A81CF6FB-3C03-42CF-BFDC-04384ABAE392}"/>
              </a:ext>
            </a:extLst>
          </p:cNvPr>
          <p:cNvSpPr/>
          <p:nvPr userDrawn="1"/>
        </p:nvSpPr>
        <p:spPr>
          <a:xfrm>
            <a:off x="8390225" y="3076615"/>
            <a:ext cx="238750" cy="197586"/>
          </a:xfrm>
          <a:custGeom>
            <a:avLst/>
            <a:gdLst>
              <a:gd name="connsiteX0" fmla="*/ 124730 w 248602"/>
              <a:gd name="connsiteY0" fmla="*/ 205407 h 205740"/>
              <a:gd name="connsiteX1" fmla="*/ 6429 w 248602"/>
              <a:gd name="connsiteY1" fmla="*/ 203692 h 205740"/>
              <a:gd name="connsiteX2" fmla="*/ 6429 w 248602"/>
              <a:gd name="connsiteY2" fmla="*/ 26241 h 205740"/>
              <a:gd name="connsiteX3" fmla="*/ 128159 w 248602"/>
              <a:gd name="connsiteY3" fmla="*/ 26241 h 205740"/>
              <a:gd name="connsiteX4" fmla="*/ 249889 w 248602"/>
              <a:gd name="connsiteY4" fmla="*/ 26241 h 205740"/>
              <a:gd name="connsiteX5" fmla="*/ 249889 w 248602"/>
              <a:gd name="connsiteY5" fmla="*/ 204549 h 205740"/>
              <a:gd name="connsiteX6" fmla="*/ 124730 w 248602"/>
              <a:gd name="connsiteY6" fmla="*/ 205407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02" h="205740">
                <a:moveTo>
                  <a:pt x="124730" y="205407"/>
                </a:moveTo>
                <a:cubicBezTo>
                  <a:pt x="124730" y="205407"/>
                  <a:pt x="82725" y="163401"/>
                  <a:pt x="6429" y="203692"/>
                </a:cubicBezTo>
                <a:lnTo>
                  <a:pt x="6429" y="26241"/>
                </a:lnTo>
                <a:cubicBezTo>
                  <a:pt x="6429" y="26241"/>
                  <a:pt x="85296" y="-18336"/>
                  <a:pt x="128159" y="26241"/>
                </a:cubicBezTo>
                <a:lnTo>
                  <a:pt x="249889" y="26241"/>
                </a:lnTo>
                <a:lnTo>
                  <a:pt x="249889" y="204549"/>
                </a:lnTo>
                <a:lnTo>
                  <a:pt x="124730" y="205407"/>
                </a:lnTo>
                <a:close/>
              </a:path>
            </a:pathLst>
          </a:custGeom>
          <a:solidFill>
            <a:srgbClr val="FEFDFA"/>
          </a:solidFill>
          <a:ln w="9525" cap="flat">
            <a:noFill/>
            <a:prstDash val="solid"/>
            <a:miter/>
          </a:ln>
        </p:spPr>
        <p:txBody>
          <a:bodyPr rtlCol="0" anchor="ctr"/>
          <a:lstStyle/>
          <a:p>
            <a:endParaRPr lang="zh-CN" altLang="en-US"/>
          </a:p>
        </p:txBody>
      </p:sp>
      <p:sp>
        <p:nvSpPr>
          <p:cNvPr id="123" name="任意多边形: 形状 122">
            <a:extLst>
              <a:ext uri="{FF2B5EF4-FFF2-40B4-BE49-F238E27FC236}">
                <a16:creationId xmlns:a16="http://schemas.microsoft.com/office/drawing/2014/main" id="{448D920D-46E6-40A8-8F56-C687919A767A}"/>
              </a:ext>
            </a:extLst>
          </p:cNvPr>
          <p:cNvSpPr/>
          <p:nvPr userDrawn="1"/>
        </p:nvSpPr>
        <p:spPr>
          <a:xfrm>
            <a:off x="10621373" y="5302014"/>
            <a:ext cx="510429" cy="650386"/>
          </a:xfrm>
          <a:custGeom>
            <a:avLst/>
            <a:gdLst>
              <a:gd name="connsiteX0" fmla="*/ 362107 w 531495"/>
              <a:gd name="connsiteY0" fmla="*/ 329613 h 677227"/>
              <a:gd name="connsiteX1" fmla="*/ 347534 w 531495"/>
              <a:gd name="connsiteY1" fmla="*/ 291036 h 677227"/>
              <a:gd name="connsiteX2" fmla="*/ 347534 w 531495"/>
              <a:gd name="connsiteY2" fmla="*/ 135017 h 677227"/>
              <a:gd name="connsiteX3" fmla="*/ 363822 w 531495"/>
              <a:gd name="connsiteY3" fmla="*/ 114443 h 677227"/>
              <a:gd name="connsiteX4" fmla="*/ 367250 w 531495"/>
              <a:gd name="connsiteY4" fmla="*/ 114443 h 677227"/>
              <a:gd name="connsiteX5" fmla="*/ 367250 w 531495"/>
              <a:gd name="connsiteY5" fmla="*/ 45863 h 677227"/>
              <a:gd name="connsiteX6" fmla="*/ 363822 w 531495"/>
              <a:gd name="connsiteY6" fmla="*/ 45863 h 677227"/>
              <a:gd name="connsiteX7" fmla="*/ 363822 w 531495"/>
              <a:gd name="connsiteY7" fmla="*/ 43291 h 677227"/>
              <a:gd name="connsiteX8" fmla="*/ 268667 w 531495"/>
              <a:gd name="connsiteY8" fmla="*/ 6429 h 677227"/>
              <a:gd name="connsiteX9" fmla="*/ 173512 w 531495"/>
              <a:gd name="connsiteY9" fmla="*/ 43291 h 677227"/>
              <a:gd name="connsiteX10" fmla="*/ 173512 w 531495"/>
              <a:gd name="connsiteY10" fmla="*/ 45863 h 677227"/>
              <a:gd name="connsiteX11" fmla="*/ 171797 w 531495"/>
              <a:gd name="connsiteY11" fmla="*/ 45863 h 677227"/>
              <a:gd name="connsiteX12" fmla="*/ 171797 w 531495"/>
              <a:gd name="connsiteY12" fmla="*/ 114443 h 677227"/>
              <a:gd name="connsiteX13" fmla="*/ 173512 w 531495"/>
              <a:gd name="connsiteY13" fmla="*/ 114443 h 677227"/>
              <a:gd name="connsiteX14" fmla="*/ 200944 w 531495"/>
              <a:gd name="connsiteY14" fmla="*/ 135874 h 677227"/>
              <a:gd name="connsiteX15" fmla="*/ 200944 w 531495"/>
              <a:gd name="connsiteY15" fmla="*/ 291036 h 677227"/>
              <a:gd name="connsiteX16" fmla="*/ 180370 w 531495"/>
              <a:gd name="connsiteY16" fmla="*/ 329613 h 677227"/>
              <a:gd name="connsiteX17" fmla="*/ 28637 w 531495"/>
              <a:gd name="connsiteY17" fmla="*/ 619363 h 677227"/>
              <a:gd name="connsiteX18" fmla="*/ 270381 w 531495"/>
              <a:gd name="connsiteY18" fmla="*/ 672513 h 677227"/>
              <a:gd name="connsiteX19" fmla="*/ 511269 w 531495"/>
              <a:gd name="connsiteY19" fmla="*/ 619363 h 677227"/>
              <a:gd name="connsiteX20" fmla="*/ 362107 w 531495"/>
              <a:gd name="connsiteY20" fmla="*/ 329613 h 677227"/>
              <a:gd name="connsiteX21" fmla="*/ 356964 w 531495"/>
              <a:gd name="connsiteY21" fmla="*/ 621935 h 677227"/>
              <a:gd name="connsiteX22" fmla="*/ 463262 w 531495"/>
              <a:gd name="connsiteY22" fmla="*/ 548212 h 677227"/>
              <a:gd name="connsiteX23" fmla="*/ 371537 w 531495"/>
              <a:gd name="connsiteY23" fmla="*/ 393049 h 677227"/>
              <a:gd name="connsiteX24" fmla="*/ 496695 w 531495"/>
              <a:gd name="connsiteY24" fmla="*/ 555926 h 677227"/>
              <a:gd name="connsiteX25" fmla="*/ 356964 w 531495"/>
              <a:gd name="connsiteY25" fmla="*/ 621935 h 67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31495" h="677227">
                <a:moveTo>
                  <a:pt x="362107" y="329613"/>
                </a:moveTo>
                <a:cubicBezTo>
                  <a:pt x="362107" y="329613"/>
                  <a:pt x="347534" y="321897"/>
                  <a:pt x="347534" y="291036"/>
                </a:cubicBezTo>
                <a:cubicBezTo>
                  <a:pt x="347534" y="265319"/>
                  <a:pt x="347534" y="167592"/>
                  <a:pt x="347534" y="135017"/>
                </a:cubicBezTo>
                <a:cubicBezTo>
                  <a:pt x="356964" y="129016"/>
                  <a:pt x="362107" y="122158"/>
                  <a:pt x="363822" y="114443"/>
                </a:cubicBezTo>
                <a:lnTo>
                  <a:pt x="367250" y="114443"/>
                </a:lnTo>
                <a:lnTo>
                  <a:pt x="367250" y="45863"/>
                </a:lnTo>
                <a:lnTo>
                  <a:pt x="363822" y="45863"/>
                </a:lnTo>
                <a:cubicBezTo>
                  <a:pt x="363822" y="45006"/>
                  <a:pt x="363822" y="44149"/>
                  <a:pt x="363822" y="43291"/>
                </a:cubicBezTo>
                <a:cubicBezTo>
                  <a:pt x="363822" y="22717"/>
                  <a:pt x="320959" y="6429"/>
                  <a:pt x="268667" y="6429"/>
                </a:cubicBezTo>
                <a:cubicBezTo>
                  <a:pt x="215517" y="6429"/>
                  <a:pt x="173512" y="22717"/>
                  <a:pt x="173512" y="43291"/>
                </a:cubicBezTo>
                <a:cubicBezTo>
                  <a:pt x="173512" y="44149"/>
                  <a:pt x="173512" y="45006"/>
                  <a:pt x="173512" y="45863"/>
                </a:cubicBezTo>
                <a:lnTo>
                  <a:pt x="171797" y="45863"/>
                </a:lnTo>
                <a:lnTo>
                  <a:pt x="171797" y="114443"/>
                </a:lnTo>
                <a:lnTo>
                  <a:pt x="173512" y="114443"/>
                </a:lnTo>
                <a:cubicBezTo>
                  <a:pt x="175227" y="123015"/>
                  <a:pt x="181227" y="129874"/>
                  <a:pt x="200944" y="135874"/>
                </a:cubicBezTo>
                <a:cubicBezTo>
                  <a:pt x="200944" y="169307"/>
                  <a:pt x="200944" y="266176"/>
                  <a:pt x="200944" y="291036"/>
                </a:cubicBezTo>
                <a:cubicBezTo>
                  <a:pt x="200944" y="321897"/>
                  <a:pt x="180370" y="329613"/>
                  <a:pt x="180370" y="329613"/>
                </a:cubicBezTo>
                <a:cubicBezTo>
                  <a:pt x="145223" y="350186"/>
                  <a:pt x="-60517" y="557641"/>
                  <a:pt x="28637" y="619363"/>
                </a:cubicBezTo>
                <a:cubicBezTo>
                  <a:pt x="108361" y="675084"/>
                  <a:pt x="242949" y="673370"/>
                  <a:pt x="270381" y="672513"/>
                </a:cubicBezTo>
                <a:cubicBezTo>
                  <a:pt x="296956" y="673370"/>
                  <a:pt x="431544" y="675941"/>
                  <a:pt x="511269" y="619363"/>
                </a:cubicBezTo>
                <a:cubicBezTo>
                  <a:pt x="599565" y="556784"/>
                  <a:pt x="397254" y="350186"/>
                  <a:pt x="362107" y="329613"/>
                </a:cubicBezTo>
                <a:close/>
                <a:moveTo>
                  <a:pt x="356964" y="621935"/>
                </a:moveTo>
                <a:cubicBezTo>
                  <a:pt x="356964" y="621935"/>
                  <a:pt x="458976" y="602218"/>
                  <a:pt x="463262" y="548212"/>
                </a:cubicBezTo>
                <a:cubicBezTo>
                  <a:pt x="468406" y="494205"/>
                  <a:pt x="371537" y="393049"/>
                  <a:pt x="371537" y="393049"/>
                </a:cubicBezTo>
                <a:cubicBezTo>
                  <a:pt x="371537" y="393049"/>
                  <a:pt x="497552" y="489919"/>
                  <a:pt x="496695" y="555926"/>
                </a:cubicBezTo>
                <a:cubicBezTo>
                  <a:pt x="494981" y="621935"/>
                  <a:pt x="356964" y="621935"/>
                  <a:pt x="356964" y="621935"/>
                </a:cubicBezTo>
                <a:close/>
              </a:path>
            </a:pathLst>
          </a:custGeom>
          <a:solidFill>
            <a:srgbClr val="FFFFFF"/>
          </a:solidFill>
          <a:ln w="9525" cap="flat">
            <a:noFill/>
            <a:prstDash val="solid"/>
            <a:miter/>
          </a:ln>
        </p:spPr>
        <p:txBody>
          <a:bodyPr rtlCol="0" anchor="ctr"/>
          <a:lstStyle/>
          <a:p>
            <a:endParaRPr lang="zh-CN" altLang="en-US"/>
          </a:p>
        </p:txBody>
      </p:sp>
      <p:sp>
        <p:nvSpPr>
          <p:cNvPr id="61" name="任意多边形: 形状 60">
            <a:extLst>
              <a:ext uri="{FF2B5EF4-FFF2-40B4-BE49-F238E27FC236}">
                <a16:creationId xmlns:a16="http://schemas.microsoft.com/office/drawing/2014/main" id="{A1201BD7-999B-428C-A662-59F43B44197D}"/>
              </a:ext>
            </a:extLst>
          </p:cNvPr>
          <p:cNvSpPr/>
          <p:nvPr/>
        </p:nvSpPr>
        <p:spPr>
          <a:xfrm>
            <a:off x="10323270" y="1211170"/>
            <a:ext cx="82327" cy="131724"/>
          </a:xfrm>
          <a:custGeom>
            <a:avLst/>
            <a:gdLst>
              <a:gd name="connsiteX0" fmla="*/ 84439 w 85725"/>
              <a:gd name="connsiteY0" fmla="*/ 136731 h 137160"/>
              <a:gd name="connsiteX1" fmla="*/ 6429 w 85725"/>
              <a:gd name="connsiteY1" fmla="*/ 136731 h 137160"/>
              <a:gd name="connsiteX2" fmla="*/ 6429 w 85725"/>
              <a:gd name="connsiteY2" fmla="*/ 6429 h 137160"/>
              <a:gd name="connsiteX3" fmla="*/ 81867 w 85725"/>
              <a:gd name="connsiteY3" fmla="*/ 6429 h 137160"/>
              <a:gd name="connsiteX4" fmla="*/ 81867 w 85725"/>
              <a:gd name="connsiteY4" fmla="*/ 30432 h 137160"/>
              <a:gd name="connsiteX5" fmla="*/ 35576 w 85725"/>
              <a:gd name="connsiteY5" fmla="*/ 30432 h 137160"/>
              <a:gd name="connsiteX6" fmla="*/ 35576 w 85725"/>
              <a:gd name="connsiteY6" fmla="*/ 59579 h 137160"/>
              <a:gd name="connsiteX7" fmla="*/ 78439 w 85725"/>
              <a:gd name="connsiteY7" fmla="*/ 59579 h 137160"/>
              <a:gd name="connsiteX8" fmla="*/ 78439 w 85725"/>
              <a:gd name="connsiteY8" fmla="*/ 83582 h 137160"/>
              <a:gd name="connsiteX9" fmla="*/ 35576 w 85725"/>
              <a:gd name="connsiteY9" fmla="*/ 83582 h 137160"/>
              <a:gd name="connsiteX10" fmla="*/ 35576 w 85725"/>
              <a:gd name="connsiteY10" fmla="*/ 113586 h 137160"/>
              <a:gd name="connsiteX11" fmla="*/ 84439 w 85725"/>
              <a:gd name="connsiteY11" fmla="*/ 113586 h 137160"/>
              <a:gd name="connsiteX12" fmla="*/ 84439 w 85725"/>
              <a:gd name="connsiteY12" fmla="*/ 136731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25" h="137160">
                <a:moveTo>
                  <a:pt x="84439" y="136731"/>
                </a:moveTo>
                <a:lnTo>
                  <a:pt x="6429" y="136731"/>
                </a:lnTo>
                <a:lnTo>
                  <a:pt x="6429" y="6429"/>
                </a:lnTo>
                <a:lnTo>
                  <a:pt x="81867" y="6429"/>
                </a:lnTo>
                <a:lnTo>
                  <a:pt x="81867" y="30432"/>
                </a:lnTo>
                <a:lnTo>
                  <a:pt x="35576" y="30432"/>
                </a:lnTo>
                <a:lnTo>
                  <a:pt x="35576" y="59579"/>
                </a:lnTo>
                <a:lnTo>
                  <a:pt x="78439" y="59579"/>
                </a:lnTo>
                <a:lnTo>
                  <a:pt x="78439" y="83582"/>
                </a:lnTo>
                <a:lnTo>
                  <a:pt x="35576" y="83582"/>
                </a:lnTo>
                <a:lnTo>
                  <a:pt x="35576" y="113586"/>
                </a:lnTo>
                <a:lnTo>
                  <a:pt x="84439" y="113586"/>
                </a:lnTo>
                <a:lnTo>
                  <a:pt x="84439" y="136731"/>
                </a:lnTo>
                <a:close/>
              </a:path>
            </a:pathLst>
          </a:custGeom>
          <a:solidFill>
            <a:schemeClr val="accent3"/>
          </a:solidFill>
          <a:ln w="9525" cap="flat">
            <a:noFill/>
            <a:prstDash val="solid"/>
            <a:miter/>
          </a:ln>
        </p:spPr>
        <p:txBody>
          <a:bodyPr rtlCol="0" anchor="ctr"/>
          <a:lstStyle/>
          <a:p>
            <a:endParaRPr lang="zh-CN" altLang="en-US"/>
          </a:p>
        </p:txBody>
      </p:sp>
      <p:sp>
        <p:nvSpPr>
          <p:cNvPr id="62" name="任意多边形: 形状 61">
            <a:extLst>
              <a:ext uri="{FF2B5EF4-FFF2-40B4-BE49-F238E27FC236}">
                <a16:creationId xmlns:a16="http://schemas.microsoft.com/office/drawing/2014/main" id="{EE994F4B-3207-44EC-8C88-8B6877550662}"/>
              </a:ext>
            </a:extLst>
          </p:cNvPr>
          <p:cNvSpPr/>
          <p:nvPr/>
        </p:nvSpPr>
        <p:spPr>
          <a:xfrm>
            <a:off x="10417946" y="1211170"/>
            <a:ext cx="123491" cy="131724"/>
          </a:xfrm>
          <a:custGeom>
            <a:avLst/>
            <a:gdLst>
              <a:gd name="connsiteX0" fmla="*/ 6429 w 128587"/>
              <a:gd name="connsiteY0" fmla="*/ 136731 h 137160"/>
              <a:gd name="connsiteX1" fmla="*/ 6429 w 128587"/>
              <a:gd name="connsiteY1" fmla="*/ 6429 h 137160"/>
              <a:gd name="connsiteX2" fmla="*/ 52721 w 128587"/>
              <a:gd name="connsiteY2" fmla="*/ 6429 h 137160"/>
              <a:gd name="connsiteX3" fmla="*/ 122158 w 128587"/>
              <a:gd name="connsiteY3" fmla="*/ 69866 h 137160"/>
              <a:gd name="connsiteX4" fmla="*/ 103299 w 128587"/>
              <a:gd name="connsiteY4" fmla="*/ 118729 h 137160"/>
              <a:gd name="connsiteX5" fmla="*/ 52721 w 128587"/>
              <a:gd name="connsiteY5" fmla="*/ 136731 h 137160"/>
              <a:gd name="connsiteX6" fmla="*/ 6429 w 128587"/>
              <a:gd name="connsiteY6" fmla="*/ 136731 h 137160"/>
              <a:gd name="connsiteX7" fmla="*/ 36433 w 128587"/>
              <a:gd name="connsiteY7" fmla="*/ 30432 h 137160"/>
              <a:gd name="connsiteX8" fmla="*/ 36433 w 128587"/>
              <a:gd name="connsiteY8" fmla="*/ 113586 h 137160"/>
              <a:gd name="connsiteX9" fmla="*/ 51006 w 128587"/>
              <a:gd name="connsiteY9" fmla="*/ 113586 h 137160"/>
              <a:gd name="connsiteX10" fmla="*/ 81010 w 128587"/>
              <a:gd name="connsiteY10" fmla="*/ 102441 h 137160"/>
              <a:gd name="connsiteX11" fmla="*/ 92154 w 128587"/>
              <a:gd name="connsiteY11" fmla="*/ 71580 h 137160"/>
              <a:gd name="connsiteX12" fmla="*/ 81010 w 128587"/>
              <a:gd name="connsiteY12" fmla="*/ 42434 h 137160"/>
              <a:gd name="connsiteX13" fmla="*/ 51006 w 128587"/>
              <a:gd name="connsiteY13" fmla="*/ 32147 h 137160"/>
              <a:gd name="connsiteX14" fmla="*/ 36433 w 128587"/>
              <a:gd name="connsiteY14" fmla="*/ 32147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587" h="137160">
                <a:moveTo>
                  <a:pt x="6429" y="136731"/>
                </a:moveTo>
                <a:lnTo>
                  <a:pt x="6429" y="6429"/>
                </a:lnTo>
                <a:lnTo>
                  <a:pt x="52721" y="6429"/>
                </a:lnTo>
                <a:cubicBezTo>
                  <a:pt x="99012" y="6429"/>
                  <a:pt x="122158" y="27861"/>
                  <a:pt x="122158" y="69866"/>
                </a:cubicBezTo>
                <a:cubicBezTo>
                  <a:pt x="122158" y="90440"/>
                  <a:pt x="116157" y="106728"/>
                  <a:pt x="103299" y="118729"/>
                </a:cubicBezTo>
                <a:cubicBezTo>
                  <a:pt x="90440" y="130731"/>
                  <a:pt x="74152" y="136731"/>
                  <a:pt x="52721" y="136731"/>
                </a:cubicBezTo>
                <a:lnTo>
                  <a:pt x="6429" y="136731"/>
                </a:lnTo>
                <a:close/>
                <a:moveTo>
                  <a:pt x="36433" y="30432"/>
                </a:moveTo>
                <a:lnTo>
                  <a:pt x="36433" y="113586"/>
                </a:lnTo>
                <a:lnTo>
                  <a:pt x="51006" y="113586"/>
                </a:lnTo>
                <a:cubicBezTo>
                  <a:pt x="63865" y="113586"/>
                  <a:pt x="74152" y="110157"/>
                  <a:pt x="81010" y="102441"/>
                </a:cubicBezTo>
                <a:cubicBezTo>
                  <a:pt x="87868" y="94726"/>
                  <a:pt x="92154" y="84439"/>
                  <a:pt x="92154" y="71580"/>
                </a:cubicBezTo>
                <a:cubicBezTo>
                  <a:pt x="92154" y="58722"/>
                  <a:pt x="88726" y="49292"/>
                  <a:pt x="81010" y="42434"/>
                </a:cubicBezTo>
                <a:cubicBezTo>
                  <a:pt x="74152" y="35576"/>
                  <a:pt x="63865" y="32147"/>
                  <a:pt x="51006" y="32147"/>
                </a:cubicBezTo>
                <a:lnTo>
                  <a:pt x="36433" y="32147"/>
                </a:lnTo>
                <a:close/>
              </a:path>
            </a:pathLst>
          </a:custGeom>
          <a:solidFill>
            <a:schemeClr val="accent3"/>
          </a:solidFill>
          <a:ln w="9525" cap="flat">
            <a:noFill/>
            <a:prstDash val="solid"/>
            <a:miter/>
          </a:ln>
        </p:spPr>
        <p:txBody>
          <a:bodyPr rtlCol="0" anchor="ctr"/>
          <a:lstStyle/>
          <a:p>
            <a:endParaRPr lang="zh-CN" altLang="en-US"/>
          </a:p>
        </p:txBody>
      </p:sp>
      <p:sp>
        <p:nvSpPr>
          <p:cNvPr id="63" name="任意多边形: 形状 62">
            <a:extLst>
              <a:ext uri="{FF2B5EF4-FFF2-40B4-BE49-F238E27FC236}">
                <a16:creationId xmlns:a16="http://schemas.microsoft.com/office/drawing/2014/main" id="{A8D07EDD-1F86-4A93-8176-983802FC7429}"/>
              </a:ext>
            </a:extLst>
          </p:cNvPr>
          <p:cNvSpPr/>
          <p:nvPr/>
        </p:nvSpPr>
        <p:spPr>
          <a:xfrm>
            <a:off x="10548847" y="1210347"/>
            <a:ext cx="115258" cy="139957"/>
          </a:xfrm>
          <a:custGeom>
            <a:avLst/>
            <a:gdLst>
              <a:gd name="connsiteX0" fmla="*/ 114443 w 120015"/>
              <a:gd name="connsiteY0" fmla="*/ 81010 h 145732"/>
              <a:gd name="connsiteX1" fmla="*/ 59579 w 120015"/>
              <a:gd name="connsiteY1" fmla="*/ 140160 h 145732"/>
              <a:gd name="connsiteX2" fmla="*/ 6429 w 120015"/>
              <a:gd name="connsiteY2" fmla="*/ 82725 h 145732"/>
              <a:gd name="connsiteX3" fmla="*/ 6429 w 120015"/>
              <a:gd name="connsiteY3" fmla="*/ 7287 h 145732"/>
              <a:gd name="connsiteX4" fmla="*/ 35576 w 120015"/>
              <a:gd name="connsiteY4" fmla="*/ 7287 h 145732"/>
              <a:gd name="connsiteX5" fmla="*/ 35576 w 120015"/>
              <a:gd name="connsiteY5" fmla="*/ 82725 h 145732"/>
              <a:gd name="connsiteX6" fmla="*/ 60436 w 120015"/>
              <a:gd name="connsiteY6" fmla="*/ 114443 h 145732"/>
              <a:gd name="connsiteX7" fmla="*/ 84439 w 120015"/>
              <a:gd name="connsiteY7" fmla="*/ 83582 h 145732"/>
              <a:gd name="connsiteX8" fmla="*/ 84439 w 120015"/>
              <a:gd name="connsiteY8" fmla="*/ 6429 h 145732"/>
              <a:gd name="connsiteX9" fmla="*/ 113586 w 120015"/>
              <a:gd name="connsiteY9" fmla="*/ 6429 h 145732"/>
              <a:gd name="connsiteX10" fmla="*/ 113586 w 120015"/>
              <a:gd name="connsiteY10" fmla="*/ 81010 h 14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015" h="145732">
                <a:moveTo>
                  <a:pt x="114443" y="81010"/>
                </a:moveTo>
                <a:cubicBezTo>
                  <a:pt x="114443" y="120444"/>
                  <a:pt x="96441" y="140160"/>
                  <a:pt x="59579" y="140160"/>
                </a:cubicBezTo>
                <a:cubicBezTo>
                  <a:pt x="24431" y="140160"/>
                  <a:pt x="6429" y="121301"/>
                  <a:pt x="6429" y="82725"/>
                </a:cubicBezTo>
                <a:lnTo>
                  <a:pt x="6429" y="7287"/>
                </a:lnTo>
                <a:lnTo>
                  <a:pt x="35576" y="7287"/>
                </a:lnTo>
                <a:lnTo>
                  <a:pt x="35576" y="82725"/>
                </a:lnTo>
                <a:cubicBezTo>
                  <a:pt x="35576" y="104156"/>
                  <a:pt x="44148" y="114443"/>
                  <a:pt x="60436" y="114443"/>
                </a:cubicBezTo>
                <a:cubicBezTo>
                  <a:pt x="76724" y="114443"/>
                  <a:pt x="84439" y="104156"/>
                  <a:pt x="84439" y="83582"/>
                </a:cubicBezTo>
                <a:lnTo>
                  <a:pt x="84439" y="6429"/>
                </a:lnTo>
                <a:lnTo>
                  <a:pt x="113586" y="6429"/>
                </a:lnTo>
                <a:lnTo>
                  <a:pt x="113586" y="81010"/>
                </a:lnTo>
                <a:close/>
              </a:path>
            </a:pathLst>
          </a:custGeom>
          <a:solidFill>
            <a:schemeClr val="accent3"/>
          </a:solidFill>
          <a:ln w="9525" cap="flat">
            <a:noFill/>
            <a:prstDash val="solid"/>
            <a:miter/>
          </a:ln>
        </p:spPr>
        <p:txBody>
          <a:bodyPr rtlCol="0" anchor="ctr"/>
          <a:lstStyle/>
          <a:p>
            <a:endParaRPr lang="zh-CN" altLang="en-US"/>
          </a:p>
        </p:txBody>
      </p:sp>
      <p:sp>
        <p:nvSpPr>
          <p:cNvPr id="64" name="任意多边形: 形状 63">
            <a:extLst>
              <a:ext uri="{FF2B5EF4-FFF2-40B4-BE49-F238E27FC236}">
                <a16:creationId xmlns:a16="http://schemas.microsoft.com/office/drawing/2014/main" id="{EE0B524F-AFDA-4B94-BABE-F8D36AF9053D}"/>
              </a:ext>
            </a:extLst>
          </p:cNvPr>
          <p:cNvSpPr/>
          <p:nvPr/>
        </p:nvSpPr>
        <p:spPr>
          <a:xfrm>
            <a:off x="10672338" y="1208700"/>
            <a:ext cx="107026" cy="139957"/>
          </a:xfrm>
          <a:custGeom>
            <a:avLst/>
            <a:gdLst>
              <a:gd name="connsiteX0" fmla="*/ 108442 w 111442"/>
              <a:gd name="connsiteY0" fmla="*/ 135017 h 145732"/>
              <a:gd name="connsiteX1" fmla="*/ 70723 w 111442"/>
              <a:gd name="connsiteY1" fmla="*/ 141875 h 145732"/>
              <a:gd name="connsiteX2" fmla="*/ 23574 w 111442"/>
              <a:gd name="connsiteY2" fmla="*/ 123873 h 145732"/>
              <a:gd name="connsiteX3" fmla="*/ 6429 w 111442"/>
              <a:gd name="connsiteY3" fmla="*/ 76724 h 145732"/>
              <a:gd name="connsiteX4" fmla="*/ 26146 w 111442"/>
              <a:gd name="connsiteY4" fmla="*/ 26146 h 145732"/>
              <a:gd name="connsiteX5" fmla="*/ 76724 w 111442"/>
              <a:gd name="connsiteY5" fmla="*/ 6429 h 145732"/>
              <a:gd name="connsiteX6" fmla="*/ 109299 w 111442"/>
              <a:gd name="connsiteY6" fmla="*/ 11573 h 145732"/>
              <a:gd name="connsiteX7" fmla="*/ 109299 w 111442"/>
              <a:gd name="connsiteY7" fmla="*/ 39862 h 145732"/>
              <a:gd name="connsiteX8" fmla="*/ 79296 w 111442"/>
              <a:gd name="connsiteY8" fmla="*/ 32147 h 145732"/>
              <a:gd name="connsiteX9" fmla="*/ 49292 w 111442"/>
              <a:gd name="connsiteY9" fmla="*/ 44148 h 145732"/>
              <a:gd name="connsiteX10" fmla="*/ 38148 w 111442"/>
              <a:gd name="connsiteY10" fmla="*/ 75867 h 145732"/>
              <a:gd name="connsiteX11" fmla="*/ 48434 w 111442"/>
              <a:gd name="connsiteY11" fmla="*/ 105870 h 145732"/>
              <a:gd name="connsiteX12" fmla="*/ 76724 w 111442"/>
              <a:gd name="connsiteY12" fmla="*/ 117015 h 145732"/>
              <a:gd name="connsiteX13" fmla="*/ 108442 w 111442"/>
              <a:gd name="connsiteY13" fmla="*/ 108442 h 145732"/>
              <a:gd name="connsiteX14" fmla="*/ 108442 w 111442"/>
              <a:gd name="connsiteY14" fmla="*/ 135017 h 14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442" h="145732">
                <a:moveTo>
                  <a:pt x="108442" y="135017"/>
                </a:moveTo>
                <a:cubicBezTo>
                  <a:pt x="99012" y="139303"/>
                  <a:pt x="86154" y="141875"/>
                  <a:pt x="70723" y="141875"/>
                </a:cubicBezTo>
                <a:cubicBezTo>
                  <a:pt x="51006" y="141875"/>
                  <a:pt x="34719" y="135874"/>
                  <a:pt x="23574" y="123873"/>
                </a:cubicBezTo>
                <a:cubicBezTo>
                  <a:pt x="12430" y="111871"/>
                  <a:pt x="6429" y="96441"/>
                  <a:pt x="6429" y="76724"/>
                </a:cubicBezTo>
                <a:cubicBezTo>
                  <a:pt x="6429" y="56150"/>
                  <a:pt x="13287" y="39005"/>
                  <a:pt x="26146" y="26146"/>
                </a:cubicBezTo>
                <a:cubicBezTo>
                  <a:pt x="39005" y="13287"/>
                  <a:pt x="56150" y="6429"/>
                  <a:pt x="76724" y="6429"/>
                </a:cubicBezTo>
                <a:cubicBezTo>
                  <a:pt x="89583" y="6429"/>
                  <a:pt x="99869" y="8144"/>
                  <a:pt x="109299" y="11573"/>
                </a:cubicBezTo>
                <a:lnTo>
                  <a:pt x="109299" y="39862"/>
                </a:lnTo>
                <a:cubicBezTo>
                  <a:pt x="100727" y="34719"/>
                  <a:pt x="90440" y="32147"/>
                  <a:pt x="79296" y="32147"/>
                </a:cubicBezTo>
                <a:cubicBezTo>
                  <a:pt x="67294" y="32147"/>
                  <a:pt x="57007" y="35576"/>
                  <a:pt x="49292" y="44148"/>
                </a:cubicBezTo>
                <a:cubicBezTo>
                  <a:pt x="41576" y="51864"/>
                  <a:pt x="38148" y="62151"/>
                  <a:pt x="38148" y="75867"/>
                </a:cubicBezTo>
                <a:cubicBezTo>
                  <a:pt x="38148" y="88725"/>
                  <a:pt x="41576" y="98155"/>
                  <a:pt x="48434" y="105870"/>
                </a:cubicBezTo>
                <a:cubicBezTo>
                  <a:pt x="55293" y="113586"/>
                  <a:pt x="64722" y="117015"/>
                  <a:pt x="76724" y="117015"/>
                </a:cubicBezTo>
                <a:cubicBezTo>
                  <a:pt x="87868" y="117015"/>
                  <a:pt x="99012" y="114443"/>
                  <a:pt x="108442" y="108442"/>
                </a:cubicBezTo>
                <a:lnTo>
                  <a:pt x="108442" y="135017"/>
                </a:lnTo>
                <a:close/>
              </a:path>
            </a:pathLst>
          </a:custGeom>
          <a:solidFill>
            <a:schemeClr val="accent3"/>
          </a:solidFill>
          <a:ln w="9525" cap="flat">
            <a:noFill/>
            <a:prstDash val="solid"/>
            <a:miter/>
          </a:ln>
        </p:spPr>
        <p:txBody>
          <a:bodyPr rtlCol="0" anchor="ctr"/>
          <a:lstStyle/>
          <a:p>
            <a:endParaRPr lang="zh-CN" altLang="en-US"/>
          </a:p>
        </p:txBody>
      </p:sp>
      <p:sp>
        <p:nvSpPr>
          <p:cNvPr id="65" name="任意多边形: 形状 64">
            <a:extLst>
              <a:ext uri="{FF2B5EF4-FFF2-40B4-BE49-F238E27FC236}">
                <a16:creationId xmlns:a16="http://schemas.microsoft.com/office/drawing/2014/main" id="{736B7EAD-AA72-4091-B92B-104CE3E07A32}"/>
              </a:ext>
            </a:extLst>
          </p:cNvPr>
          <p:cNvSpPr/>
          <p:nvPr/>
        </p:nvSpPr>
        <p:spPr>
          <a:xfrm>
            <a:off x="10778540" y="1211170"/>
            <a:ext cx="131724" cy="131724"/>
          </a:xfrm>
          <a:custGeom>
            <a:avLst/>
            <a:gdLst>
              <a:gd name="connsiteX0" fmla="*/ 135017 w 137160"/>
              <a:gd name="connsiteY0" fmla="*/ 136731 h 137160"/>
              <a:gd name="connsiteX1" fmla="*/ 103299 w 137160"/>
              <a:gd name="connsiteY1" fmla="*/ 136731 h 137160"/>
              <a:gd name="connsiteX2" fmla="*/ 93869 w 137160"/>
              <a:gd name="connsiteY2" fmla="*/ 107585 h 137160"/>
              <a:gd name="connsiteX3" fmla="*/ 47578 w 137160"/>
              <a:gd name="connsiteY3" fmla="*/ 107585 h 137160"/>
              <a:gd name="connsiteX4" fmla="*/ 38148 w 137160"/>
              <a:gd name="connsiteY4" fmla="*/ 136731 h 137160"/>
              <a:gd name="connsiteX5" fmla="*/ 6429 w 137160"/>
              <a:gd name="connsiteY5" fmla="*/ 136731 h 137160"/>
              <a:gd name="connsiteX6" fmla="*/ 53578 w 137160"/>
              <a:gd name="connsiteY6" fmla="*/ 6429 h 137160"/>
              <a:gd name="connsiteX7" fmla="*/ 88726 w 137160"/>
              <a:gd name="connsiteY7" fmla="*/ 6429 h 137160"/>
              <a:gd name="connsiteX8" fmla="*/ 135017 w 137160"/>
              <a:gd name="connsiteY8" fmla="*/ 136731 h 137160"/>
              <a:gd name="connsiteX9" fmla="*/ 87011 w 137160"/>
              <a:gd name="connsiteY9" fmla="*/ 85296 h 137160"/>
              <a:gd name="connsiteX10" fmla="*/ 73295 w 137160"/>
              <a:gd name="connsiteY10" fmla="*/ 41577 h 137160"/>
              <a:gd name="connsiteX11" fmla="*/ 70723 w 137160"/>
              <a:gd name="connsiteY11" fmla="*/ 29575 h 137160"/>
              <a:gd name="connsiteX12" fmla="*/ 69866 w 137160"/>
              <a:gd name="connsiteY12" fmla="*/ 29575 h 137160"/>
              <a:gd name="connsiteX13" fmla="*/ 67294 w 137160"/>
              <a:gd name="connsiteY13" fmla="*/ 40719 h 137160"/>
              <a:gd name="connsiteX14" fmla="*/ 52721 w 137160"/>
              <a:gd name="connsiteY14" fmla="*/ 85296 h 137160"/>
              <a:gd name="connsiteX15" fmla="*/ 87011 w 137160"/>
              <a:gd name="connsiteY15" fmla="*/ 85296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7160" h="137160">
                <a:moveTo>
                  <a:pt x="135017" y="136731"/>
                </a:moveTo>
                <a:lnTo>
                  <a:pt x="103299" y="136731"/>
                </a:lnTo>
                <a:lnTo>
                  <a:pt x="93869" y="107585"/>
                </a:lnTo>
                <a:lnTo>
                  <a:pt x="47578" y="107585"/>
                </a:lnTo>
                <a:lnTo>
                  <a:pt x="38148" y="136731"/>
                </a:lnTo>
                <a:lnTo>
                  <a:pt x="6429" y="136731"/>
                </a:lnTo>
                <a:lnTo>
                  <a:pt x="53578" y="6429"/>
                </a:lnTo>
                <a:lnTo>
                  <a:pt x="88726" y="6429"/>
                </a:lnTo>
                <a:lnTo>
                  <a:pt x="135017" y="136731"/>
                </a:lnTo>
                <a:close/>
                <a:moveTo>
                  <a:pt x="87011" y="85296"/>
                </a:moveTo>
                <a:lnTo>
                  <a:pt x="73295" y="41577"/>
                </a:lnTo>
                <a:cubicBezTo>
                  <a:pt x="72438" y="38148"/>
                  <a:pt x="71581" y="34719"/>
                  <a:pt x="70723" y="29575"/>
                </a:cubicBezTo>
                <a:lnTo>
                  <a:pt x="69866" y="29575"/>
                </a:lnTo>
                <a:cubicBezTo>
                  <a:pt x="69866" y="33004"/>
                  <a:pt x="69009" y="37290"/>
                  <a:pt x="67294" y="40719"/>
                </a:cubicBezTo>
                <a:lnTo>
                  <a:pt x="52721" y="85296"/>
                </a:lnTo>
                <a:lnTo>
                  <a:pt x="87011" y="85296"/>
                </a:lnTo>
                <a:close/>
              </a:path>
            </a:pathLst>
          </a:custGeom>
          <a:solidFill>
            <a:schemeClr val="accent3"/>
          </a:solidFill>
          <a:ln w="9525" cap="flat">
            <a:noFill/>
            <a:prstDash val="solid"/>
            <a:miter/>
          </a:ln>
        </p:spPr>
        <p:txBody>
          <a:bodyPr rtlCol="0" anchor="ctr"/>
          <a:lstStyle/>
          <a:p>
            <a:endParaRPr lang="zh-CN" altLang="en-US"/>
          </a:p>
        </p:txBody>
      </p:sp>
      <p:sp>
        <p:nvSpPr>
          <p:cNvPr id="66" name="任意多边形: 形状 65">
            <a:extLst>
              <a:ext uri="{FF2B5EF4-FFF2-40B4-BE49-F238E27FC236}">
                <a16:creationId xmlns:a16="http://schemas.microsoft.com/office/drawing/2014/main" id="{B96E2437-5CDE-4D92-A69C-39F83F13DD31}"/>
              </a:ext>
            </a:extLst>
          </p:cNvPr>
          <p:cNvSpPr/>
          <p:nvPr/>
        </p:nvSpPr>
        <p:spPr>
          <a:xfrm>
            <a:off x="10906971" y="1211170"/>
            <a:ext cx="107026" cy="131724"/>
          </a:xfrm>
          <a:custGeom>
            <a:avLst/>
            <a:gdLst>
              <a:gd name="connsiteX0" fmla="*/ 109299 w 111442"/>
              <a:gd name="connsiteY0" fmla="*/ 30432 h 137160"/>
              <a:gd name="connsiteX1" fmla="*/ 72438 w 111442"/>
              <a:gd name="connsiteY1" fmla="*/ 30432 h 137160"/>
              <a:gd name="connsiteX2" fmla="*/ 72438 w 111442"/>
              <a:gd name="connsiteY2" fmla="*/ 136731 h 137160"/>
              <a:gd name="connsiteX3" fmla="*/ 43291 w 111442"/>
              <a:gd name="connsiteY3" fmla="*/ 136731 h 137160"/>
              <a:gd name="connsiteX4" fmla="*/ 43291 w 111442"/>
              <a:gd name="connsiteY4" fmla="*/ 30432 h 137160"/>
              <a:gd name="connsiteX5" fmla="*/ 6429 w 111442"/>
              <a:gd name="connsiteY5" fmla="*/ 30432 h 137160"/>
              <a:gd name="connsiteX6" fmla="*/ 6429 w 111442"/>
              <a:gd name="connsiteY6" fmla="*/ 6429 h 137160"/>
              <a:gd name="connsiteX7" fmla="*/ 110156 w 111442"/>
              <a:gd name="connsiteY7" fmla="*/ 6429 h 137160"/>
              <a:gd name="connsiteX8" fmla="*/ 110156 w 111442"/>
              <a:gd name="connsiteY8" fmla="*/ 30432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442" h="137160">
                <a:moveTo>
                  <a:pt x="109299" y="30432"/>
                </a:moveTo>
                <a:lnTo>
                  <a:pt x="72438" y="30432"/>
                </a:lnTo>
                <a:lnTo>
                  <a:pt x="72438" y="136731"/>
                </a:lnTo>
                <a:lnTo>
                  <a:pt x="43291" y="136731"/>
                </a:lnTo>
                <a:lnTo>
                  <a:pt x="43291" y="30432"/>
                </a:lnTo>
                <a:lnTo>
                  <a:pt x="6429" y="30432"/>
                </a:lnTo>
                <a:lnTo>
                  <a:pt x="6429" y="6429"/>
                </a:lnTo>
                <a:lnTo>
                  <a:pt x="110156" y="6429"/>
                </a:lnTo>
                <a:lnTo>
                  <a:pt x="110156" y="30432"/>
                </a:lnTo>
                <a:close/>
              </a:path>
            </a:pathLst>
          </a:custGeom>
          <a:solidFill>
            <a:schemeClr val="accent3"/>
          </a:solidFill>
          <a:ln w="9525" cap="flat">
            <a:noFill/>
            <a:prstDash val="solid"/>
            <a:miter/>
          </a:ln>
        </p:spPr>
        <p:txBody>
          <a:bodyPr rtlCol="0" anchor="ctr"/>
          <a:lstStyle/>
          <a:p>
            <a:endParaRPr lang="zh-CN" altLang="en-US"/>
          </a:p>
        </p:txBody>
      </p:sp>
      <p:sp>
        <p:nvSpPr>
          <p:cNvPr id="67" name="任意多边形: 形状 66">
            <a:extLst>
              <a:ext uri="{FF2B5EF4-FFF2-40B4-BE49-F238E27FC236}">
                <a16:creationId xmlns:a16="http://schemas.microsoft.com/office/drawing/2014/main" id="{A434E047-6753-431B-A655-4C19B8D2F9E7}"/>
              </a:ext>
            </a:extLst>
          </p:cNvPr>
          <p:cNvSpPr/>
          <p:nvPr/>
        </p:nvSpPr>
        <p:spPr>
          <a:xfrm>
            <a:off x="11012350" y="1211170"/>
            <a:ext cx="57630" cy="131724"/>
          </a:xfrm>
          <a:custGeom>
            <a:avLst/>
            <a:gdLst>
              <a:gd name="connsiteX0" fmla="*/ 57864 w 60007"/>
              <a:gd name="connsiteY0" fmla="*/ 6429 h 137160"/>
              <a:gd name="connsiteX1" fmla="*/ 57864 w 60007"/>
              <a:gd name="connsiteY1" fmla="*/ 29575 h 137160"/>
              <a:gd name="connsiteX2" fmla="*/ 46720 w 60007"/>
              <a:gd name="connsiteY2" fmla="*/ 29575 h 137160"/>
              <a:gd name="connsiteX3" fmla="*/ 46720 w 60007"/>
              <a:gd name="connsiteY3" fmla="*/ 114443 h 137160"/>
              <a:gd name="connsiteX4" fmla="*/ 57864 w 60007"/>
              <a:gd name="connsiteY4" fmla="*/ 114443 h 137160"/>
              <a:gd name="connsiteX5" fmla="*/ 57864 w 60007"/>
              <a:gd name="connsiteY5" fmla="*/ 137589 h 137160"/>
              <a:gd name="connsiteX6" fmla="*/ 6429 w 60007"/>
              <a:gd name="connsiteY6" fmla="*/ 137589 h 137160"/>
              <a:gd name="connsiteX7" fmla="*/ 6429 w 60007"/>
              <a:gd name="connsiteY7" fmla="*/ 114443 h 137160"/>
              <a:gd name="connsiteX8" fmla="*/ 17574 w 60007"/>
              <a:gd name="connsiteY8" fmla="*/ 114443 h 137160"/>
              <a:gd name="connsiteX9" fmla="*/ 17574 w 60007"/>
              <a:gd name="connsiteY9" fmla="*/ 29575 h 137160"/>
              <a:gd name="connsiteX10" fmla="*/ 6429 w 60007"/>
              <a:gd name="connsiteY10" fmla="*/ 29575 h 137160"/>
              <a:gd name="connsiteX11" fmla="*/ 6429 w 60007"/>
              <a:gd name="connsiteY11" fmla="*/ 6429 h 137160"/>
              <a:gd name="connsiteX12" fmla="*/ 57864 w 60007"/>
              <a:gd name="connsiteY12" fmla="*/ 6429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007" h="137160">
                <a:moveTo>
                  <a:pt x="57864" y="6429"/>
                </a:moveTo>
                <a:lnTo>
                  <a:pt x="57864" y="29575"/>
                </a:lnTo>
                <a:lnTo>
                  <a:pt x="46720" y="29575"/>
                </a:lnTo>
                <a:lnTo>
                  <a:pt x="46720" y="114443"/>
                </a:lnTo>
                <a:lnTo>
                  <a:pt x="57864" y="114443"/>
                </a:lnTo>
                <a:lnTo>
                  <a:pt x="57864" y="137589"/>
                </a:lnTo>
                <a:lnTo>
                  <a:pt x="6429" y="137589"/>
                </a:lnTo>
                <a:lnTo>
                  <a:pt x="6429" y="114443"/>
                </a:lnTo>
                <a:lnTo>
                  <a:pt x="17574" y="114443"/>
                </a:lnTo>
                <a:lnTo>
                  <a:pt x="17574" y="29575"/>
                </a:lnTo>
                <a:lnTo>
                  <a:pt x="6429" y="29575"/>
                </a:lnTo>
                <a:lnTo>
                  <a:pt x="6429" y="6429"/>
                </a:lnTo>
                <a:lnTo>
                  <a:pt x="57864" y="6429"/>
                </a:lnTo>
                <a:close/>
              </a:path>
            </a:pathLst>
          </a:custGeom>
          <a:solidFill>
            <a:schemeClr val="accent3"/>
          </a:solidFill>
          <a:ln w="9525" cap="flat">
            <a:noFill/>
            <a:prstDash val="solid"/>
            <a:miter/>
          </a:ln>
        </p:spPr>
        <p:txBody>
          <a:bodyPr rtlCol="0" anchor="ctr"/>
          <a:lstStyle/>
          <a:p>
            <a:endParaRPr lang="zh-CN" altLang="en-US"/>
          </a:p>
        </p:txBody>
      </p:sp>
      <p:sp>
        <p:nvSpPr>
          <p:cNvPr id="68" name="任意多边形: 形状 67">
            <a:extLst>
              <a:ext uri="{FF2B5EF4-FFF2-40B4-BE49-F238E27FC236}">
                <a16:creationId xmlns:a16="http://schemas.microsoft.com/office/drawing/2014/main" id="{596D8EF0-3F4A-4940-A807-6EAA1434C419}"/>
              </a:ext>
            </a:extLst>
          </p:cNvPr>
          <p:cNvSpPr/>
          <p:nvPr/>
        </p:nvSpPr>
        <p:spPr>
          <a:xfrm>
            <a:off x="11071625" y="1209523"/>
            <a:ext cx="131724" cy="139957"/>
          </a:xfrm>
          <a:custGeom>
            <a:avLst/>
            <a:gdLst>
              <a:gd name="connsiteX0" fmla="*/ 69866 w 137160"/>
              <a:gd name="connsiteY0" fmla="*/ 141018 h 145732"/>
              <a:gd name="connsiteX1" fmla="*/ 24431 w 137160"/>
              <a:gd name="connsiteY1" fmla="*/ 123015 h 145732"/>
              <a:gd name="connsiteX2" fmla="*/ 6429 w 137160"/>
              <a:gd name="connsiteY2" fmla="*/ 75009 h 145732"/>
              <a:gd name="connsiteX3" fmla="*/ 24431 w 137160"/>
              <a:gd name="connsiteY3" fmla="*/ 25289 h 145732"/>
              <a:gd name="connsiteX4" fmla="*/ 71580 w 137160"/>
              <a:gd name="connsiteY4" fmla="*/ 6429 h 145732"/>
              <a:gd name="connsiteX5" fmla="*/ 117014 w 137160"/>
              <a:gd name="connsiteY5" fmla="*/ 24432 h 145732"/>
              <a:gd name="connsiteX6" fmla="*/ 134159 w 137160"/>
              <a:gd name="connsiteY6" fmla="*/ 72438 h 145732"/>
              <a:gd name="connsiteX7" fmla="*/ 116157 w 137160"/>
              <a:gd name="connsiteY7" fmla="*/ 122158 h 145732"/>
              <a:gd name="connsiteX8" fmla="*/ 69866 w 137160"/>
              <a:gd name="connsiteY8" fmla="*/ 141018 h 145732"/>
              <a:gd name="connsiteX9" fmla="*/ 71580 w 137160"/>
              <a:gd name="connsiteY9" fmla="*/ 31290 h 145732"/>
              <a:gd name="connsiteX10" fmla="*/ 46720 w 137160"/>
              <a:gd name="connsiteY10" fmla="*/ 43291 h 145732"/>
              <a:gd name="connsiteX11" fmla="*/ 37290 w 137160"/>
              <a:gd name="connsiteY11" fmla="*/ 74152 h 145732"/>
              <a:gd name="connsiteX12" fmla="*/ 46720 w 137160"/>
              <a:gd name="connsiteY12" fmla="*/ 105013 h 145732"/>
              <a:gd name="connsiteX13" fmla="*/ 70723 w 137160"/>
              <a:gd name="connsiteY13" fmla="*/ 116157 h 145732"/>
              <a:gd name="connsiteX14" fmla="*/ 94726 w 137160"/>
              <a:gd name="connsiteY14" fmla="*/ 105013 h 145732"/>
              <a:gd name="connsiteX15" fmla="*/ 103299 w 137160"/>
              <a:gd name="connsiteY15" fmla="*/ 74152 h 145732"/>
              <a:gd name="connsiteX16" fmla="*/ 94726 w 137160"/>
              <a:gd name="connsiteY16" fmla="*/ 42434 h 145732"/>
              <a:gd name="connsiteX17" fmla="*/ 71580 w 137160"/>
              <a:gd name="connsiteY17" fmla="*/ 31290 h 14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0" h="145732">
                <a:moveTo>
                  <a:pt x="69866" y="141018"/>
                </a:moveTo>
                <a:cubicBezTo>
                  <a:pt x="51006" y="141018"/>
                  <a:pt x="35576" y="135017"/>
                  <a:pt x="24431" y="123015"/>
                </a:cubicBezTo>
                <a:cubicBezTo>
                  <a:pt x="12430" y="111014"/>
                  <a:pt x="6429" y="94726"/>
                  <a:pt x="6429" y="75009"/>
                </a:cubicBezTo>
                <a:cubicBezTo>
                  <a:pt x="6429" y="54435"/>
                  <a:pt x="12430" y="37290"/>
                  <a:pt x="24431" y="25289"/>
                </a:cubicBezTo>
                <a:cubicBezTo>
                  <a:pt x="36433" y="12430"/>
                  <a:pt x="51864" y="6429"/>
                  <a:pt x="71580" y="6429"/>
                </a:cubicBezTo>
                <a:cubicBezTo>
                  <a:pt x="90440" y="6429"/>
                  <a:pt x="105013" y="12430"/>
                  <a:pt x="117014" y="24432"/>
                </a:cubicBezTo>
                <a:cubicBezTo>
                  <a:pt x="128159" y="36433"/>
                  <a:pt x="134159" y="52721"/>
                  <a:pt x="134159" y="72438"/>
                </a:cubicBezTo>
                <a:cubicBezTo>
                  <a:pt x="134159" y="93012"/>
                  <a:pt x="128159" y="109299"/>
                  <a:pt x="116157" y="122158"/>
                </a:cubicBezTo>
                <a:cubicBezTo>
                  <a:pt x="105013" y="134160"/>
                  <a:pt x="89583" y="141018"/>
                  <a:pt x="69866" y="141018"/>
                </a:cubicBezTo>
                <a:close/>
                <a:moveTo>
                  <a:pt x="71580" y="31290"/>
                </a:moveTo>
                <a:cubicBezTo>
                  <a:pt x="61293" y="31290"/>
                  <a:pt x="52721" y="35576"/>
                  <a:pt x="46720" y="43291"/>
                </a:cubicBezTo>
                <a:cubicBezTo>
                  <a:pt x="40719" y="51006"/>
                  <a:pt x="37290" y="61293"/>
                  <a:pt x="37290" y="74152"/>
                </a:cubicBezTo>
                <a:cubicBezTo>
                  <a:pt x="37290" y="87011"/>
                  <a:pt x="40719" y="97298"/>
                  <a:pt x="46720" y="105013"/>
                </a:cubicBezTo>
                <a:cubicBezTo>
                  <a:pt x="52721" y="112728"/>
                  <a:pt x="60436" y="116157"/>
                  <a:pt x="70723" y="116157"/>
                </a:cubicBezTo>
                <a:cubicBezTo>
                  <a:pt x="81010" y="116157"/>
                  <a:pt x="88725" y="112728"/>
                  <a:pt x="94726" y="105013"/>
                </a:cubicBezTo>
                <a:cubicBezTo>
                  <a:pt x="100727" y="97298"/>
                  <a:pt x="103299" y="87868"/>
                  <a:pt x="103299" y="74152"/>
                </a:cubicBezTo>
                <a:cubicBezTo>
                  <a:pt x="103299" y="60436"/>
                  <a:pt x="100727" y="50149"/>
                  <a:pt x="94726" y="42434"/>
                </a:cubicBezTo>
                <a:cubicBezTo>
                  <a:pt x="89583" y="34719"/>
                  <a:pt x="81010" y="31290"/>
                  <a:pt x="71580" y="31290"/>
                </a:cubicBezTo>
                <a:close/>
              </a:path>
            </a:pathLst>
          </a:custGeom>
          <a:solidFill>
            <a:schemeClr val="accent3"/>
          </a:solidFill>
          <a:ln w="9525" cap="flat">
            <a:noFill/>
            <a:prstDash val="solid"/>
            <a:miter/>
          </a:ln>
        </p:spPr>
        <p:txBody>
          <a:bodyPr rtlCol="0" anchor="ctr"/>
          <a:lstStyle/>
          <a:p>
            <a:endParaRPr lang="zh-CN" altLang="en-US"/>
          </a:p>
        </p:txBody>
      </p:sp>
      <p:sp>
        <p:nvSpPr>
          <p:cNvPr id="69" name="任意多边形: 形状 68">
            <a:extLst>
              <a:ext uri="{FF2B5EF4-FFF2-40B4-BE49-F238E27FC236}">
                <a16:creationId xmlns:a16="http://schemas.microsoft.com/office/drawing/2014/main" id="{B37E4CEC-5FFA-4CE3-B5E1-D81226955E04}"/>
              </a:ext>
            </a:extLst>
          </p:cNvPr>
          <p:cNvSpPr/>
          <p:nvPr/>
        </p:nvSpPr>
        <p:spPr>
          <a:xfrm>
            <a:off x="11215698" y="1211170"/>
            <a:ext cx="123491" cy="131724"/>
          </a:xfrm>
          <a:custGeom>
            <a:avLst/>
            <a:gdLst>
              <a:gd name="connsiteX0" fmla="*/ 123873 w 128587"/>
              <a:gd name="connsiteY0" fmla="*/ 136731 h 137160"/>
              <a:gd name="connsiteX1" fmla="*/ 93869 w 128587"/>
              <a:gd name="connsiteY1" fmla="*/ 136731 h 137160"/>
              <a:gd name="connsiteX2" fmla="*/ 39862 w 128587"/>
              <a:gd name="connsiteY2" fmla="*/ 54435 h 137160"/>
              <a:gd name="connsiteX3" fmla="*/ 33004 w 128587"/>
              <a:gd name="connsiteY3" fmla="*/ 43291 h 137160"/>
              <a:gd name="connsiteX4" fmla="*/ 33004 w 128587"/>
              <a:gd name="connsiteY4" fmla="*/ 43291 h 137160"/>
              <a:gd name="connsiteX5" fmla="*/ 33861 w 128587"/>
              <a:gd name="connsiteY5" fmla="*/ 64722 h 137160"/>
              <a:gd name="connsiteX6" fmla="*/ 33861 w 128587"/>
              <a:gd name="connsiteY6" fmla="*/ 136731 h 137160"/>
              <a:gd name="connsiteX7" fmla="*/ 6429 w 128587"/>
              <a:gd name="connsiteY7" fmla="*/ 136731 h 137160"/>
              <a:gd name="connsiteX8" fmla="*/ 6429 w 128587"/>
              <a:gd name="connsiteY8" fmla="*/ 6429 h 137160"/>
              <a:gd name="connsiteX9" fmla="*/ 38148 w 128587"/>
              <a:gd name="connsiteY9" fmla="*/ 6429 h 137160"/>
              <a:gd name="connsiteX10" fmla="*/ 89583 w 128587"/>
              <a:gd name="connsiteY10" fmla="*/ 86154 h 137160"/>
              <a:gd name="connsiteX11" fmla="*/ 96441 w 128587"/>
              <a:gd name="connsiteY11" fmla="*/ 96441 h 137160"/>
              <a:gd name="connsiteX12" fmla="*/ 96441 w 128587"/>
              <a:gd name="connsiteY12" fmla="*/ 96441 h 137160"/>
              <a:gd name="connsiteX13" fmla="*/ 95583 w 128587"/>
              <a:gd name="connsiteY13" fmla="*/ 78438 h 137160"/>
              <a:gd name="connsiteX14" fmla="*/ 95583 w 128587"/>
              <a:gd name="connsiteY14" fmla="*/ 6429 h 137160"/>
              <a:gd name="connsiteX15" fmla="*/ 123015 w 128587"/>
              <a:gd name="connsiteY15" fmla="*/ 6429 h 137160"/>
              <a:gd name="connsiteX16" fmla="*/ 123015 w 128587"/>
              <a:gd name="connsiteY16" fmla="*/ 136731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587" h="137160">
                <a:moveTo>
                  <a:pt x="123873" y="136731"/>
                </a:moveTo>
                <a:lnTo>
                  <a:pt x="93869" y="136731"/>
                </a:lnTo>
                <a:lnTo>
                  <a:pt x="39862" y="54435"/>
                </a:lnTo>
                <a:cubicBezTo>
                  <a:pt x="36433" y="49292"/>
                  <a:pt x="34719" y="45863"/>
                  <a:pt x="33004" y="43291"/>
                </a:cubicBezTo>
                <a:lnTo>
                  <a:pt x="33004" y="43291"/>
                </a:lnTo>
                <a:cubicBezTo>
                  <a:pt x="33861" y="47577"/>
                  <a:pt x="33861" y="55293"/>
                  <a:pt x="33861" y="64722"/>
                </a:cubicBezTo>
                <a:lnTo>
                  <a:pt x="33861" y="136731"/>
                </a:lnTo>
                <a:lnTo>
                  <a:pt x="6429" y="136731"/>
                </a:lnTo>
                <a:lnTo>
                  <a:pt x="6429" y="6429"/>
                </a:lnTo>
                <a:lnTo>
                  <a:pt x="38148" y="6429"/>
                </a:lnTo>
                <a:lnTo>
                  <a:pt x="89583" y="86154"/>
                </a:lnTo>
                <a:cubicBezTo>
                  <a:pt x="92154" y="89583"/>
                  <a:pt x="93869" y="93012"/>
                  <a:pt x="96441" y="96441"/>
                </a:cubicBezTo>
                <a:lnTo>
                  <a:pt x="96441" y="96441"/>
                </a:lnTo>
                <a:cubicBezTo>
                  <a:pt x="95583" y="93012"/>
                  <a:pt x="95583" y="87011"/>
                  <a:pt x="95583" y="78438"/>
                </a:cubicBezTo>
                <a:lnTo>
                  <a:pt x="95583" y="6429"/>
                </a:lnTo>
                <a:lnTo>
                  <a:pt x="123015" y="6429"/>
                </a:lnTo>
                <a:lnTo>
                  <a:pt x="123015" y="136731"/>
                </a:lnTo>
                <a:close/>
              </a:path>
            </a:pathLst>
          </a:custGeom>
          <a:solidFill>
            <a:schemeClr val="accent3"/>
          </a:solidFill>
          <a:ln w="9525" cap="flat">
            <a:noFill/>
            <a:prstDash val="solid"/>
            <a:miter/>
          </a:ln>
        </p:spPr>
        <p:txBody>
          <a:bodyPr rtlCol="0" anchor="ctr"/>
          <a:lstStyle/>
          <a:p>
            <a:endParaRPr lang="zh-CN" altLang="en-US"/>
          </a:p>
        </p:txBody>
      </p:sp>
      <p:sp>
        <p:nvSpPr>
          <p:cNvPr id="70" name="任意多边形: 形状 69">
            <a:extLst>
              <a:ext uri="{FF2B5EF4-FFF2-40B4-BE49-F238E27FC236}">
                <a16:creationId xmlns:a16="http://schemas.microsoft.com/office/drawing/2014/main" id="{EFB358C0-8C29-4C35-91FA-009274B71F2E}"/>
              </a:ext>
            </a:extLst>
          </p:cNvPr>
          <p:cNvSpPr/>
          <p:nvPr/>
        </p:nvSpPr>
        <p:spPr>
          <a:xfrm>
            <a:off x="10322446" y="1373355"/>
            <a:ext cx="16465" cy="82327"/>
          </a:xfrm>
          <a:custGeom>
            <a:avLst/>
            <a:gdLst>
              <a:gd name="connsiteX0" fmla="*/ 12430 w 17145"/>
              <a:gd name="connsiteY0" fmla="*/ 18431 h 85725"/>
              <a:gd name="connsiteX1" fmla="*/ 8144 w 17145"/>
              <a:gd name="connsiteY1" fmla="*/ 16716 h 85725"/>
              <a:gd name="connsiteX2" fmla="*/ 6429 w 17145"/>
              <a:gd name="connsiteY2" fmla="*/ 12430 h 85725"/>
              <a:gd name="connsiteX3" fmla="*/ 8144 w 17145"/>
              <a:gd name="connsiteY3" fmla="*/ 8144 h 85725"/>
              <a:gd name="connsiteX4" fmla="*/ 12430 w 17145"/>
              <a:gd name="connsiteY4" fmla="*/ 6429 h 85725"/>
              <a:gd name="connsiteX5" fmla="*/ 16716 w 17145"/>
              <a:gd name="connsiteY5" fmla="*/ 8144 h 85725"/>
              <a:gd name="connsiteX6" fmla="*/ 18431 w 17145"/>
              <a:gd name="connsiteY6" fmla="*/ 12430 h 85725"/>
              <a:gd name="connsiteX7" fmla="*/ 16716 w 17145"/>
              <a:gd name="connsiteY7" fmla="*/ 16716 h 85725"/>
              <a:gd name="connsiteX8" fmla="*/ 12430 w 17145"/>
              <a:gd name="connsiteY8" fmla="*/ 18431 h 85725"/>
              <a:gd name="connsiteX9" fmla="*/ 16716 w 17145"/>
              <a:gd name="connsiteY9" fmla="*/ 85296 h 85725"/>
              <a:gd name="connsiteX10" fmla="*/ 8144 w 17145"/>
              <a:gd name="connsiteY10" fmla="*/ 85296 h 85725"/>
              <a:gd name="connsiteX11" fmla="*/ 8144 w 17145"/>
              <a:gd name="connsiteY11" fmla="*/ 32147 h 85725"/>
              <a:gd name="connsiteX12" fmla="*/ 16716 w 17145"/>
              <a:gd name="connsiteY12" fmla="*/ 32147 h 85725"/>
              <a:gd name="connsiteX13" fmla="*/ 16716 w 17145"/>
              <a:gd name="connsiteY13" fmla="*/ 8529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45" h="85725">
                <a:moveTo>
                  <a:pt x="12430" y="18431"/>
                </a:moveTo>
                <a:cubicBezTo>
                  <a:pt x="10716" y="18431"/>
                  <a:pt x="9858" y="17574"/>
                  <a:pt x="8144" y="16716"/>
                </a:cubicBezTo>
                <a:cubicBezTo>
                  <a:pt x="6429" y="15859"/>
                  <a:pt x="6429" y="14145"/>
                  <a:pt x="6429" y="12430"/>
                </a:cubicBezTo>
                <a:cubicBezTo>
                  <a:pt x="6429" y="10716"/>
                  <a:pt x="7286" y="9858"/>
                  <a:pt x="8144" y="8144"/>
                </a:cubicBezTo>
                <a:cubicBezTo>
                  <a:pt x="9001" y="7287"/>
                  <a:pt x="10716" y="6429"/>
                  <a:pt x="12430" y="6429"/>
                </a:cubicBezTo>
                <a:cubicBezTo>
                  <a:pt x="14144" y="6429"/>
                  <a:pt x="15002" y="7287"/>
                  <a:pt x="16716" y="8144"/>
                </a:cubicBezTo>
                <a:cubicBezTo>
                  <a:pt x="17574" y="9001"/>
                  <a:pt x="18431" y="10716"/>
                  <a:pt x="18431" y="12430"/>
                </a:cubicBezTo>
                <a:cubicBezTo>
                  <a:pt x="18431" y="14145"/>
                  <a:pt x="17574" y="15002"/>
                  <a:pt x="16716" y="16716"/>
                </a:cubicBezTo>
                <a:cubicBezTo>
                  <a:pt x="15002" y="18431"/>
                  <a:pt x="14144" y="18431"/>
                  <a:pt x="12430" y="18431"/>
                </a:cubicBezTo>
                <a:close/>
                <a:moveTo>
                  <a:pt x="16716" y="85296"/>
                </a:moveTo>
                <a:lnTo>
                  <a:pt x="8144" y="85296"/>
                </a:lnTo>
                <a:lnTo>
                  <a:pt x="8144" y="32147"/>
                </a:lnTo>
                <a:lnTo>
                  <a:pt x="16716" y="32147"/>
                </a:lnTo>
                <a:lnTo>
                  <a:pt x="16716" y="85296"/>
                </a:lnTo>
                <a:close/>
              </a:path>
            </a:pathLst>
          </a:custGeom>
          <a:solidFill>
            <a:schemeClr val="accent3"/>
          </a:solidFill>
          <a:ln w="9525" cap="flat">
            <a:noFill/>
            <a:prstDash val="solid"/>
            <a:miter/>
          </a:ln>
        </p:spPr>
        <p:txBody>
          <a:bodyPr rtlCol="0" anchor="ctr"/>
          <a:lstStyle/>
          <a:p>
            <a:endParaRPr lang="zh-CN" altLang="en-US"/>
          </a:p>
        </p:txBody>
      </p:sp>
      <p:sp>
        <p:nvSpPr>
          <p:cNvPr id="71" name="任意多边形: 形状 70">
            <a:extLst>
              <a:ext uri="{FF2B5EF4-FFF2-40B4-BE49-F238E27FC236}">
                <a16:creationId xmlns:a16="http://schemas.microsoft.com/office/drawing/2014/main" id="{50E20417-B938-4F53-B02A-BBECC3B68106}"/>
              </a:ext>
            </a:extLst>
          </p:cNvPr>
          <p:cNvSpPr/>
          <p:nvPr/>
        </p:nvSpPr>
        <p:spPr>
          <a:xfrm>
            <a:off x="10349615" y="1378295"/>
            <a:ext cx="65862" cy="82327"/>
          </a:xfrm>
          <a:custGeom>
            <a:avLst/>
            <a:gdLst>
              <a:gd name="connsiteX0" fmla="*/ 67294 w 68580"/>
              <a:gd name="connsiteY0" fmla="*/ 80153 h 85725"/>
              <a:gd name="connsiteX1" fmla="*/ 56150 w 68580"/>
              <a:gd name="connsiteY1" fmla="*/ 80153 h 85725"/>
              <a:gd name="connsiteX2" fmla="*/ 17574 w 68580"/>
              <a:gd name="connsiteY2" fmla="*/ 21003 h 85725"/>
              <a:gd name="connsiteX3" fmla="*/ 15002 w 68580"/>
              <a:gd name="connsiteY3" fmla="*/ 16716 h 85725"/>
              <a:gd name="connsiteX4" fmla="*/ 15002 w 68580"/>
              <a:gd name="connsiteY4" fmla="*/ 16716 h 85725"/>
              <a:gd name="connsiteX5" fmla="*/ 15002 w 68580"/>
              <a:gd name="connsiteY5" fmla="*/ 27003 h 85725"/>
              <a:gd name="connsiteX6" fmla="*/ 15002 w 68580"/>
              <a:gd name="connsiteY6" fmla="*/ 81010 h 85725"/>
              <a:gd name="connsiteX7" fmla="*/ 6429 w 68580"/>
              <a:gd name="connsiteY7" fmla="*/ 81010 h 85725"/>
              <a:gd name="connsiteX8" fmla="*/ 6429 w 68580"/>
              <a:gd name="connsiteY8" fmla="*/ 6429 h 85725"/>
              <a:gd name="connsiteX9" fmla="*/ 17574 w 68580"/>
              <a:gd name="connsiteY9" fmla="*/ 6429 h 85725"/>
              <a:gd name="connsiteX10" fmla="*/ 55293 w 68580"/>
              <a:gd name="connsiteY10" fmla="*/ 64722 h 85725"/>
              <a:gd name="connsiteX11" fmla="*/ 58721 w 68580"/>
              <a:gd name="connsiteY11" fmla="*/ 69866 h 85725"/>
              <a:gd name="connsiteX12" fmla="*/ 58721 w 68580"/>
              <a:gd name="connsiteY12" fmla="*/ 69866 h 85725"/>
              <a:gd name="connsiteX13" fmla="*/ 57864 w 68580"/>
              <a:gd name="connsiteY13" fmla="*/ 58722 h 85725"/>
              <a:gd name="connsiteX14" fmla="*/ 57864 w 68580"/>
              <a:gd name="connsiteY14" fmla="*/ 6429 h 85725"/>
              <a:gd name="connsiteX15" fmla="*/ 66437 w 68580"/>
              <a:gd name="connsiteY15" fmla="*/ 6429 h 85725"/>
              <a:gd name="connsiteX16" fmla="*/ 66437 w 68580"/>
              <a:gd name="connsiteY16" fmla="*/ 8015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580" h="85725">
                <a:moveTo>
                  <a:pt x="67294" y="80153"/>
                </a:moveTo>
                <a:lnTo>
                  <a:pt x="56150" y="80153"/>
                </a:lnTo>
                <a:lnTo>
                  <a:pt x="17574" y="21003"/>
                </a:lnTo>
                <a:cubicBezTo>
                  <a:pt x="16716" y="19288"/>
                  <a:pt x="15859" y="17574"/>
                  <a:pt x="15002" y="16716"/>
                </a:cubicBezTo>
                <a:lnTo>
                  <a:pt x="15002" y="16716"/>
                </a:lnTo>
                <a:cubicBezTo>
                  <a:pt x="15002" y="18431"/>
                  <a:pt x="15002" y="21860"/>
                  <a:pt x="15002" y="27003"/>
                </a:cubicBezTo>
                <a:lnTo>
                  <a:pt x="15002" y="81010"/>
                </a:lnTo>
                <a:lnTo>
                  <a:pt x="6429" y="81010"/>
                </a:lnTo>
                <a:lnTo>
                  <a:pt x="6429" y="6429"/>
                </a:lnTo>
                <a:lnTo>
                  <a:pt x="17574" y="6429"/>
                </a:lnTo>
                <a:lnTo>
                  <a:pt x="55293" y="64722"/>
                </a:lnTo>
                <a:cubicBezTo>
                  <a:pt x="57007" y="67294"/>
                  <a:pt x="57864" y="69009"/>
                  <a:pt x="58721" y="69866"/>
                </a:cubicBezTo>
                <a:lnTo>
                  <a:pt x="58721" y="69866"/>
                </a:lnTo>
                <a:cubicBezTo>
                  <a:pt x="58721" y="67294"/>
                  <a:pt x="57864" y="63865"/>
                  <a:pt x="57864" y="58722"/>
                </a:cubicBezTo>
                <a:lnTo>
                  <a:pt x="57864" y="6429"/>
                </a:lnTo>
                <a:lnTo>
                  <a:pt x="66437" y="6429"/>
                </a:lnTo>
                <a:lnTo>
                  <a:pt x="66437" y="80153"/>
                </a:lnTo>
                <a:close/>
              </a:path>
            </a:pathLst>
          </a:custGeom>
          <a:solidFill>
            <a:schemeClr val="accent3"/>
          </a:solidFill>
          <a:ln w="9525" cap="flat">
            <a:noFill/>
            <a:prstDash val="solid"/>
            <a:miter/>
          </a:ln>
        </p:spPr>
        <p:txBody>
          <a:bodyPr rtlCol="0" anchor="ctr"/>
          <a:lstStyle/>
          <a:p>
            <a:endParaRPr lang="zh-CN" altLang="en-US"/>
          </a:p>
        </p:txBody>
      </p:sp>
      <p:sp>
        <p:nvSpPr>
          <p:cNvPr id="72" name="任意多边形: 形状 71">
            <a:extLst>
              <a:ext uri="{FF2B5EF4-FFF2-40B4-BE49-F238E27FC236}">
                <a16:creationId xmlns:a16="http://schemas.microsoft.com/office/drawing/2014/main" id="{F6E77B04-92C5-44DC-8167-B141937F933B}"/>
              </a:ext>
            </a:extLst>
          </p:cNvPr>
          <p:cNvSpPr/>
          <p:nvPr/>
        </p:nvSpPr>
        <p:spPr>
          <a:xfrm>
            <a:off x="10427002" y="1377471"/>
            <a:ext cx="41164" cy="82327"/>
          </a:xfrm>
          <a:custGeom>
            <a:avLst/>
            <a:gdLst>
              <a:gd name="connsiteX0" fmla="*/ 44148 w 42862"/>
              <a:gd name="connsiteY0" fmla="*/ 14145 h 85725"/>
              <a:gd name="connsiteX1" fmla="*/ 15002 w 42862"/>
              <a:gd name="connsiteY1" fmla="*/ 14145 h 85725"/>
              <a:gd name="connsiteX2" fmla="*/ 15002 w 42862"/>
              <a:gd name="connsiteY2" fmla="*/ 39862 h 85725"/>
              <a:gd name="connsiteX3" fmla="*/ 41576 w 42862"/>
              <a:gd name="connsiteY3" fmla="*/ 39862 h 85725"/>
              <a:gd name="connsiteX4" fmla="*/ 41576 w 42862"/>
              <a:gd name="connsiteY4" fmla="*/ 47577 h 85725"/>
              <a:gd name="connsiteX5" fmla="*/ 15002 w 42862"/>
              <a:gd name="connsiteY5" fmla="*/ 47577 h 85725"/>
              <a:gd name="connsiteX6" fmla="*/ 15002 w 42862"/>
              <a:gd name="connsiteY6" fmla="*/ 81010 h 85725"/>
              <a:gd name="connsiteX7" fmla="*/ 6429 w 42862"/>
              <a:gd name="connsiteY7" fmla="*/ 81010 h 85725"/>
              <a:gd name="connsiteX8" fmla="*/ 6429 w 42862"/>
              <a:gd name="connsiteY8" fmla="*/ 6429 h 85725"/>
              <a:gd name="connsiteX9" fmla="*/ 44148 w 42862"/>
              <a:gd name="connsiteY9" fmla="*/ 6429 h 85725"/>
              <a:gd name="connsiteX10" fmla="*/ 44148 w 42862"/>
              <a:gd name="connsiteY10" fmla="*/ 1414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862" h="85725">
                <a:moveTo>
                  <a:pt x="44148" y="14145"/>
                </a:moveTo>
                <a:lnTo>
                  <a:pt x="15002" y="14145"/>
                </a:lnTo>
                <a:lnTo>
                  <a:pt x="15002" y="39862"/>
                </a:lnTo>
                <a:lnTo>
                  <a:pt x="41576" y="39862"/>
                </a:lnTo>
                <a:lnTo>
                  <a:pt x="41576" y="47577"/>
                </a:lnTo>
                <a:lnTo>
                  <a:pt x="15002" y="47577"/>
                </a:lnTo>
                <a:lnTo>
                  <a:pt x="15002" y="81010"/>
                </a:lnTo>
                <a:lnTo>
                  <a:pt x="6429" y="81010"/>
                </a:lnTo>
                <a:lnTo>
                  <a:pt x="6429" y="6429"/>
                </a:lnTo>
                <a:lnTo>
                  <a:pt x="44148" y="6429"/>
                </a:lnTo>
                <a:lnTo>
                  <a:pt x="44148" y="14145"/>
                </a:lnTo>
                <a:close/>
              </a:path>
            </a:pathLst>
          </a:custGeom>
          <a:solidFill>
            <a:schemeClr val="accent3"/>
          </a:solidFill>
          <a:ln w="9525" cap="flat">
            <a:noFill/>
            <a:prstDash val="solid"/>
            <a:miter/>
          </a:ln>
        </p:spPr>
        <p:txBody>
          <a:bodyPr rtlCol="0" anchor="ctr"/>
          <a:lstStyle/>
          <a:p>
            <a:endParaRPr lang="zh-CN" altLang="en-US"/>
          </a:p>
        </p:txBody>
      </p:sp>
      <p:sp>
        <p:nvSpPr>
          <p:cNvPr id="73" name="任意多边形: 形状 72">
            <a:extLst>
              <a:ext uri="{FF2B5EF4-FFF2-40B4-BE49-F238E27FC236}">
                <a16:creationId xmlns:a16="http://schemas.microsoft.com/office/drawing/2014/main" id="{F60B2D5E-E7B4-454A-8B09-EB45E32E2404}"/>
              </a:ext>
            </a:extLst>
          </p:cNvPr>
          <p:cNvSpPr/>
          <p:nvPr/>
        </p:nvSpPr>
        <p:spPr>
          <a:xfrm>
            <a:off x="10471460" y="1375825"/>
            <a:ext cx="74095" cy="82327"/>
          </a:xfrm>
          <a:custGeom>
            <a:avLst/>
            <a:gdLst>
              <a:gd name="connsiteX0" fmla="*/ 41577 w 77152"/>
              <a:gd name="connsiteY0" fmla="*/ 84439 h 85725"/>
              <a:gd name="connsiteX1" fmla="*/ 15859 w 77152"/>
              <a:gd name="connsiteY1" fmla="*/ 74152 h 85725"/>
              <a:gd name="connsiteX2" fmla="*/ 6429 w 77152"/>
              <a:gd name="connsiteY2" fmla="*/ 46720 h 85725"/>
              <a:gd name="connsiteX3" fmla="*/ 15859 w 77152"/>
              <a:gd name="connsiteY3" fmla="*/ 17574 h 85725"/>
              <a:gd name="connsiteX4" fmla="*/ 42434 w 77152"/>
              <a:gd name="connsiteY4" fmla="*/ 6429 h 85725"/>
              <a:gd name="connsiteX5" fmla="*/ 67294 w 77152"/>
              <a:gd name="connsiteY5" fmla="*/ 16716 h 85725"/>
              <a:gd name="connsiteX6" fmla="*/ 76724 w 77152"/>
              <a:gd name="connsiteY6" fmla="*/ 44148 h 85725"/>
              <a:gd name="connsiteX7" fmla="*/ 67294 w 77152"/>
              <a:gd name="connsiteY7" fmla="*/ 73295 h 85725"/>
              <a:gd name="connsiteX8" fmla="*/ 41577 w 77152"/>
              <a:gd name="connsiteY8" fmla="*/ 84439 h 85725"/>
              <a:gd name="connsiteX9" fmla="*/ 42434 w 77152"/>
              <a:gd name="connsiteY9" fmla="*/ 15002 h 85725"/>
              <a:gd name="connsiteX10" fmla="*/ 23574 w 77152"/>
              <a:gd name="connsiteY10" fmla="*/ 23574 h 85725"/>
              <a:gd name="connsiteX11" fmla="*/ 15859 w 77152"/>
              <a:gd name="connsiteY11" fmla="*/ 45863 h 85725"/>
              <a:gd name="connsiteX12" fmla="*/ 22717 w 77152"/>
              <a:gd name="connsiteY12" fmla="*/ 68151 h 85725"/>
              <a:gd name="connsiteX13" fmla="*/ 41577 w 77152"/>
              <a:gd name="connsiteY13" fmla="*/ 76724 h 85725"/>
              <a:gd name="connsiteX14" fmla="*/ 61294 w 77152"/>
              <a:gd name="connsiteY14" fmla="*/ 69009 h 85725"/>
              <a:gd name="connsiteX15" fmla="*/ 68151 w 77152"/>
              <a:gd name="connsiteY15" fmla="*/ 46720 h 85725"/>
              <a:gd name="connsiteX16" fmla="*/ 61294 w 77152"/>
              <a:gd name="connsiteY16" fmla="*/ 23574 h 85725"/>
              <a:gd name="connsiteX17" fmla="*/ 42434 w 77152"/>
              <a:gd name="connsiteY17" fmla="*/ 15002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152" h="85725">
                <a:moveTo>
                  <a:pt x="41577" y="84439"/>
                </a:moveTo>
                <a:cubicBezTo>
                  <a:pt x="31290" y="84439"/>
                  <a:pt x="22717" y="81010"/>
                  <a:pt x="15859" y="74152"/>
                </a:cubicBezTo>
                <a:cubicBezTo>
                  <a:pt x="9859" y="67294"/>
                  <a:pt x="6429" y="57864"/>
                  <a:pt x="6429" y="46720"/>
                </a:cubicBezTo>
                <a:cubicBezTo>
                  <a:pt x="6429" y="34719"/>
                  <a:pt x="9859" y="25289"/>
                  <a:pt x="15859" y="17574"/>
                </a:cubicBezTo>
                <a:cubicBezTo>
                  <a:pt x="22717" y="10716"/>
                  <a:pt x="31290" y="6429"/>
                  <a:pt x="42434" y="6429"/>
                </a:cubicBezTo>
                <a:cubicBezTo>
                  <a:pt x="52721" y="6429"/>
                  <a:pt x="61294" y="9858"/>
                  <a:pt x="67294" y="16716"/>
                </a:cubicBezTo>
                <a:cubicBezTo>
                  <a:pt x="73295" y="23574"/>
                  <a:pt x="76724" y="33004"/>
                  <a:pt x="76724" y="44148"/>
                </a:cubicBezTo>
                <a:cubicBezTo>
                  <a:pt x="76724" y="56150"/>
                  <a:pt x="73295" y="65580"/>
                  <a:pt x="67294" y="73295"/>
                </a:cubicBezTo>
                <a:cubicBezTo>
                  <a:pt x="61294" y="81010"/>
                  <a:pt x="52721" y="84439"/>
                  <a:pt x="41577" y="84439"/>
                </a:cubicBezTo>
                <a:close/>
                <a:moveTo>
                  <a:pt x="42434" y="15002"/>
                </a:moveTo>
                <a:cubicBezTo>
                  <a:pt x="34719" y="15002"/>
                  <a:pt x="27861" y="17574"/>
                  <a:pt x="23574" y="23574"/>
                </a:cubicBezTo>
                <a:cubicBezTo>
                  <a:pt x="18431" y="29575"/>
                  <a:pt x="15859" y="36433"/>
                  <a:pt x="15859" y="45863"/>
                </a:cubicBezTo>
                <a:cubicBezTo>
                  <a:pt x="15859" y="55293"/>
                  <a:pt x="18431" y="62151"/>
                  <a:pt x="22717" y="68151"/>
                </a:cubicBezTo>
                <a:cubicBezTo>
                  <a:pt x="27861" y="74152"/>
                  <a:pt x="33861" y="76724"/>
                  <a:pt x="41577" y="76724"/>
                </a:cubicBezTo>
                <a:cubicBezTo>
                  <a:pt x="50149" y="76724"/>
                  <a:pt x="56150" y="74152"/>
                  <a:pt x="61294" y="69009"/>
                </a:cubicBezTo>
                <a:cubicBezTo>
                  <a:pt x="66437" y="63865"/>
                  <a:pt x="68151" y="56150"/>
                  <a:pt x="68151" y="46720"/>
                </a:cubicBezTo>
                <a:cubicBezTo>
                  <a:pt x="68151" y="37290"/>
                  <a:pt x="65580" y="29575"/>
                  <a:pt x="61294" y="23574"/>
                </a:cubicBezTo>
                <a:cubicBezTo>
                  <a:pt x="57007" y="17574"/>
                  <a:pt x="50149" y="15002"/>
                  <a:pt x="42434" y="15002"/>
                </a:cubicBezTo>
                <a:close/>
              </a:path>
            </a:pathLst>
          </a:custGeom>
          <a:solidFill>
            <a:schemeClr val="accent3"/>
          </a:solidFill>
          <a:ln w="9525" cap="flat">
            <a:noFill/>
            <a:prstDash val="solid"/>
            <a:miter/>
          </a:ln>
        </p:spPr>
        <p:txBody>
          <a:bodyPr rtlCol="0" anchor="ctr"/>
          <a:lstStyle/>
          <a:p>
            <a:endParaRPr lang="zh-CN" altLang="en-US"/>
          </a:p>
        </p:txBody>
      </p:sp>
      <p:sp>
        <p:nvSpPr>
          <p:cNvPr id="74" name="任意多边形: 形状 73">
            <a:extLst>
              <a:ext uri="{FF2B5EF4-FFF2-40B4-BE49-F238E27FC236}">
                <a16:creationId xmlns:a16="http://schemas.microsoft.com/office/drawing/2014/main" id="{AC6D47E5-F5C5-469E-B0D4-7E7526D58A05}"/>
              </a:ext>
            </a:extLst>
          </p:cNvPr>
          <p:cNvSpPr/>
          <p:nvPr/>
        </p:nvSpPr>
        <p:spPr>
          <a:xfrm>
            <a:off x="10548847" y="1375825"/>
            <a:ext cx="65862" cy="82327"/>
          </a:xfrm>
          <a:custGeom>
            <a:avLst/>
            <a:gdLst>
              <a:gd name="connsiteX0" fmla="*/ 67294 w 68580"/>
              <a:gd name="connsiteY0" fmla="*/ 77581 h 85725"/>
              <a:gd name="connsiteX1" fmla="*/ 42434 w 68580"/>
              <a:gd name="connsiteY1" fmla="*/ 83582 h 85725"/>
              <a:gd name="connsiteX2" fmla="*/ 16716 w 68580"/>
              <a:gd name="connsiteY2" fmla="*/ 73295 h 85725"/>
              <a:gd name="connsiteX3" fmla="*/ 6429 w 68580"/>
              <a:gd name="connsiteY3" fmla="*/ 45863 h 85725"/>
              <a:gd name="connsiteX4" fmla="*/ 17574 w 68580"/>
              <a:gd name="connsiteY4" fmla="*/ 17574 h 85725"/>
              <a:gd name="connsiteX5" fmla="*/ 45006 w 68580"/>
              <a:gd name="connsiteY5" fmla="*/ 6429 h 85725"/>
              <a:gd name="connsiteX6" fmla="*/ 65579 w 68580"/>
              <a:gd name="connsiteY6" fmla="*/ 10716 h 85725"/>
              <a:gd name="connsiteX7" fmla="*/ 65579 w 68580"/>
              <a:gd name="connsiteY7" fmla="*/ 20145 h 85725"/>
              <a:gd name="connsiteX8" fmla="*/ 44148 w 68580"/>
              <a:gd name="connsiteY8" fmla="*/ 14145 h 85725"/>
              <a:gd name="connsiteX9" fmla="*/ 23574 w 68580"/>
              <a:gd name="connsiteY9" fmla="*/ 22717 h 85725"/>
              <a:gd name="connsiteX10" fmla="*/ 15859 w 68580"/>
              <a:gd name="connsiteY10" fmla="*/ 45006 h 85725"/>
              <a:gd name="connsiteX11" fmla="*/ 23574 w 68580"/>
              <a:gd name="connsiteY11" fmla="*/ 67294 h 85725"/>
              <a:gd name="connsiteX12" fmla="*/ 44148 w 68580"/>
              <a:gd name="connsiteY12" fmla="*/ 75009 h 85725"/>
              <a:gd name="connsiteX13" fmla="*/ 59579 w 68580"/>
              <a:gd name="connsiteY13" fmla="*/ 71580 h 85725"/>
              <a:gd name="connsiteX14" fmla="*/ 59579 w 68580"/>
              <a:gd name="connsiteY14" fmla="*/ 51006 h 85725"/>
              <a:gd name="connsiteX15" fmla="*/ 43291 w 68580"/>
              <a:gd name="connsiteY15" fmla="*/ 51006 h 85725"/>
              <a:gd name="connsiteX16" fmla="*/ 43291 w 68580"/>
              <a:gd name="connsiteY16" fmla="*/ 43291 h 85725"/>
              <a:gd name="connsiteX17" fmla="*/ 68151 w 68580"/>
              <a:gd name="connsiteY17" fmla="*/ 43291 h 85725"/>
              <a:gd name="connsiteX18" fmla="*/ 68151 w 68580"/>
              <a:gd name="connsiteY18" fmla="*/ 7758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580" h="85725">
                <a:moveTo>
                  <a:pt x="67294" y="77581"/>
                </a:moveTo>
                <a:cubicBezTo>
                  <a:pt x="59579" y="81867"/>
                  <a:pt x="51864" y="83582"/>
                  <a:pt x="42434" y="83582"/>
                </a:cubicBezTo>
                <a:cubicBezTo>
                  <a:pt x="32147" y="83582"/>
                  <a:pt x="23574" y="80153"/>
                  <a:pt x="16716" y="73295"/>
                </a:cubicBezTo>
                <a:cubicBezTo>
                  <a:pt x="9858" y="66437"/>
                  <a:pt x="6429" y="57007"/>
                  <a:pt x="6429" y="45863"/>
                </a:cubicBezTo>
                <a:cubicBezTo>
                  <a:pt x="6429" y="34719"/>
                  <a:pt x="9858" y="24432"/>
                  <a:pt x="17574" y="17574"/>
                </a:cubicBezTo>
                <a:cubicBezTo>
                  <a:pt x="25289" y="9858"/>
                  <a:pt x="33861" y="6429"/>
                  <a:pt x="45006" y="6429"/>
                </a:cubicBezTo>
                <a:cubicBezTo>
                  <a:pt x="52721" y="6429"/>
                  <a:pt x="59579" y="8144"/>
                  <a:pt x="65579" y="10716"/>
                </a:cubicBezTo>
                <a:lnTo>
                  <a:pt x="65579" y="20145"/>
                </a:lnTo>
                <a:cubicBezTo>
                  <a:pt x="59579" y="16716"/>
                  <a:pt x="52721" y="14145"/>
                  <a:pt x="44148" y="14145"/>
                </a:cubicBezTo>
                <a:cubicBezTo>
                  <a:pt x="35576" y="14145"/>
                  <a:pt x="28718" y="16716"/>
                  <a:pt x="23574" y="22717"/>
                </a:cubicBezTo>
                <a:cubicBezTo>
                  <a:pt x="18431" y="28718"/>
                  <a:pt x="15859" y="35576"/>
                  <a:pt x="15859" y="45006"/>
                </a:cubicBezTo>
                <a:cubicBezTo>
                  <a:pt x="15859" y="54435"/>
                  <a:pt x="18431" y="62151"/>
                  <a:pt x="23574" y="67294"/>
                </a:cubicBezTo>
                <a:cubicBezTo>
                  <a:pt x="28718" y="72438"/>
                  <a:pt x="35576" y="75009"/>
                  <a:pt x="44148" y="75009"/>
                </a:cubicBezTo>
                <a:cubicBezTo>
                  <a:pt x="50149" y="75009"/>
                  <a:pt x="55293" y="74152"/>
                  <a:pt x="59579" y="71580"/>
                </a:cubicBezTo>
                <a:lnTo>
                  <a:pt x="59579" y="51006"/>
                </a:lnTo>
                <a:lnTo>
                  <a:pt x="43291" y="51006"/>
                </a:lnTo>
                <a:lnTo>
                  <a:pt x="43291" y="43291"/>
                </a:lnTo>
                <a:lnTo>
                  <a:pt x="68151" y="43291"/>
                </a:lnTo>
                <a:lnTo>
                  <a:pt x="68151" y="77581"/>
                </a:lnTo>
                <a:close/>
              </a:path>
            </a:pathLst>
          </a:custGeom>
          <a:solidFill>
            <a:schemeClr val="accent3"/>
          </a:solidFill>
          <a:ln w="9525" cap="flat">
            <a:noFill/>
            <a:prstDash val="solid"/>
            <a:miter/>
          </a:ln>
        </p:spPr>
        <p:txBody>
          <a:bodyPr rtlCol="0" anchor="ctr"/>
          <a:lstStyle/>
          <a:p>
            <a:endParaRPr lang="zh-CN" altLang="en-US"/>
          </a:p>
        </p:txBody>
      </p:sp>
      <p:sp>
        <p:nvSpPr>
          <p:cNvPr id="75" name="任意多边形: 形状 74">
            <a:extLst>
              <a:ext uri="{FF2B5EF4-FFF2-40B4-BE49-F238E27FC236}">
                <a16:creationId xmlns:a16="http://schemas.microsoft.com/office/drawing/2014/main" id="{009462A9-8E24-4E97-98D2-F851451D50DB}"/>
              </a:ext>
            </a:extLst>
          </p:cNvPr>
          <p:cNvSpPr/>
          <p:nvPr/>
        </p:nvSpPr>
        <p:spPr>
          <a:xfrm>
            <a:off x="10624588" y="1377471"/>
            <a:ext cx="57630" cy="82327"/>
          </a:xfrm>
          <a:custGeom>
            <a:avLst/>
            <a:gdLst>
              <a:gd name="connsiteX0" fmla="*/ 59578 w 60007"/>
              <a:gd name="connsiteY0" fmla="*/ 81010 h 85725"/>
              <a:gd name="connsiteX1" fmla="*/ 49292 w 60007"/>
              <a:gd name="connsiteY1" fmla="*/ 81010 h 85725"/>
              <a:gd name="connsiteX2" fmla="*/ 36433 w 60007"/>
              <a:gd name="connsiteY2" fmla="*/ 60436 h 85725"/>
              <a:gd name="connsiteX3" fmla="*/ 33004 w 60007"/>
              <a:gd name="connsiteY3" fmla="*/ 55293 h 85725"/>
              <a:gd name="connsiteX4" fmla="*/ 29575 w 60007"/>
              <a:gd name="connsiteY4" fmla="*/ 51864 h 85725"/>
              <a:gd name="connsiteX5" fmla="*/ 26146 w 60007"/>
              <a:gd name="connsiteY5" fmla="*/ 50149 h 85725"/>
              <a:gd name="connsiteX6" fmla="*/ 21860 w 60007"/>
              <a:gd name="connsiteY6" fmla="*/ 49292 h 85725"/>
              <a:gd name="connsiteX7" fmla="*/ 15002 w 60007"/>
              <a:gd name="connsiteY7" fmla="*/ 49292 h 85725"/>
              <a:gd name="connsiteX8" fmla="*/ 15002 w 60007"/>
              <a:gd name="connsiteY8" fmla="*/ 81010 h 85725"/>
              <a:gd name="connsiteX9" fmla="*/ 6429 w 60007"/>
              <a:gd name="connsiteY9" fmla="*/ 81010 h 85725"/>
              <a:gd name="connsiteX10" fmla="*/ 6429 w 60007"/>
              <a:gd name="connsiteY10" fmla="*/ 6429 h 85725"/>
              <a:gd name="connsiteX11" fmla="*/ 28718 w 60007"/>
              <a:gd name="connsiteY11" fmla="*/ 6429 h 85725"/>
              <a:gd name="connsiteX12" fmla="*/ 38147 w 60007"/>
              <a:gd name="connsiteY12" fmla="*/ 7287 h 85725"/>
              <a:gd name="connsiteX13" fmla="*/ 45006 w 60007"/>
              <a:gd name="connsiteY13" fmla="*/ 10716 h 85725"/>
              <a:gd name="connsiteX14" fmla="*/ 50149 w 60007"/>
              <a:gd name="connsiteY14" fmla="*/ 16716 h 85725"/>
              <a:gd name="connsiteX15" fmla="*/ 51864 w 60007"/>
              <a:gd name="connsiteY15" fmla="*/ 25289 h 85725"/>
              <a:gd name="connsiteX16" fmla="*/ 51006 w 60007"/>
              <a:gd name="connsiteY16" fmla="*/ 32147 h 85725"/>
              <a:gd name="connsiteX17" fmla="*/ 47577 w 60007"/>
              <a:gd name="connsiteY17" fmla="*/ 38148 h 85725"/>
              <a:gd name="connsiteX18" fmla="*/ 42433 w 60007"/>
              <a:gd name="connsiteY18" fmla="*/ 42434 h 85725"/>
              <a:gd name="connsiteX19" fmla="*/ 35576 w 60007"/>
              <a:gd name="connsiteY19" fmla="*/ 45006 h 85725"/>
              <a:gd name="connsiteX20" fmla="*/ 35576 w 60007"/>
              <a:gd name="connsiteY20" fmla="*/ 45006 h 85725"/>
              <a:gd name="connsiteX21" fmla="*/ 39005 w 60007"/>
              <a:gd name="connsiteY21" fmla="*/ 46720 h 85725"/>
              <a:gd name="connsiteX22" fmla="*/ 41576 w 60007"/>
              <a:gd name="connsiteY22" fmla="*/ 49292 h 85725"/>
              <a:gd name="connsiteX23" fmla="*/ 44148 w 60007"/>
              <a:gd name="connsiteY23" fmla="*/ 52721 h 85725"/>
              <a:gd name="connsiteX24" fmla="*/ 46720 w 60007"/>
              <a:gd name="connsiteY24" fmla="*/ 57007 h 85725"/>
              <a:gd name="connsiteX25" fmla="*/ 59578 w 60007"/>
              <a:gd name="connsiteY25" fmla="*/ 81010 h 85725"/>
              <a:gd name="connsiteX26" fmla="*/ 14144 w 60007"/>
              <a:gd name="connsiteY26" fmla="*/ 14145 h 85725"/>
              <a:gd name="connsiteX27" fmla="*/ 14144 w 60007"/>
              <a:gd name="connsiteY27" fmla="*/ 41577 h 85725"/>
              <a:gd name="connsiteX28" fmla="*/ 26146 w 60007"/>
              <a:gd name="connsiteY28" fmla="*/ 41577 h 85725"/>
              <a:gd name="connsiteX29" fmla="*/ 32147 w 60007"/>
              <a:gd name="connsiteY29" fmla="*/ 40719 h 85725"/>
              <a:gd name="connsiteX30" fmla="*/ 37290 w 60007"/>
              <a:gd name="connsiteY30" fmla="*/ 38148 h 85725"/>
              <a:gd name="connsiteX31" fmla="*/ 40719 w 60007"/>
              <a:gd name="connsiteY31" fmla="*/ 33861 h 85725"/>
              <a:gd name="connsiteX32" fmla="*/ 41576 w 60007"/>
              <a:gd name="connsiteY32" fmla="*/ 27861 h 85725"/>
              <a:gd name="connsiteX33" fmla="*/ 37290 w 60007"/>
              <a:gd name="connsiteY33" fmla="*/ 18431 h 85725"/>
              <a:gd name="connsiteX34" fmla="*/ 26146 w 60007"/>
              <a:gd name="connsiteY34" fmla="*/ 15002 h 85725"/>
              <a:gd name="connsiteX35" fmla="*/ 14144 w 60007"/>
              <a:gd name="connsiteY35" fmla="*/ 15002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007" h="85725">
                <a:moveTo>
                  <a:pt x="59578" y="81010"/>
                </a:moveTo>
                <a:lnTo>
                  <a:pt x="49292" y="81010"/>
                </a:lnTo>
                <a:lnTo>
                  <a:pt x="36433" y="60436"/>
                </a:lnTo>
                <a:cubicBezTo>
                  <a:pt x="35576" y="58722"/>
                  <a:pt x="33861" y="57007"/>
                  <a:pt x="33004" y="55293"/>
                </a:cubicBezTo>
                <a:cubicBezTo>
                  <a:pt x="32147" y="53578"/>
                  <a:pt x="30432" y="52721"/>
                  <a:pt x="29575" y="51864"/>
                </a:cubicBezTo>
                <a:cubicBezTo>
                  <a:pt x="28718" y="51006"/>
                  <a:pt x="27003" y="50149"/>
                  <a:pt x="26146" y="50149"/>
                </a:cubicBezTo>
                <a:cubicBezTo>
                  <a:pt x="24431" y="50149"/>
                  <a:pt x="23574" y="49292"/>
                  <a:pt x="21860" y="49292"/>
                </a:cubicBezTo>
                <a:lnTo>
                  <a:pt x="15002" y="49292"/>
                </a:lnTo>
                <a:lnTo>
                  <a:pt x="15002" y="81010"/>
                </a:lnTo>
                <a:lnTo>
                  <a:pt x="6429" y="81010"/>
                </a:lnTo>
                <a:lnTo>
                  <a:pt x="6429" y="6429"/>
                </a:lnTo>
                <a:lnTo>
                  <a:pt x="28718" y="6429"/>
                </a:lnTo>
                <a:cubicBezTo>
                  <a:pt x="32147" y="6429"/>
                  <a:pt x="34719" y="6429"/>
                  <a:pt x="38147" y="7287"/>
                </a:cubicBezTo>
                <a:cubicBezTo>
                  <a:pt x="40719" y="8144"/>
                  <a:pt x="43291" y="9001"/>
                  <a:pt x="45006" y="10716"/>
                </a:cubicBezTo>
                <a:cubicBezTo>
                  <a:pt x="46720" y="12430"/>
                  <a:pt x="48434" y="14145"/>
                  <a:pt x="50149" y="16716"/>
                </a:cubicBezTo>
                <a:cubicBezTo>
                  <a:pt x="51006" y="19288"/>
                  <a:pt x="51864" y="21860"/>
                  <a:pt x="51864" y="25289"/>
                </a:cubicBezTo>
                <a:cubicBezTo>
                  <a:pt x="51864" y="27861"/>
                  <a:pt x="51864" y="30432"/>
                  <a:pt x="51006" y="32147"/>
                </a:cubicBezTo>
                <a:cubicBezTo>
                  <a:pt x="50149" y="34719"/>
                  <a:pt x="49292" y="36433"/>
                  <a:pt x="47577" y="38148"/>
                </a:cubicBezTo>
                <a:cubicBezTo>
                  <a:pt x="45863" y="39862"/>
                  <a:pt x="44148" y="41577"/>
                  <a:pt x="42433" y="42434"/>
                </a:cubicBezTo>
                <a:cubicBezTo>
                  <a:pt x="40719" y="43291"/>
                  <a:pt x="38147" y="44148"/>
                  <a:pt x="35576" y="45006"/>
                </a:cubicBezTo>
                <a:lnTo>
                  <a:pt x="35576" y="45006"/>
                </a:lnTo>
                <a:cubicBezTo>
                  <a:pt x="36433" y="45863"/>
                  <a:pt x="38147" y="45863"/>
                  <a:pt x="39005" y="46720"/>
                </a:cubicBezTo>
                <a:cubicBezTo>
                  <a:pt x="39862" y="47577"/>
                  <a:pt x="40719" y="48435"/>
                  <a:pt x="41576" y="49292"/>
                </a:cubicBezTo>
                <a:cubicBezTo>
                  <a:pt x="42433" y="50149"/>
                  <a:pt x="43291" y="51006"/>
                  <a:pt x="44148" y="52721"/>
                </a:cubicBezTo>
                <a:cubicBezTo>
                  <a:pt x="45006" y="53578"/>
                  <a:pt x="45863" y="55293"/>
                  <a:pt x="46720" y="57007"/>
                </a:cubicBezTo>
                <a:lnTo>
                  <a:pt x="59578" y="81010"/>
                </a:lnTo>
                <a:close/>
                <a:moveTo>
                  <a:pt x="14144" y="14145"/>
                </a:moveTo>
                <a:lnTo>
                  <a:pt x="14144" y="41577"/>
                </a:lnTo>
                <a:lnTo>
                  <a:pt x="26146" y="41577"/>
                </a:lnTo>
                <a:cubicBezTo>
                  <a:pt x="28718" y="41577"/>
                  <a:pt x="30432" y="41577"/>
                  <a:pt x="32147" y="40719"/>
                </a:cubicBezTo>
                <a:cubicBezTo>
                  <a:pt x="33861" y="39862"/>
                  <a:pt x="35576" y="39005"/>
                  <a:pt x="37290" y="38148"/>
                </a:cubicBezTo>
                <a:cubicBezTo>
                  <a:pt x="39005" y="37290"/>
                  <a:pt x="39862" y="35576"/>
                  <a:pt x="40719" y="33861"/>
                </a:cubicBezTo>
                <a:cubicBezTo>
                  <a:pt x="41576" y="32147"/>
                  <a:pt x="41576" y="30432"/>
                  <a:pt x="41576" y="27861"/>
                </a:cubicBezTo>
                <a:cubicBezTo>
                  <a:pt x="41576" y="23574"/>
                  <a:pt x="39862" y="21003"/>
                  <a:pt x="37290" y="18431"/>
                </a:cubicBezTo>
                <a:cubicBezTo>
                  <a:pt x="34719" y="15859"/>
                  <a:pt x="31289" y="15002"/>
                  <a:pt x="26146" y="15002"/>
                </a:cubicBezTo>
                <a:lnTo>
                  <a:pt x="14144" y="15002"/>
                </a:lnTo>
                <a:close/>
              </a:path>
            </a:pathLst>
          </a:custGeom>
          <a:solidFill>
            <a:schemeClr val="accent3"/>
          </a:solidFill>
          <a:ln w="9525" cap="flat">
            <a:noFill/>
            <a:prstDash val="solid"/>
            <a:miter/>
          </a:ln>
        </p:spPr>
        <p:txBody>
          <a:bodyPr rtlCol="0" anchor="ctr"/>
          <a:lstStyle/>
          <a:p>
            <a:endParaRPr lang="zh-CN" altLang="en-US"/>
          </a:p>
        </p:txBody>
      </p:sp>
      <p:sp>
        <p:nvSpPr>
          <p:cNvPr id="76" name="任意多边形: 形状 75">
            <a:extLst>
              <a:ext uri="{FF2B5EF4-FFF2-40B4-BE49-F238E27FC236}">
                <a16:creationId xmlns:a16="http://schemas.microsoft.com/office/drawing/2014/main" id="{33EE64D6-ECC7-4114-8C55-71F49A9B3661}"/>
              </a:ext>
            </a:extLst>
          </p:cNvPr>
          <p:cNvSpPr/>
          <p:nvPr/>
        </p:nvSpPr>
        <p:spPr>
          <a:xfrm>
            <a:off x="10677277" y="1377471"/>
            <a:ext cx="74095" cy="82327"/>
          </a:xfrm>
          <a:custGeom>
            <a:avLst/>
            <a:gdLst>
              <a:gd name="connsiteX0" fmla="*/ 72438 w 77152"/>
              <a:gd name="connsiteY0" fmla="*/ 81010 h 85725"/>
              <a:gd name="connsiteX1" fmla="*/ 63008 w 77152"/>
              <a:gd name="connsiteY1" fmla="*/ 81010 h 85725"/>
              <a:gd name="connsiteX2" fmla="*/ 55293 w 77152"/>
              <a:gd name="connsiteY2" fmla="*/ 60436 h 85725"/>
              <a:gd name="connsiteX3" fmla="*/ 23574 w 77152"/>
              <a:gd name="connsiteY3" fmla="*/ 60436 h 85725"/>
              <a:gd name="connsiteX4" fmla="*/ 15859 w 77152"/>
              <a:gd name="connsiteY4" fmla="*/ 81010 h 85725"/>
              <a:gd name="connsiteX5" fmla="*/ 6429 w 77152"/>
              <a:gd name="connsiteY5" fmla="*/ 81010 h 85725"/>
              <a:gd name="connsiteX6" fmla="*/ 34719 w 77152"/>
              <a:gd name="connsiteY6" fmla="*/ 6429 h 85725"/>
              <a:gd name="connsiteX7" fmla="*/ 44149 w 77152"/>
              <a:gd name="connsiteY7" fmla="*/ 6429 h 85725"/>
              <a:gd name="connsiteX8" fmla="*/ 72438 w 77152"/>
              <a:gd name="connsiteY8" fmla="*/ 81010 h 85725"/>
              <a:gd name="connsiteX9" fmla="*/ 51864 w 77152"/>
              <a:gd name="connsiteY9" fmla="*/ 52721 h 85725"/>
              <a:gd name="connsiteX10" fmla="*/ 39862 w 77152"/>
              <a:gd name="connsiteY10" fmla="*/ 21003 h 85725"/>
              <a:gd name="connsiteX11" fmla="*/ 39005 w 77152"/>
              <a:gd name="connsiteY11" fmla="*/ 15859 h 85725"/>
              <a:gd name="connsiteX12" fmla="*/ 39005 w 77152"/>
              <a:gd name="connsiteY12" fmla="*/ 15859 h 85725"/>
              <a:gd name="connsiteX13" fmla="*/ 38148 w 77152"/>
              <a:gd name="connsiteY13" fmla="*/ 21003 h 85725"/>
              <a:gd name="connsiteX14" fmla="*/ 26146 w 77152"/>
              <a:gd name="connsiteY14" fmla="*/ 52721 h 85725"/>
              <a:gd name="connsiteX15" fmla="*/ 51864 w 77152"/>
              <a:gd name="connsiteY15" fmla="*/ 5272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52" h="85725">
                <a:moveTo>
                  <a:pt x="72438" y="81010"/>
                </a:moveTo>
                <a:lnTo>
                  <a:pt x="63008" y="81010"/>
                </a:lnTo>
                <a:lnTo>
                  <a:pt x="55293" y="60436"/>
                </a:lnTo>
                <a:lnTo>
                  <a:pt x="23574" y="60436"/>
                </a:lnTo>
                <a:lnTo>
                  <a:pt x="15859" y="81010"/>
                </a:lnTo>
                <a:lnTo>
                  <a:pt x="6429" y="81010"/>
                </a:lnTo>
                <a:lnTo>
                  <a:pt x="34719" y="6429"/>
                </a:lnTo>
                <a:lnTo>
                  <a:pt x="44149" y="6429"/>
                </a:lnTo>
                <a:lnTo>
                  <a:pt x="72438" y="81010"/>
                </a:lnTo>
                <a:close/>
                <a:moveTo>
                  <a:pt x="51864" y="52721"/>
                </a:moveTo>
                <a:lnTo>
                  <a:pt x="39862" y="21003"/>
                </a:lnTo>
                <a:cubicBezTo>
                  <a:pt x="39862" y="20145"/>
                  <a:pt x="39005" y="18431"/>
                  <a:pt x="39005" y="15859"/>
                </a:cubicBezTo>
                <a:lnTo>
                  <a:pt x="39005" y="15859"/>
                </a:lnTo>
                <a:cubicBezTo>
                  <a:pt x="39005" y="17574"/>
                  <a:pt x="38148" y="19288"/>
                  <a:pt x="38148" y="21003"/>
                </a:cubicBezTo>
                <a:lnTo>
                  <a:pt x="26146" y="52721"/>
                </a:lnTo>
                <a:lnTo>
                  <a:pt x="51864" y="52721"/>
                </a:lnTo>
                <a:close/>
              </a:path>
            </a:pathLst>
          </a:custGeom>
          <a:solidFill>
            <a:schemeClr val="accent3"/>
          </a:solidFill>
          <a:ln w="9525" cap="flat">
            <a:noFill/>
            <a:prstDash val="solid"/>
            <a:miter/>
          </a:ln>
        </p:spPr>
        <p:txBody>
          <a:bodyPr rtlCol="0" anchor="ctr"/>
          <a:lstStyle/>
          <a:p>
            <a:endParaRPr lang="zh-CN" altLang="en-US"/>
          </a:p>
        </p:txBody>
      </p:sp>
      <p:sp>
        <p:nvSpPr>
          <p:cNvPr id="77" name="任意多边形: 形状 76">
            <a:extLst>
              <a:ext uri="{FF2B5EF4-FFF2-40B4-BE49-F238E27FC236}">
                <a16:creationId xmlns:a16="http://schemas.microsoft.com/office/drawing/2014/main" id="{F3842AC8-68D7-4BD7-9CA3-56AB4968D03B}"/>
              </a:ext>
            </a:extLst>
          </p:cNvPr>
          <p:cNvSpPr/>
          <p:nvPr/>
        </p:nvSpPr>
        <p:spPr>
          <a:xfrm>
            <a:off x="10751372" y="1377471"/>
            <a:ext cx="49396" cy="82327"/>
          </a:xfrm>
          <a:custGeom>
            <a:avLst/>
            <a:gdLst>
              <a:gd name="connsiteX0" fmla="*/ 15002 w 51435"/>
              <a:gd name="connsiteY0" fmla="*/ 52721 h 85725"/>
              <a:gd name="connsiteX1" fmla="*/ 15002 w 51435"/>
              <a:gd name="connsiteY1" fmla="*/ 81010 h 85725"/>
              <a:gd name="connsiteX2" fmla="*/ 6429 w 51435"/>
              <a:gd name="connsiteY2" fmla="*/ 81010 h 85725"/>
              <a:gd name="connsiteX3" fmla="*/ 6429 w 51435"/>
              <a:gd name="connsiteY3" fmla="*/ 6429 h 85725"/>
              <a:gd name="connsiteX4" fmla="*/ 27004 w 51435"/>
              <a:gd name="connsiteY4" fmla="*/ 6429 h 85725"/>
              <a:gd name="connsiteX5" fmla="*/ 45863 w 51435"/>
              <a:gd name="connsiteY5" fmla="*/ 12430 h 85725"/>
              <a:gd name="connsiteX6" fmla="*/ 52721 w 51435"/>
              <a:gd name="connsiteY6" fmla="*/ 28718 h 85725"/>
              <a:gd name="connsiteX7" fmla="*/ 45006 w 51435"/>
              <a:gd name="connsiteY7" fmla="*/ 45863 h 85725"/>
              <a:gd name="connsiteX8" fmla="*/ 25289 w 51435"/>
              <a:gd name="connsiteY8" fmla="*/ 52721 h 85725"/>
              <a:gd name="connsiteX9" fmla="*/ 15002 w 51435"/>
              <a:gd name="connsiteY9" fmla="*/ 52721 h 85725"/>
              <a:gd name="connsiteX10" fmla="*/ 15002 w 51435"/>
              <a:gd name="connsiteY10" fmla="*/ 14145 h 85725"/>
              <a:gd name="connsiteX11" fmla="*/ 15002 w 51435"/>
              <a:gd name="connsiteY11" fmla="*/ 45006 h 85725"/>
              <a:gd name="connsiteX12" fmla="*/ 24432 w 51435"/>
              <a:gd name="connsiteY12" fmla="*/ 45006 h 85725"/>
              <a:gd name="connsiteX13" fmla="*/ 38148 w 51435"/>
              <a:gd name="connsiteY13" fmla="*/ 40719 h 85725"/>
              <a:gd name="connsiteX14" fmla="*/ 43291 w 51435"/>
              <a:gd name="connsiteY14" fmla="*/ 28718 h 85725"/>
              <a:gd name="connsiteX15" fmla="*/ 26146 w 51435"/>
              <a:gd name="connsiteY15" fmla="*/ 14145 h 85725"/>
              <a:gd name="connsiteX16" fmla="*/ 15002 w 51435"/>
              <a:gd name="connsiteY16" fmla="*/ 1414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435" h="85725">
                <a:moveTo>
                  <a:pt x="15002" y="52721"/>
                </a:moveTo>
                <a:lnTo>
                  <a:pt x="15002" y="81010"/>
                </a:lnTo>
                <a:lnTo>
                  <a:pt x="6429" y="81010"/>
                </a:lnTo>
                <a:lnTo>
                  <a:pt x="6429" y="6429"/>
                </a:lnTo>
                <a:lnTo>
                  <a:pt x="27004" y="6429"/>
                </a:lnTo>
                <a:cubicBezTo>
                  <a:pt x="34719" y="6429"/>
                  <a:pt x="41577" y="8144"/>
                  <a:pt x="45863" y="12430"/>
                </a:cubicBezTo>
                <a:cubicBezTo>
                  <a:pt x="50149" y="16716"/>
                  <a:pt x="52721" y="21860"/>
                  <a:pt x="52721" y="28718"/>
                </a:cubicBezTo>
                <a:cubicBezTo>
                  <a:pt x="52721" y="35576"/>
                  <a:pt x="50149" y="41577"/>
                  <a:pt x="45006" y="45863"/>
                </a:cubicBezTo>
                <a:cubicBezTo>
                  <a:pt x="39862" y="50149"/>
                  <a:pt x="33861" y="52721"/>
                  <a:pt x="25289" y="52721"/>
                </a:cubicBezTo>
                <a:lnTo>
                  <a:pt x="15002" y="52721"/>
                </a:lnTo>
                <a:close/>
                <a:moveTo>
                  <a:pt x="15002" y="14145"/>
                </a:moveTo>
                <a:lnTo>
                  <a:pt x="15002" y="45006"/>
                </a:lnTo>
                <a:lnTo>
                  <a:pt x="24432" y="45006"/>
                </a:lnTo>
                <a:cubicBezTo>
                  <a:pt x="30432" y="45006"/>
                  <a:pt x="34719" y="43291"/>
                  <a:pt x="38148" y="40719"/>
                </a:cubicBezTo>
                <a:cubicBezTo>
                  <a:pt x="41577" y="38148"/>
                  <a:pt x="43291" y="33861"/>
                  <a:pt x="43291" y="28718"/>
                </a:cubicBezTo>
                <a:cubicBezTo>
                  <a:pt x="43291" y="19288"/>
                  <a:pt x="37291" y="14145"/>
                  <a:pt x="26146" y="14145"/>
                </a:cubicBezTo>
                <a:lnTo>
                  <a:pt x="15002" y="14145"/>
                </a:lnTo>
                <a:close/>
              </a:path>
            </a:pathLst>
          </a:custGeom>
          <a:solidFill>
            <a:schemeClr val="accent3"/>
          </a:solidFill>
          <a:ln w="9525" cap="flat">
            <a:noFill/>
            <a:prstDash val="solid"/>
            <a:miter/>
          </a:ln>
        </p:spPr>
        <p:txBody>
          <a:bodyPr rtlCol="0" anchor="ctr"/>
          <a:lstStyle/>
          <a:p>
            <a:endParaRPr lang="zh-CN" altLang="en-US"/>
          </a:p>
        </p:txBody>
      </p:sp>
      <p:sp>
        <p:nvSpPr>
          <p:cNvPr id="78" name="任意多边形: 形状 77">
            <a:extLst>
              <a:ext uri="{FF2B5EF4-FFF2-40B4-BE49-F238E27FC236}">
                <a16:creationId xmlns:a16="http://schemas.microsoft.com/office/drawing/2014/main" id="{B8075A16-E307-4AF6-8B6C-D6DB77BA9AF4}"/>
              </a:ext>
            </a:extLst>
          </p:cNvPr>
          <p:cNvSpPr/>
          <p:nvPr/>
        </p:nvSpPr>
        <p:spPr>
          <a:xfrm>
            <a:off x="10809001" y="1377471"/>
            <a:ext cx="65862" cy="82327"/>
          </a:xfrm>
          <a:custGeom>
            <a:avLst/>
            <a:gdLst>
              <a:gd name="connsiteX0" fmla="*/ 62151 w 68580"/>
              <a:gd name="connsiteY0" fmla="*/ 81010 h 85725"/>
              <a:gd name="connsiteX1" fmla="*/ 53578 w 68580"/>
              <a:gd name="connsiteY1" fmla="*/ 81010 h 85725"/>
              <a:gd name="connsiteX2" fmla="*/ 53578 w 68580"/>
              <a:gd name="connsiteY2" fmla="*/ 46720 h 85725"/>
              <a:gd name="connsiteX3" fmla="*/ 15002 w 68580"/>
              <a:gd name="connsiteY3" fmla="*/ 46720 h 85725"/>
              <a:gd name="connsiteX4" fmla="*/ 15002 w 68580"/>
              <a:gd name="connsiteY4" fmla="*/ 81010 h 85725"/>
              <a:gd name="connsiteX5" fmla="*/ 6429 w 68580"/>
              <a:gd name="connsiteY5" fmla="*/ 81010 h 85725"/>
              <a:gd name="connsiteX6" fmla="*/ 6429 w 68580"/>
              <a:gd name="connsiteY6" fmla="*/ 6429 h 85725"/>
              <a:gd name="connsiteX7" fmla="*/ 15002 w 68580"/>
              <a:gd name="connsiteY7" fmla="*/ 6429 h 85725"/>
              <a:gd name="connsiteX8" fmla="*/ 15002 w 68580"/>
              <a:gd name="connsiteY8" fmla="*/ 39005 h 85725"/>
              <a:gd name="connsiteX9" fmla="*/ 53578 w 68580"/>
              <a:gd name="connsiteY9" fmla="*/ 39005 h 85725"/>
              <a:gd name="connsiteX10" fmla="*/ 53578 w 68580"/>
              <a:gd name="connsiteY10" fmla="*/ 6429 h 85725"/>
              <a:gd name="connsiteX11" fmla="*/ 62151 w 68580"/>
              <a:gd name="connsiteY11" fmla="*/ 6429 h 85725"/>
              <a:gd name="connsiteX12" fmla="*/ 62151 w 68580"/>
              <a:gd name="connsiteY12" fmla="*/ 81010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80" h="85725">
                <a:moveTo>
                  <a:pt x="62151" y="81010"/>
                </a:moveTo>
                <a:lnTo>
                  <a:pt x="53578" y="81010"/>
                </a:lnTo>
                <a:lnTo>
                  <a:pt x="53578" y="46720"/>
                </a:lnTo>
                <a:lnTo>
                  <a:pt x="15002" y="46720"/>
                </a:lnTo>
                <a:lnTo>
                  <a:pt x="15002" y="81010"/>
                </a:lnTo>
                <a:lnTo>
                  <a:pt x="6429" y="81010"/>
                </a:lnTo>
                <a:lnTo>
                  <a:pt x="6429" y="6429"/>
                </a:lnTo>
                <a:lnTo>
                  <a:pt x="15002" y="6429"/>
                </a:lnTo>
                <a:lnTo>
                  <a:pt x="15002" y="39005"/>
                </a:lnTo>
                <a:lnTo>
                  <a:pt x="53578" y="39005"/>
                </a:lnTo>
                <a:lnTo>
                  <a:pt x="53578" y="6429"/>
                </a:lnTo>
                <a:lnTo>
                  <a:pt x="62151" y="6429"/>
                </a:lnTo>
                <a:lnTo>
                  <a:pt x="62151" y="81010"/>
                </a:lnTo>
                <a:close/>
              </a:path>
            </a:pathLst>
          </a:custGeom>
          <a:solidFill>
            <a:schemeClr val="accent3"/>
          </a:solidFill>
          <a:ln w="9525" cap="flat">
            <a:noFill/>
            <a:prstDash val="solid"/>
            <a:miter/>
          </a:ln>
        </p:spPr>
        <p:txBody>
          <a:bodyPr rtlCol="0" anchor="ctr"/>
          <a:lstStyle/>
          <a:p>
            <a:endParaRPr lang="zh-CN" altLang="en-US"/>
          </a:p>
        </p:txBody>
      </p:sp>
      <p:sp>
        <p:nvSpPr>
          <p:cNvPr id="79" name="任意多边形: 形状 78">
            <a:extLst>
              <a:ext uri="{FF2B5EF4-FFF2-40B4-BE49-F238E27FC236}">
                <a16:creationId xmlns:a16="http://schemas.microsoft.com/office/drawing/2014/main" id="{998D4125-40B0-4CCA-8633-51D8566D71A3}"/>
              </a:ext>
            </a:extLst>
          </p:cNvPr>
          <p:cNvSpPr/>
          <p:nvPr/>
        </p:nvSpPr>
        <p:spPr>
          <a:xfrm>
            <a:off x="10874863" y="1377471"/>
            <a:ext cx="32931" cy="82327"/>
          </a:xfrm>
          <a:custGeom>
            <a:avLst/>
            <a:gdLst>
              <a:gd name="connsiteX0" fmla="*/ 29575 w 34290"/>
              <a:gd name="connsiteY0" fmla="*/ 6429 h 85725"/>
              <a:gd name="connsiteX1" fmla="*/ 29575 w 34290"/>
              <a:gd name="connsiteY1" fmla="*/ 14145 h 85725"/>
              <a:gd name="connsiteX2" fmla="*/ 22717 w 34290"/>
              <a:gd name="connsiteY2" fmla="*/ 14145 h 85725"/>
              <a:gd name="connsiteX3" fmla="*/ 22717 w 34290"/>
              <a:gd name="connsiteY3" fmla="*/ 74152 h 85725"/>
              <a:gd name="connsiteX4" fmla="*/ 29575 w 34290"/>
              <a:gd name="connsiteY4" fmla="*/ 74152 h 85725"/>
              <a:gd name="connsiteX5" fmla="*/ 29575 w 34290"/>
              <a:gd name="connsiteY5" fmla="*/ 81867 h 85725"/>
              <a:gd name="connsiteX6" fmla="*/ 6429 w 34290"/>
              <a:gd name="connsiteY6" fmla="*/ 81867 h 85725"/>
              <a:gd name="connsiteX7" fmla="*/ 6429 w 34290"/>
              <a:gd name="connsiteY7" fmla="*/ 74152 h 85725"/>
              <a:gd name="connsiteX8" fmla="*/ 14145 w 34290"/>
              <a:gd name="connsiteY8" fmla="*/ 74152 h 85725"/>
              <a:gd name="connsiteX9" fmla="*/ 14145 w 34290"/>
              <a:gd name="connsiteY9" fmla="*/ 14145 h 85725"/>
              <a:gd name="connsiteX10" fmla="*/ 6429 w 34290"/>
              <a:gd name="connsiteY10" fmla="*/ 14145 h 85725"/>
              <a:gd name="connsiteX11" fmla="*/ 6429 w 34290"/>
              <a:gd name="connsiteY11" fmla="*/ 6429 h 85725"/>
              <a:gd name="connsiteX12" fmla="*/ 29575 w 34290"/>
              <a:gd name="connsiteY12" fmla="*/ 642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290" h="85725">
                <a:moveTo>
                  <a:pt x="29575" y="6429"/>
                </a:moveTo>
                <a:lnTo>
                  <a:pt x="29575" y="14145"/>
                </a:lnTo>
                <a:lnTo>
                  <a:pt x="22717" y="14145"/>
                </a:lnTo>
                <a:lnTo>
                  <a:pt x="22717" y="74152"/>
                </a:lnTo>
                <a:lnTo>
                  <a:pt x="29575" y="74152"/>
                </a:lnTo>
                <a:lnTo>
                  <a:pt x="29575" y="81867"/>
                </a:lnTo>
                <a:lnTo>
                  <a:pt x="6429" y="81867"/>
                </a:lnTo>
                <a:lnTo>
                  <a:pt x="6429" y="74152"/>
                </a:lnTo>
                <a:lnTo>
                  <a:pt x="14145" y="74152"/>
                </a:lnTo>
                <a:lnTo>
                  <a:pt x="14145" y="14145"/>
                </a:lnTo>
                <a:lnTo>
                  <a:pt x="6429" y="14145"/>
                </a:lnTo>
                <a:lnTo>
                  <a:pt x="6429" y="6429"/>
                </a:lnTo>
                <a:lnTo>
                  <a:pt x="29575" y="6429"/>
                </a:lnTo>
                <a:close/>
              </a:path>
            </a:pathLst>
          </a:custGeom>
          <a:solidFill>
            <a:schemeClr val="accent3"/>
          </a:solidFill>
          <a:ln w="9525" cap="flat">
            <a:noFill/>
            <a:prstDash val="solid"/>
            <a:miter/>
          </a:ln>
        </p:spPr>
        <p:txBody>
          <a:bodyPr rtlCol="0" anchor="ctr"/>
          <a:lstStyle/>
          <a:p>
            <a:endParaRPr lang="zh-CN" altLang="en-US"/>
          </a:p>
        </p:txBody>
      </p:sp>
      <p:sp>
        <p:nvSpPr>
          <p:cNvPr id="80" name="任意多边形: 形状 79">
            <a:extLst>
              <a:ext uri="{FF2B5EF4-FFF2-40B4-BE49-F238E27FC236}">
                <a16:creationId xmlns:a16="http://schemas.microsoft.com/office/drawing/2014/main" id="{BB89F776-172C-4E0C-89F3-0BF823F4D87E}"/>
              </a:ext>
            </a:extLst>
          </p:cNvPr>
          <p:cNvSpPr/>
          <p:nvPr/>
        </p:nvSpPr>
        <p:spPr>
          <a:xfrm>
            <a:off x="10903678" y="1376648"/>
            <a:ext cx="65862" cy="82327"/>
          </a:xfrm>
          <a:custGeom>
            <a:avLst/>
            <a:gdLst>
              <a:gd name="connsiteX0" fmla="*/ 62151 w 68580"/>
              <a:gd name="connsiteY0" fmla="*/ 79296 h 85725"/>
              <a:gd name="connsiteX1" fmla="*/ 41577 w 68580"/>
              <a:gd name="connsiteY1" fmla="*/ 83582 h 85725"/>
              <a:gd name="connsiteX2" fmla="*/ 15859 w 68580"/>
              <a:gd name="connsiteY2" fmla="*/ 73295 h 85725"/>
              <a:gd name="connsiteX3" fmla="*/ 6429 w 68580"/>
              <a:gd name="connsiteY3" fmla="*/ 46720 h 85725"/>
              <a:gd name="connsiteX4" fmla="*/ 17574 w 68580"/>
              <a:gd name="connsiteY4" fmla="*/ 17574 h 85725"/>
              <a:gd name="connsiteX5" fmla="*/ 45006 w 68580"/>
              <a:gd name="connsiteY5" fmla="*/ 6429 h 85725"/>
              <a:gd name="connsiteX6" fmla="*/ 63008 w 68580"/>
              <a:gd name="connsiteY6" fmla="*/ 9858 h 85725"/>
              <a:gd name="connsiteX7" fmla="*/ 63008 w 68580"/>
              <a:gd name="connsiteY7" fmla="*/ 19288 h 85725"/>
              <a:gd name="connsiteX8" fmla="*/ 45006 w 68580"/>
              <a:gd name="connsiteY8" fmla="*/ 15002 h 85725"/>
              <a:gd name="connsiteX9" fmla="*/ 24432 w 68580"/>
              <a:gd name="connsiteY9" fmla="*/ 23574 h 85725"/>
              <a:gd name="connsiteX10" fmla="*/ 16716 w 68580"/>
              <a:gd name="connsiteY10" fmla="*/ 46720 h 85725"/>
              <a:gd name="connsiteX11" fmla="*/ 24432 w 68580"/>
              <a:gd name="connsiteY11" fmla="*/ 68151 h 85725"/>
              <a:gd name="connsiteX12" fmla="*/ 44149 w 68580"/>
              <a:gd name="connsiteY12" fmla="*/ 75867 h 85725"/>
              <a:gd name="connsiteX13" fmla="*/ 63865 w 68580"/>
              <a:gd name="connsiteY13" fmla="*/ 70723 h 85725"/>
              <a:gd name="connsiteX14" fmla="*/ 63865 w 68580"/>
              <a:gd name="connsiteY14" fmla="*/ 7929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580" h="85725">
                <a:moveTo>
                  <a:pt x="62151" y="79296"/>
                </a:moveTo>
                <a:cubicBezTo>
                  <a:pt x="57007" y="81867"/>
                  <a:pt x="50149" y="83582"/>
                  <a:pt x="41577" y="83582"/>
                </a:cubicBezTo>
                <a:cubicBezTo>
                  <a:pt x="31290" y="83582"/>
                  <a:pt x="22717" y="80153"/>
                  <a:pt x="15859" y="73295"/>
                </a:cubicBezTo>
                <a:cubicBezTo>
                  <a:pt x="9859" y="66437"/>
                  <a:pt x="6429" y="57864"/>
                  <a:pt x="6429" y="46720"/>
                </a:cubicBezTo>
                <a:cubicBezTo>
                  <a:pt x="6429" y="34719"/>
                  <a:pt x="9859" y="25289"/>
                  <a:pt x="17574" y="17574"/>
                </a:cubicBezTo>
                <a:cubicBezTo>
                  <a:pt x="24432" y="9858"/>
                  <a:pt x="33861" y="6429"/>
                  <a:pt x="45006" y="6429"/>
                </a:cubicBezTo>
                <a:cubicBezTo>
                  <a:pt x="51864" y="6429"/>
                  <a:pt x="57864" y="7287"/>
                  <a:pt x="63008" y="9858"/>
                </a:cubicBezTo>
                <a:lnTo>
                  <a:pt x="63008" y="19288"/>
                </a:lnTo>
                <a:cubicBezTo>
                  <a:pt x="57864" y="16716"/>
                  <a:pt x="51864" y="15002"/>
                  <a:pt x="45006" y="15002"/>
                </a:cubicBezTo>
                <a:cubicBezTo>
                  <a:pt x="36433" y="15002"/>
                  <a:pt x="29575" y="17574"/>
                  <a:pt x="24432" y="23574"/>
                </a:cubicBezTo>
                <a:cubicBezTo>
                  <a:pt x="19288" y="29575"/>
                  <a:pt x="16716" y="37290"/>
                  <a:pt x="16716" y="46720"/>
                </a:cubicBezTo>
                <a:cubicBezTo>
                  <a:pt x="16716" y="56150"/>
                  <a:pt x="19288" y="63008"/>
                  <a:pt x="24432" y="68151"/>
                </a:cubicBezTo>
                <a:cubicBezTo>
                  <a:pt x="29575" y="73295"/>
                  <a:pt x="35576" y="75867"/>
                  <a:pt x="44149" y="75867"/>
                </a:cubicBezTo>
                <a:cubicBezTo>
                  <a:pt x="51864" y="75867"/>
                  <a:pt x="57864" y="74152"/>
                  <a:pt x="63865" y="70723"/>
                </a:cubicBezTo>
                <a:lnTo>
                  <a:pt x="63865" y="79296"/>
                </a:lnTo>
                <a:close/>
              </a:path>
            </a:pathLst>
          </a:custGeom>
          <a:solidFill>
            <a:schemeClr val="accent3"/>
          </a:solidFill>
          <a:ln w="9525" cap="flat">
            <a:noFill/>
            <a:prstDash val="solid"/>
            <a:miter/>
          </a:ln>
        </p:spPr>
        <p:txBody>
          <a:bodyPr rtlCol="0" anchor="ctr"/>
          <a:lstStyle/>
          <a:p>
            <a:endParaRPr lang="zh-CN" altLang="en-US"/>
          </a:p>
        </p:txBody>
      </p:sp>
      <p:sp>
        <p:nvSpPr>
          <p:cNvPr id="83" name="任意多边形: 形状 82">
            <a:extLst>
              <a:ext uri="{FF2B5EF4-FFF2-40B4-BE49-F238E27FC236}">
                <a16:creationId xmlns:a16="http://schemas.microsoft.com/office/drawing/2014/main" id="{204FD0BD-AA63-4DA6-B3C8-8560B34430DA}"/>
              </a:ext>
            </a:extLst>
          </p:cNvPr>
          <p:cNvSpPr/>
          <p:nvPr/>
        </p:nvSpPr>
        <p:spPr>
          <a:xfrm>
            <a:off x="10240119" y="851400"/>
            <a:ext cx="378706" cy="172888"/>
          </a:xfrm>
          <a:custGeom>
            <a:avLst/>
            <a:gdLst>
              <a:gd name="connsiteX0" fmla="*/ 195881 w 394335"/>
              <a:gd name="connsiteY0" fmla="*/ 177879 h 180022"/>
              <a:gd name="connsiteX1" fmla="*/ 6429 w 394335"/>
              <a:gd name="connsiteY1" fmla="*/ 92154 h 180022"/>
              <a:gd name="connsiteX2" fmla="*/ 201025 w 394335"/>
              <a:gd name="connsiteY2" fmla="*/ 6429 h 180022"/>
              <a:gd name="connsiteX3" fmla="*/ 388763 w 394335"/>
              <a:gd name="connsiteY3" fmla="*/ 90440 h 180022"/>
            </a:gdLst>
            <a:ahLst/>
            <a:cxnLst>
              <a:cxn ang="0">
                <a:pos x="connsiteX0" y="connsiteY0"/>
              </a:cxn>
              <a:cxn ang="0">
                <a:pos x="connsiteX1" y="connsiteY1"/>
              </a:cxn>
              <a:cxn ang="0">
                <a:pos x="connsiteX2" y="connsiteY2"/>
              </a:cxn>
              <a:cxn ang="0">
                <a:pos x="connsiteX3" y="connsiteY3"/>
              </a:cxn>
            </a:cxnLst>
            <a:rect l="l" t="t" r="r" b="b"/>
            <a:pathLst>
              <a:path w="394335" h="180022">
                <a:moveTo>
                  <a:pt x="195881" y="177879"/>
                </a:moveTo>
                <a:lnTo>
                  <a:pt x="6429" y="92154"/>
                </a:lnTo>
                <a:lnTo>
                  <a:pt x="201025" y="6429"/>
                </a:lnTo>
                <a:lnTo>
                  <a:pt x="388763" y="90440"/>
                </a:lnTo>
                <a:close/>
              </a:path>
            </a:pathLst>
          </a:custGeom>
          <a:solidFill>
            <a:schemeClr val="accent3"/>
          </a:solidFill>
          <a:ln w="9525" cap="flat">
            <a:noFill/>
            <a:prstDash val="solid"/>
            <a:miter/>
          </a:ln>
        </p:spPr>
        <p:txBody>
          <a:bodyPr rtlCol="0" anchor="ctr"/>
          <a:lstStyle/>
          <a:p>
            <a:endParaRPr lang="zh-CN" altLang="en-US"/>
          </a:p>
        </p:txBody>
      </p:sp>
      <p:sp>
        <p:nvSpPr>
          <p:cNvPr id="84" name="任意多边形: 形状 83">
            <a:extLst>
              <a:ext uri="{FF2B5EF4-FFF2-40B4-BE49-F238E27FC236}">
                <a16:creationId xmlns:a16="http://schemas.microsoft.com/office/drawing/2014/main" id="{1D34CF01-299F-4123-8E19-8F5B367C0AF7}"/>
              </a:ext>
            </a:extLst>
          </p:cNvPr>
          <p:cNvSpPr/>
          <p:nvPr/>
        </p:nvSpPr>
        <p:spPr>
          <a:xfrm>
            <a:off x="10592480" y="928787"/>
            <a:ext cx="16465" cy="131724"/>
          </a:xfrm>
          <a:custGeom>
            <a:avLst/>
            <a:gdLst>
              <a:gd name="connsiteX0" fmla="*/ 6429 w 17145"/>
              <a:gd name="connsiteY0" fmla="*/ 6429 h 137160"/>
              <a:gd name="connsiteX1" fmla="*/ 18431 w 17145"/>
              <a:gd name="connsiteY1" fmla="*/ 6429 h 137160"/>
              <a:gd name="connsiteX2" fmla="*/ 18431 w 17145"/>
              <a:gd name="connsiteY2" fmla="*/ 132445 h 137160"/>
              <a:gd name="connsiteX3" fmla="*/ 6429 w 17145"/>
              <a:gd name="connsiteY3" fmla="*/ 132445 h 137160"/>
            </a:gdLst>
            <a:ahLst/>
            <a:cxnLst>
              <a:cxn ang="0">
                <a:pos x="connsiteX0" y="connsiteY0"/>
              </a:cxn>
              <a:cxn ang="0">
                <a:pos x="connsiteX1" y="connsiteY1"/>
              </a:cxn>
              <a:cxn ang="0">
                <a:pos x="connsiteX2" y="connsiteY2"/>
              </a:cxn>
              <a:cxn ang="0">
                <a:pos x="connsiteX3" y="connsiteY3"/>
              </a:cxn>
            </a:cxnLst>
            <a:rect l="l" t="t" r="r" b="b"/>
            <a:pathLst>
              <a:path w="17145" h="137160">
                <a:moveTo>
                  <a:pt x="6429" y="6429"/>
                </a:moveTo>
                <a:lnTo>
                  <a:pt x="18431" y="6429"/>
                </a:lnTo>
                <a:lnTo>
                  <a:pt x="18431" y="132445"/>
                </a:lnTo>
                <a:lnTo>
                  <a:pt x="6429" y="132445"/>
                </a:lnTo>
                <a:close/>
              </a:path>
            </a:pathLst>
          </a:custGeom>
          <a:solidFill>
            <a:schemeClr val="accent3"/>
          </a:solidFill>
          <a:ln w="9525" cap="flat">
            <a:noFill/>
            <a:prstDash val="solid"/>
            <a:miter/>
          </a:ln>
        </p:spPr>
        <p:txBody>
          <a:bodyPr rtlCol="0" anchor="ctr"/>
          <a:lstStyle/>
          <a:p>
            <a:endParaRPr lang="zh-CN" altLang="en-US"/>
          </a:p>
        </p:txBody>
      </p:sp>
      <p:sp>
        <p:nvSpPr>
          <p:cNvPr id="85" name="任意多边形: 形状 84">
            <a:extLst>
              <a:ext uri="{FF2B5EF4-FFF2-40B4-BE49-F238E27FC236}">
                <a16:creationId xmlns:a16="http://schemas.microsoft.com/office/drawing/2014/main" id="{FF2D5F7F-3829-404C-AFD6-135AD8A7693F}"/>
              </a:ext>
            </a:extLst>
          </p:cNvPr>
          <p:cNvSpPr/>
          <p:nvPr/>
        </p:nvSpPr>
        <p:spPr>
          <a:xfrm>
            <a:off x="10580132" y="1035813"/>
            <a:ext cx="41164" cy="41164"/>
          </a:xfrm>
          <a:custGeom>
            <a:avLst/>
            <a:gdLst>
              <a:gd name="connsiteX0" fmla="*/ 44149 w 42862"/>
              <a:gd name="connsiteY0" fmla="*/ 25289 h 42862"/>
              <a:gd name="connsiteX1" fmla="*/ 25289 w 42862"/>
              <a:gd name="connsiteY1" fmla="*/ 6429 h 42862"/>
              <a:gd name="connsiteX2" fmla="*/ 6429 w 42862"/>
              <a:gd name="connsiteY2" fmla="*/ 25289 h 42862"/>
              <a:gd name="connsiteX3" fmla="*/ 25289 w 42862"/>
              <a:gd name="connsiteY3" fmla="*/ 44148 h 42862"/>
              <a:gd name="connsiteX4" fmla="*/ 44149 w 42862"/>
              <a:gd name="connsiteY4" fmla="*/ 25289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2862">
                <a:moveTo>
                  <a:pt x="44149" y="25289"/>
                </a:moveTo>
                <a:cubicBezTo>
                  <a:pt x="44149" y="15002"/>
                  <a:pt x="35576" y="6429"/>
                  <a:pt x="25289" y="6429"/>
                </a:cubicBezTo>
                <a:cubicBezTo>
                  <a:pt x="15002" y="6429"/>
                  <a:pt x="6429" y="15002"/>
                  <a:pt x="6429" y="25289"/>
                </a:cubicBezTo>
                <a:cubicBezTo>
                  <a:pt x="6429" y="35576"/>
                  <a:pt x="15002" y="44148"/>
                  <a:pt x="25289" y="44148"/>
                </a:cubicBezTo>
                <a:cubicBezTo>
                  <a:pt x="35576" y="44148"/>
                  <a:pt x="44149" y="35576"/>
                  <a:pt x="44149" y="25289"/>
                </a:cubicBezTo>
                <a:close/>
              </a:path>
            </a:pathLst>
          </a:custGeom>
          <a:solidFill>
            <a:schemeClr val="accent3"/>
          </a:solidFill>
          <a:ln w="9525" cap="flat">
            <a:noFill/>
            <a:prstDash val="solid"/>
            <a:miter/>
          </a:ln>
        </p:spPr>
        <p:txBody>
          <a:bodyPr rtlCol="0" anchor="ctr"/>
          <a:lstStyle/>
          <a:p>
            <a:endParaRPr lang="zh-CN" altLang="en-US"/>
          </a:p>
        </p:txBody>
      </p:sp>
      <p:sp>
        <p:nvSpPr>
          <p:cNvPr id="86" name="任意多边形: 形状 85">
            <a:extLst>
              <a:ext uri="{FF2B5EF4-FFF2-40B4-BE49-F238E27FC236}">
                <a16:creationId xmlns:a16="http://schemas.microsoft.com/office/drawing/2014/main" id="{AFEDEF7A-E13C-4AFC-B72B-491E98A85201}"/>
              </a:ext>
            </a:extLst>
          </p:cNvPr>
          <p:cNvSpPr/>
          <p:nvPr/>
        </p:nvSpPr>
        <p:spPr>
          <a:xfrm>
            <a:off x="10580386" y="1055572"/>
            <a:ext cx="32931" cy="90561"/>
          </a:xfrm>
          <a:custGeom>
            <a:avLst/>
            <a:gdLst>
              <a:gd name="connsiteX0" fmla="*/ 16451 w 34290"/>
              <a:gd name="connsiteY0" fmla="*/ 10716 h 94297"/>
              <a:gd name="connsiteX1" fmla="*/ 7879 w 34290"/>
              <a:gd name="connsiteY1" fmla="*/ 90440 h 94297"/>
              <a:gd name="connsiteX2" fmla="*/ 29310 w 34290"/>
              <a:gd name="connsiteY2" fmla="*/ 90440 h 94297"/>
              <a:gd name="connsiteX3" fmla="*/ 29310 w 34290"/>
              <a:gd name="connsiteY3" fmla="*/ 6429 h 94297"/>
              <a:gd name="connsiteX4" fmla="*/ 16451 w 34290"/>
              <a:gd name="connsiteY4" fmla="*/ 10716 h 94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 h="94297">
                <a:moveTo>
                  <a:pt x="16451" y="10716"/>
                </a:moveTo>
                <a:cubicBezTo>
                  <a:pt x="16451" y="10716"/>
                  <a:pt x="1878" y="42434"/>
                  <a:pt x="7879" y="90440"/>
                </a:cubicBezTo>
                <a:lnTo>
                  <a:pt x="29310" y="90440"/>
                </a:lnTo>
                <a:lnTo>
                  <a:pt x="29310" y="6429"/>
                </a:lnTo>
                <a:cubicBezTo>
                  <a:pt x="28452" y="6429"/>
                  <a:pt x="16451" y="13287"/>
                  <a:pt x="16451" y="10716"/>
                </a:cubicBezTo>
                <a:close/>
              </a:path>
            </a:pathLst>
          </a:custGeom>
          <a:solidFill>
            <a:schemeClr val="accent3"/>
          </a:solidFill>
          <a:ln w="9525" cap="flat">
            <a:noFill/>
            <a:prstDash val="solid"/>
            <a:miter/>
          </a:ln>
        </p:spPr>
        <p:txBody>
          <a:bodyPr rtlCol="0" anchor="ctr"/>
          <a:lstStyle/>
          <a:p>
            <a:endParaRPr lang="zh-CN" altLang="en-US"/>
          </a:p>
        </p:txBody>
      </p:sp>
      <p:sp>
        <p:nvSpPr>
          <p:cNvPr id="87" name="任意多边形: 形状 86">
            <a:extLst>
              <a:ext uri="{FF2B5EF4-FFF2-40B4-BE49-F238E27FC236}">
                <a16:creationId xmlns:a16="http://schemas.microsoft.com/office/drawing/2014/main" id="{A422F21E-F25E-44CF-BD02-A3BF54E66561}"/>
              </a:ext>
            </a:extLst>
          </p:cNvPr>
          <p:cNvSpPr/>
          <p:nvPr/>
        </p:nvSpPr>
        <p:spPr>
          <a:xfrm>
            <a:off x="10596558" y="1055572"/>
            <a:ext cx="32931" cy="90561"/>
          </a:xfrm>
          <a:custGeom>
            <a:avLst/>
            <a:gdLst>
              <a:gd name="connsiteX0" fmla="*/ 18472 w 34290"/>
              <a:gd name="connsiteY0" fmla="*/ 10716 h 94297"/>
              <a:gd name="connsiteX1" fmla="*/ 27902 w 34290"/>
              <a:gd name="connsiteY1" fmla="*/ 90440 h 94297"/>
              <a:gd name="connsiteX2" fmla="*/ 6470 w 34290"/>
              <a:gd name="connsiteY2" fmla="*/ 90440 h 94297"/>
              <a:gd name="connsiteX3" fmla="*/ 6470 w 34290"/>
              <a:gd name="connsiteY3" fmla="*/ 6429 h 94297"/>
              <a:gd name="connsiteX4" fmla="*/ 18472 w 34290"/>
              <a:gd name="connsiteY4" fmla="*/ 10716 h 94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 h="94297">
                <a:moveTo>
                  <a:pt x="18472" y="10716"/>
                </a:moveTo>
                <a:cubicBezTo>
                  <a:pt x="18472" y="10716"/>
                  <a:pt x="33902" y="42434"/>
                  <a:pt x="27902" y="90440"/>
                </a:cubicBezTo>
                <a:lnTo>
                  <a:pt x="6470" y="90440"/>
                </a:lnTo>
                <a:lnTo>
                  <a:pt x="6470" y="6429"/>
                </a:lnTo>
                <a:cubicBezTo>
                  <a:pt x="5613" y="6429"/>
                  <a:pt x="18472" y="13287"/>
                  <a:pt x="18472" y="10716"/>
                </a:cubicBezTo>
                <a:close/>
              </a:path>
            </a:pathLst>
          </a:custGeom>
          <a:solidFill>
            <a:schemeClr val="accent3"/>
          </a:solidFill>
          <a:ln w="9525" cap="flat">
            <a:noFill/>
            <a:prstDash val="solid"/>
            <a:miter/>
          </a:ln>
        </p:spPr>
        <p:txBody>
          <a:bodyPr rtlCol="0" anchor="ctr"/>
          <a:lstStyle/>
          <a:p>
            <a:endParaRPr lang="zh-CN" altLang="en-US"/>
          </a:p>
        </p:txBody>
      </p:sp>
      <p:sp>
        <p:nvSpPr>
          <p:cNvPr id="88" name="任意多边形: 形状 87">
            <a:extLst>
              <a:ext uri="{FF2B5EF4-FFF2-40B4-BE49-F238E27FC236}">
                <a16:creationId xmlns:a16="http://schemas.microsoft.com/office/drawing/2014/main" id="{0776E65C-A79F-4C2A-817D-8A49AD34BCF7}"/>
              </a:ext>
            </a:extLst>
          </p:cNvPr>
          <p:cNvSpPr/>
          <p:nvPr/>
        </p:nvSpPr>
        <p:spPr>
          <a:xfrm>
            <a:off x="10313390" y="983124"/>
            <a:ext cx="222284" cy="164655"/>
          </a:xfrm>
          <a:custGeom>
            <a:avLst/>
            <a:gdLst>
              <a:gd name="connsiteX0" fmla="*/ 227600 w 231457"/>
              <a:gd name="connsiteY0" fmla="*/ 6429 h 171450"/>
              <a:gd name="connsiteX1" fmla="*/ 117015 w 231457"/>
              <a:gd name="connsiteY1" fmla="*/ 58722 h 171450"/>
              <a:gd name="connsiteX2" fmla="*/ 6429 w 231457"/>
              <a:gd name="connsiteY2" fmla="*/ 6429 h 171450"/>
              <a:gd name="connsiteX3" fmla="*/ 6429 w 231457"/>
              <a:gd name="connsiteY3" fmla="*/ 134160 h 171450"/>
              <a:gd name="connsiteX4" fmla="*/ 114443 w 231457"/>
              <a:gd name="connsiteY4" fmla="*/ 171879 h 171450"/>
              <a:gd name="connsiteX5" fmla="*/ 114443 w 231457"/>
              <a:gd name="connsiteY5" fmla="*/ 171879 h 171450"/>
              <a:gd name="connsiteX6" fmla="*/ 117872 w 231457"/>
              <a:gd name="connsiteY6" fmla="*/ 171879 h 171450"/>
              <a:gd name="connsiteX7" fmla="*/ 120444 w 231457"/>
              <a:gd name="connsiteY7" fmla="*/ 171879 h 171450"/>
              <a:gd name="connsiteX8" fmla="*/ 120444 w 231457"/>
              <a:gd name="connsiteY8" fmla="*/ 171879 h 171450"/>
              <a:gd name="connsiteX9" fmla="*/ 228457 w 231457"/>
              <a:gd name="connsiteY9" fmla="*/ 134160 h 171450"/>
              <a:gd name="connsiteX10" fmla="*/ 228457 w 231457"/>
              <a:gd name="connsiteY10" fmla="*/ 6429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457" h="171450">
                <a:moveTo>
                  <a:pt x="227600" y="6429"/>
                </a:moveTo>
                <a:cubicBezTo>
                  <a:pt x="227600" y="7287"/>
                  <a:pt x="135017" y="50149"/>
                  <a:pt x="117015" y="58722"/>
                </a:cubicBezTo>
                <a:cubicBezTo>
                  <a:pt x="99013" y="50149"/>
                  <a:pt x="6429" y="7287"/>
                  <a:pt x="6429" y="6429"/>
                </a:cubicBezTo>
                <a:lnTo>
                  <a:pt x="6429" y="134160"/>
                </a:lnTo>
                <a:cubicBezTo>
                  <a:pt x="36433" y="165878"/>
                  <a:pt x="95584" y="171021"/>
                  <a:pt x="114443" y="171879"/>
                </a:cubicBezTo>
                <a:lnTo>
                  <a:pt x="114443" y="171879"/>
                </a:lnTo>
                <a:cubicBezTo>
                  <a:pt x="114443" y="171879"/>
                  <a:pt x="115300" y="171879"/>
                  <a:pt x="117872" y="171879"/>
                </a:cubicBezTo>
                <a:cubicBezTo>
                  <a:pt x="119586" y="171879"/>
                  <a:pt x="120444" y="171879"/>
                  <a:pt x="120444" y="171879"/>
                </a:cubicBezTo>
                <a:lnTo>
                  <a:pt x="120444" y="171879"/>
                </a:lnTo>
                <a:cubicBezTo>
                  <a:pt x="139303" y="171021"/>
                  <a:pt x="198454" y="165878"/>
                  <a:pt x="228457" y="134160"/>
                </a:cubicBezTo>
                <a:lnTo>
                  <a:pt x="228457" y="6429"/>
                </a:lnTo>
                <a:close/>
              </a:path>
            </a:pathLst>
          </a:custGeom>
          <a:solidFill>
            <a:schemeClr val="accent3"/>
          </a:solidFill>
          <a:ln w="9525" cap="flat">
            <a:noFill/>
            <a:prstDash val="solid"/>
            <a:miter/>
          </a:ln>
        </p:spPr>
        <p:txBody>
          <a:bodyPr rtlCol="0" anchor="ctr"/>
          <a:lstStyle/>
          <a:p>
            <a:endParaRPr lang="zh-CN" altLang="en-US"/>
          </a:p>
        </p:txBody>
      </p:sp>
      <p:sp>
        <p:nvSpPr>
          <p:cNvPr id="89" name="任意多边形: 形状 88">
            <a:extLst>
              <a:ext uri="{FF2B5EF4-FFF2-40B4-BE49-F238E27FC236}">
                <a16:creationId xmlns:a16="http://schemas.microsoft.com/office/drawing/2014/main" id="{688963BE-7728-4B1C-99F2-BDB5381E0E5B}"/>
              </a:ext>
            </a:extLst>
          </p:cNvPr>
          <p:cNvSpPr/>
          <p:nvPr/>
        </p:nvSpPr>
        <p:spPr>
          <a:xfrm>
            <a:off x="9946211" y="1605518"/>
            <a:ext cx="1399564"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3"/>
          </a:solidFill>
          <a:ln w="9525" cap="flat">
            <a:noFill/>
            <a:prstDash val="solid"/>
            <a:miter/>
          </a:ln>
        </p:spPr>
        <p:txBody>
          <a:bodyPr rtlCol="0" anchor="ctr"/>
          <a:lstStyle/>
          <a:p>
            <a:endParaRPr lang="zh-CN" altLang="en-US"/>
          </a:p>
        </p:txBody>
      </p:sp>
      <p:sp>
        <p:nvSpPr>
          <p:cNvPr id="90" name="任意多边形: 形状 89">
            <a:extLst>
              <a:ext uri="{FF2B5EF4-FFF2-40B4-BE49-F238E27FC236}">
                <a16:creationId xmlns:a16="http://schemas.microsoft.com/office/drawing/2014/main" id="{B894EEB8-C405-47F0-9232-2171573F48CB}"/>
              </a:ext>
            </a:extLst>
          </p:cNvPr>
          <p:cNvSpPr/>
          <p:nvPr/>
        </p:nvSpPr>
        <p:spPr>
          <a:xfrm>
            <a:off x="9946211" y="1770173"/>
            <a:ext cx="1399564"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3"/>
          </a:solidFill>
          <a:ln w="9525" cap="flat">
            <a:noFill/>
            <a:prstDash val="solid"/>
            <a:miter/>
          </a:ln>
        </p:spPr>
        <p:txBody>
          <a:bodyPr rtlCol="0" anchor="ctr"/>
          <a:lstStyle/>
          <a:p>
            <a:endParaRPr lang="zh-CN" altLang="en-US"/>
          </a:p>
        </p:txBody>
      </p:sp>
      <p:sp>
        <p:nvSpPr>
          <p:cNvPr id="91" name="任意多边形: 形状 90">
            <a:extLst>
              <a:ext uri="{FF2B5EF4-FFF2-40B4-BE49-F238E27FC236}">
                <a16:creationId xmlns:a16="http://schemas.microsoft.com/office/drawing/2014/main" id="{5A43CAE8-005C-453B-84C6-508EF8D1C974}"/>
              </a:ext>
            </a:extLst>
          </p:cNvPr>
          <p:cNvSpPr/>
          <p:nvPr/>
        </p:nvSpPr>
        <p:spPr>
          <a:xfrm>
            <a:off x="9946211" y="1934827"/>
            <a:ext cx="1399564"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3"/>
          </a:solidFill>
          <a:ln w="9525" cap="flat">
            <a:noFill/>
            <a:prstDash val="solid"/>
            <a:miter/>
          </a:ln>
        </p:spPr>
        <p:txBody>
          <a:bodyPr rtlCol="0" anchor="ctr"/>
          <a:lstStyle/>
          <a:p>
            <a:endParaRPr lang="zh-CN" altLang="en-US"/>
          </a:p>
        </p:txBody>
      </p:sp>
      <p:sp>
        <p:nvSpPr>
          <p:cNvPr id="92" name="任意多边形: 形状 91">
            <a:extLst>
              <a:ext uri="{FF2B5EF4-FFF2-40B4-BE49-F238E27FC236}">
                <a16:creationId xmlns:a16="http://schemas.microsoft.com/office/drawing/2014/main" id="{7941AB13-639D-4809-8424-8539FC3DDE4D}"/>
              </a:ext>
            </a:extLst>
          </p:cNvPr>
          <p:cNvSpPr/>
          <p:nvPr/>
        </p:nvSpPr>
        <p:spPr>
          <a:xfrm>
            <a:off x="9946211" y="2099482"/>
            <a:ext cx="1399564"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3"/>
          </a:solidFill>
          <a:ln w="9525" cap="flat">
            <a:noFill/>
            <a:prstDash val="solid"/>
            <a:miter/>
          </a:ln>
        </p:spPr>
        <p:txBody>
          <a:bodyPr rtlCol="0" anchor="ctr"/>
          <a:lstStyle/>
          <a:p>
            <a:endParaRPr lang="zh-CN" altLang="en-US"/>
          </a:p>
        </p:txBody>
      </p:sp>
      <p:sp>
        <p:nvSpPr>
          <p:cNvPr id="93" name="任意多边形: 形状 92">
            <a:extLst>
              <a:ext uri="{FF2B5EF4-FFF2-40B4-BE49-F238E27FC236}">
                <a16:creationId xmlns:a16="http://schemas.microsoft.com/office/drawing/2014/main" id="{4D3F6202-92EA-4CED-ABA7-F88FBF0397FB}"/>
              </a:ext>
            </a:extLst>
          </p:cNvPr>
          <p:cNvSpPr/>
          <p:nvPr/>
        </p:nvSpPr>
        <p:spPr>
          <a:xfrm>
            <a:off x="10514270" y="2264136"/>
            <a:ext cx="831506" cy="24699"/>
          </a:xfrm>
          <a:custGeom>
            <a:avLst/>
            <a:gdLst>
              <a:gd name="connsiteX0" fmla="*/ 6429 w 865822"/>
              <a:gd name="connsiteY0" fmla="*/ 6429 h 25717"/>
              <a:gd name="connsiteX1" fmla="*/ 863679 w 865822"/>
              <a:gd name="connsiteY1" fmla="*/ 6429 h 25717"/>
              <a:gd name="connsiteX2" fmla="*/ 863679 w 865822"/>
              <a:gd name="connsiteY2" fmla="*/ 23574 h 25717"/>
              <a:gd name="connsiteX3" fmla="*/ 6429 w 865822"/>
              <a:gd name="connsiteY3" fmla="*/ 23574 h 25717"/>
            </a:gdLst>
            <a:ahLst/>
            <a:cxnLst>
              <a:cxn ang="0">
                <a:pos x="connsiteX0" y="connsiteY0"/>
              </a:cxn>
              <a:cxn ang="0">
                <a:pos x="connsiteX1" y="connsiteY1"/>
              </a:cxn>
              <a:cxn ang="0">
                <a:pos x="connsiteX2" y="connsiteY2"/>
              </a:cxn>
              <a:cxn ang="0">
                <a:pos x="connsiteX3" y="connsiteY3"/>
              </a:cxn>
            </a:cxnLst>
            <a:rect l="l" t="t" r="r" b="b"/>
            <a:pathLst>
              <a:path w="865822" h="25717">
                <a:moveTo>
                  <a:pt x="6429" y="6429"/>
                </a:moveTo>
                <a:lnTo>
                  <a:pt x="863679" y="6429"/>
                </a:lnTo>
                <a:lnTo>
                  <a:pt x="863679" y="23574"/>
                </a:lnTo>
                <a:lnTo>
                  <a:pt x="6429" y="23574"/>
                </a:lnTo>
                <a:close/>
              </a:path>
            </a:pathLst>
          </a:custGeom>
          <a:solidFill>
            <a:schemeClr val="accent3"/>
          </a:solidFill>
          <a:ln w="9525" cap="flat">
            <a:noFill/>
            <a:prstDash val="solid"/>
            <a:miter/>
          </a:ln>
        </p:spPr>
        <p:txBody>
          <a:bodyPr rtlCol="0" anchor="ctr"/>
          <a:lstStyle/>
          <a:p>
            <a:endParaRPr lang="zh-CN" altLang="en-US"/>
          </a:p>
        </p:txBody>
      </p:sp>
      <p:grpSp>
        <p:nvGrpSpPr>
          <p:cNvPr id="133" name="组合 132"/>
          <p:cNvGrpSpPr/>
          <p:nvPr userDrawn="1"/>
        </p:nvGrpSpPr>
        <p:grpSpPr>
          <a:xfrm>
            <a:off x="9740393" y="3753437"/>
            <a:ext cx="1403681" cy="1408621"/>
            <a:chOff x="9918193" y="3753437"/>
            <a:chExt cx="1403681" cy="1408621"/>
          </a:xfrm>
        </p:grpSpPr>
        <p:sp>
          <p:nvSpPr>
            <p:cNvPr id="95" name="任意多边形: 形状 94">
              <a:extLst>
                <a:ext uri="{FF2B5EF4-FFF2-40B4-BE49-F238E27FC236}">
                  <a16:creationId xmlns:a16="http://schemas.microsoft.com/office/drawing/2014/main" id="{22269A40-11FE-489A-9652-8095C83841B5}"/>
                </a:ext>
              </a:extLst>
            </p:cNvPr>
            <p:cNvSpPr/>
            <p:nvPr/>
          </p:nvSpPr>
          <p:spPr>
            <a:xfrm>
              <a:off x="10319951" y="4114854"/>
              <a:ext cx="82327" cy="131724"/>
            </a:xfrm>
            <a:custGeom>
              <a:avLst/>
              <a:gdLst>
                <a:gd name="connsiteX0" fmla="*/ 83582 w 85725"/>
                <a:gd name="connsiteY0" fmla="*/ 135017 h 137160"/>
                <a:gd name="connsiteX1" fmla="*/ 6429 w 85725"/>
                <a:gd name="connsiteY1" fmla="*/ 135017 h 137160"/>
                <a:gd name="connsiteX2" fmla="*/ 6429 w 85725"/>
                <a:gd name="connsiteY2" fmla="*/ 6429 h 137160"/>
                <a:gd name="connsiteX3" fmla="*/ 81010 w 85725"/>
                <a:gd name="connsiteY3" fmla="*/ 6429 h 137160"/>
                <a:gd name="connsiteX4" fmla="*/ 81010 w 85725"/>
                <a:gd name="connsiteY4" fmla="*/ 30433 h 137160"/>
                <a:gd name="connsiteX5" fmla="*/ 35576 w 85725"/>
                <a:gd name="connsiteY5" fmla="*/ 30433 h 137160"/>
                <a:gd name="connsiteX6" fmla="*/ 35576 w 85725"/>
                <a:gd name="connsiteY6" fmla="*/ 58722 h 137160"/>
                <a:gd name="connsiteX7" fmla="*/ 77581 w 85725"/>
                <a:gd name="connsiteY7" fmla="*/ 58722 h 137160"/>
                <a:gd name="connsiteX8" fmla="*/ 77581 w 85725"/>
                <a:gd name="connsiteY8" fmla="*/ 81868 h 137160"/>
                <a:gd name="connsiteX9" fmla="*/ 35576 w 85725"/>
                <a:gd name="connsiteY9" fmla="*/ 81868 h 137160"/>
                <a:gd name="connsiteX10" fmla="*/ 35576 w 85725"/>
                <a:gd name="connsiteY10" fmla="*/ 111014 h 137160"/>
                <a:gd name="connsiteX11" fmla="*/ 83582 w 85725"/>
                <a:gd name="connsiteY11" fmla="*/ 111014 h 137160"/>
                <a:gd name="connsiteX12" fmla="*/ 83582 w 85725"/>
                <a:gd name="connsiteY12" fmla="*/ 135017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25" h="137160">
                  <a:moveTo>
                    <a:pt x="83582" y="135017"/>
                  </a:moveTo>
                  <a:lnTo>
                    <a:pt x="6429" y="135017"/>
                  </a:lnTo>
                  <a:lnTo>
                    <a:pt x="6429" y="6429"/>
                  </a:lnTo>
                  <a:lnTo>
                    <a:pt x="81010" y="6429"/>
                  </a:lnTo>
                  <a:lnTo>
                    <a:pt x="81010" y="30433"/>
                  </a:lnTo>
                  <a:lnTo>
                    <a:pt x="35576" y="30433"/>
                  </a:lnTo>
                  <a:lnTo>
                    <a:pt x="35576" y="58722"/>
                  </a:lnTo>
                  <a:lnTo>
                    <a:pt x="77581" y="58722"/>
                  </a:lnTo>
                  <a:lnTo>
                    <a:pt x="77581" y="81868"/>
                  </a:lnTo>
                  <a:lnTo>
                    <a:pt x="35576" y="81868"/>
                  </a:lnTo>
                  <a:lnTo>
                    <a:pt x="35576" y="111014"/>
                  </a:lnTo>
                  <a:lnTo>
                    <a:pt x="83582" y="111014"/>
                  </a:lnTo>
                  <a:lnTo>
                    <a:pt x="83582" y="135017"/>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96" name="任意多边形: 形状 95">
              <a:extLst>
                <a:ext uri="{FF2B5EF4-FFF2-40B4-BE49-F238E27FC236}">
                  <a16:creationId xmlns:a16="http://schemas.microsoft.com/office/drawing/2014/main" id="{673BC577-FCE7-4807-9EEC-6DD439CE3D28}"/>
                </a:ext>
              </a:extLst>
            </p:cNvPr>
            <p:cNvSpPr/>
            <p:nvPr/>
          </p:nvSpPr>
          <p:spPr>
            <a:xfrm>
              <a:off x="10413803" y="4114854"/>
              <a:ext cx="115258" cy="131724"/>
            </a:xfrm>
            <a:custGeom>
              <a:avLst/>
              <a:gdLst>
                <a:gd name="connsiteX0" fmla="*/ 6429 w 120015"/>
                <a:gd name="connsiteY0" fmla="*/ 135017 h 137160"/>
                <a:gd name="connsiteX1" fmla="*/ 6429 w 120015"/>
                <a:gd name="connsiteY1" fmla="*/ 6429 h 137160"/>
                <a:gd name="connsiteX2" fmla="*/ 51864 w 120015"/>
                <a:gd name="connsiteY2" fmla="*/ 6429 h 137160"/>
                <a:gd name="connsiteX3" fmla="*/ 120444 w 120015"/>
                <a:gd name="connsiteY3" fmla="*/ 69009 h 137160"/>
                <a:gd name="connsiteX4" fmla="*/ 101584 w 120015"/>
                <a:gd name="connsiteY4" fmla="*/ 117015 h 137160"/>
                <a:gd name="connsiteX5" fmla="*/ 51864 w 120015"/>
                <a:gd name="connsiteY5" fmla="*/ 135017 h 137160"/>
                <a:gd name="connsiteX6" fmla="*/ 6429 w 120015"/>
                <a:gd name="connsiteY6" fmla="*/ 135017 h 137160"/>
                <a:gd name="connsiteX7" fmla="*/ 35576 w 120015"/>
                <a:gd name="connsiteY7" fmla="*/ 29575 h 137160"/>
                <a:gd name="connsiteX8" fmla="*/ 35576 w 120015"/>
                <a:gd name="connsiteY8" fmla="*/ 111014 h 137160"/>
                <a:gd name="connsiteX9" fmla="*/ 50149 w 120015"/>
                <a:gd name="connsiteY9" fmla="*/ 111014 h 137160"/>
                <a:gd name="connsiteX10" fmla="*/ 79296 w 120015"/>
                <a:gd name="connsiteY10" fmla="*/ 99870 h 137160"/>
                <a:gd name="connsiteX11" fmla="*/ 90440 w 120015"/>
                <a:gd name="connsiteY11" fmla="*/ 69009 h 137160"/>
                <a:gd name="connsiteX12" fmla="*/ 80153 w 120015"/>
                <a:gd name="connsiteY12" fmla="*/ 39862 h 137160"/>
                <a:gd name="connsiteX13" fmla="*/ 50149 w 120015"/>
                <a:gd name="connsiteY13" fmla="*/ 29575 h 137160"/>
                <a:gd name="connsiteX14" fmla="*/ 35576 w 120015"/>
                <a:gd name="connsiteY14" fmla="*/ 29575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015" h="137160">
                  <a:moveTo>
                    <a:pt x="6429" y="135017"/>
                  </a:moveTo>
                  <a:lnTo>
                    <a:pt x="6429" y="6429"/>
                  </a:lnTo>
                  <a:lnTo>
                    <a:pt x="51864" y="6429"/>
                  </a:lnTo>
                  <a:cubicBezTo>
                    <a:pt x="97298" y="6429"/>
                    <a:pt x="120444" y="27004"/>
                    <a:pt x="120444" y="69009"/>
                  </a:cubicBezTo>
                  <a:cubicBezTo>
                    <a:pt x="120444" y="88725"/>
                    <a:pt x="114443" y="105013"/>
                    <a:pt x="101584" y="117015"/>
                  </a:cubicBezTo>
                  <a:cubicBezTo>
                    <a:pt x="88725" y="129016"/>
                    <a:pt x="72438" y="135017"/>
                    <a:pt x="51864" y="135017"/>
                  </a:cubicBezTo>
                  <a:lnTo>
                    <a:pt x="6429" y="135017"/>
                  </a:lnTo>
                  <a:close/>
                  <a:moveTo>
                    <a:pt x="35576" y="29575"/>
                  </a:moveTo>
                  <a:lnTo>
                    <a:pt x="35576" y="111014"/>
                  </a:lnTo>
                  <a:lnTo>
                    <a:pt x="50149" y="111014"/>
                  </a:lnTo>
                  <a:cubicBezTo>
                    <a:pt x="63008" y="111014"/>
                    <a:pt x="72438" y="107585"/>
                    <a:pt x="79296" y="99870"/>
                  </a:cubicBezTo>
                  <a:cubicBezTo>
                    <a:pt x="86154" y="92154"/>
                    <a:pt x="90440" y="81868"/>
                    <a:pt x="90440" y="69009"/>
                  </a:cubicBezTo>
                  <a:cubicBezTo>
                    <a:pt x="90440" y="57007"/>
                    <a:pt x="87011" y="46720"/>
                    <a:pt x="80153" y="39862"/>
                  </a:cubicBezTo>
                  <a:cubicBezTo>
                    <a:pt x="73295" y="33004"/>
                    <a:pt x="63008" y="29575"/>
                    <a:pt x="50149" y="29575"/>
                  </a:cubicBezTo>
                  <a:lnTo>
                    <a:pt x="35576" y="29575"/>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97" name="任意多边形: 形状 96">
              <a:extLst>
                <a:ext uri="{FF2B5EF4-FFF2-40B4-BE49-F238E27FC236}">
                  <a16:creationId xmlns:a16="http://schemas.microsoft.com/office/drawing/2014/main" id="{9649CC22-97B6-426C-8E42-1F402BD160B6}"/>
                </a:ext>
              </a:extLst>
            </p:cNvPr>
            <p:cNvSpPr/>
            <p:nvPr/>
          </p:nvSpPr>
          <p:spPr>
            <a:xfrm>
              <a:off x="10542234" y="4114854"/>
              <a:ext cx="107026" cy="131724"/>
            </a:xfrm>
            <a:custGeom>
              <a:avLst/>
              <a:gdLst>
                <a:gd name="connsiteX0" fmla="*/ 112729 w 111442"/>
                <a:gd name="connsiteY0" fmla="*/ 79296 h 137160"/>
                <a:gd name="connsiteX1" fmla="*/ 58722 w 111442"/>
                <a:gd name="connsiteY1" fmla="*/ 137589 h 137160"/>
                <a:gd name="connsiteX2" fmla="*/ 6429 w 111442"/>
                <a:gd name="connsiteY2" fmla="*/ 81010 h 137160"/>
                <a:gd name="connsiteX3" fmla="*/ 6429 w 111442"/>
                <a:gd name="connsiteY3" fmla="*/ 6429 h 137160"/>
                <a:gd name="connsiteX4" fmla="*/ 35576 w 111442"/>
                <a:gd name="connsiteY4" fmla="*/ 6429 h 137160"/>
                <a:gd name="connsiteX5" fmla="*/ 35576 w 111442"/>
                <a:gd name="connsiteY5" fmla="*/ 81010 h 137160"/>
                <a:gd name="connsiteX6" fmla="*/ 59579 w 111442"/>
                <a:gd name="connsiteY6" fmla="*/ 111871 h 137160"/>
                <a:gd name="connsiteX7" fmla="*/ 83582 w 111442"/>
                <a:gd name="connsiteY7" fmla="*/ 81868 h 137160"/>
                <a:gd name="connsiteX8" fmla="*/ 83582 w 111442"/>
                <a:gd name="connsiteY8" fmla="*/ 6429 h 137160"/>
                <a:gd name="connsiteX9" fmla="*/ 112729 w 111442"/>
                <a:gd name="connsiteY9" fmla="*/ 6429 h 137160"/>
                <a:gd name="connsiteX10" fmla="*/ 112729 w 111442"/>
                <a:gd name="connsiteY10" fmla="*/ 79296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442" h="137160">
                  <a:moveTo>
                    <a:pt x="112729" y="79296"/>
                  </a:moveTo>
                  <a:cubicBezTo>
                    <a:pt x="112729" y="117872"/>
                    <a:pt x="94726" y="137589"/>
                    <a:pt x="58722" y="137589"/>
                  </a:cubicBezTo>
                  <a:cubicBezTo>
                    <a:pt x="23574" y="137589"/>
                    <a:pt x="6429" y="118729"/>
                    <a:pt x="6429" y="81010"/>
                  </a:cubicBezTo>
                  <a:lnTo>
                    <a:pt x="6429" y="6429"/>
                  </a:lnTo>
                  <a:lnTo>
                    <a:pt x="35576" y="6429"/>
                  </a:lnTo>
                  <a:lnTo>
                    <a:pt x="35576" y="81010"/>
                  </a:lnTo>
                  <a:cubicBezTo>
                    <a:pt x="35576" y="101584"/>
                    <a:pt x="43291" y="111871"/>
                    <a:pt x="59579" y="111871"/>
                  </a:cubicBezTo>
                  <a:cubicBezTo>
                    <a:pt x="75867" y="111871"/>
                    <a:pt x="83582" y="101584"/>
                    <a:pt x="83582" y="81868"/>
                  </a:cubicBezTo>
                  <a:lnTo>
                    <a:pt x="83582" y="6429"/>
                  </a:lnTo>
                  <a:lnTo>
                    <a:pt x="112729" y="6429"/>
                  </a:lnTo>
                  <a:lnTo>
                    <a:pt x="112729" y="79296"/>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98" name="任意多边形: 形状 97">
              <a:extLst>
                <a:ext uri="{FF2B5EF4-FFF2-40B4-BE49-F238E27FC236}">
                  <a16:creationId xmlns:a16="http://schemas.microsoft.com/office/drawing/2014/main" id="{FCFF1FE8-34AE-4706-A82C-D6D31A795DB8}"/>
                </a:ext>
              </a:extLst>
            </p:cNvPr>
            <p:cNvSpPr/>
            <p:nvPr/>
          </p:nvSpPr>
          <p:spPr>
            <a:xfrm>
              <a:off x="10664078" y="4113207"/>
              <a:ext cx="107026" cy="131724"/>
            </a:xfrm>
            <a:custGeom>
              <a:avLst/>
              <a:gdLst>
                <a:gd name="connsiteX0" fmla="*/ 106728 w 111442"/>
                <a:gd name="connsiteY0" fmla="*/ 131588 h 137160"/>
                <a:gd name="connsiteX1" fmla="*/ 69866 w 111442"/>
                <a:gd name="connsiteY1" fmla="*/ 138446 h 137160"/>
                <a:gd name="connsiteX2" fmla="*/ 23574 w 111442"/>
                <a:gd name="connsiteY2" fmla="*/ 121301 h 137160"/>
                <a:gd name="connsiteX3" fmla="*/ 6429 w 111442"/>
                <a:gd name="connsiteY3" fmla="*/ 75009 h 137160"/>
                <a:gd name="connsiteX4" fmla="*/ 25289 w 111442"/>
                <a:gd name="connsiteY4" fmla="*/ 25289 h 137160"/>
                <a:gd name="connsiteX5" fmla="*/ 75009 w 111442"/>
                <a:gd name="connsiteY5" fmla="*/ 6429 h 137160"/>
                <a:gd name="connsiteX6" fmla="*/ 106728 w 111442"/>
                <a:gd name="connsiteY6" fmla="*/ 11573 h 137160"/>
                <a:gd name="connsiteX7" fmla="*/ 106728 w 111442"/>
                <a:gd name="connsiteY7" fmla="*/ 39862 h 137160"/>
                <a:gd name="connsiteX8" fmla="*/ 77582 w 111442"/>
                <a:gd name="connsiteY8" fmla="*/ 32147 h 137160"/>
                <a:gd name="connsiteX9" fmla="*/ 48435 w 111442"/>
                <a:gd name="connsiteY9" fmla="*/ 43291 h 137160"/>
                <a:gd name="connsiteX10" fmla="*/ 37291 w 111442"/>
                <a:gd name="connsiteY10" fmla="*/ 74152 h 137160"/>
                <a:gd name="connsiteX11" fmla="*/ 47578 w 111442"/>
                <a:gd name="connsiteY11" fmla="*/ 104156 h 137160"/>
                <a:gd name="connsiteX12" fmla="*/ 75867 w 111442"/>
                <a:gd name="connsiteY12" fmla="*/ 115300 h 137160"/>
                <a:gd name="connsiteX13" fmla="*/ 106728 w 111442"/>
                <a:gd name="connsiteY13" fmla="*/ 106727 h 137160"/>
                <a:gd name="connsiteX14" fmla="*/ 106728 w 111442"/>
                <a:gd name="connsiteY14" fmla="*/ 131588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442" h="137160">
                  <a:moveTo>
                    <a:pt x="106728" y="131588"/>
                  </a:moveTo>
                  <a:cubicBezTo>
                    <a:pt x="97298" y="135874"/>
                    <a:pt x="85296" y="138446"/>
                    <a:pt x="69866" y="138446"/>
                  </a:cubicBezTo>
                  <a:cubicBezTo>
                    <a:pt x="50149" y="138446"/>
                    <a:pt x="34719" y="132445"/>
                    <a:pt x="23574" y="121301"/>
                  </a:cubicBezTo>
                  <a:cubicBezTo>
                    <a:pt x="12430" y="109299"/>
                    <a:pt x="6429" y="93869"/>
                    <a:pt x="6429" y="75009"/>
                  </a:cubicBezTo>
                  <a:cubicBezTo>
                    <a:pt x="6429" y="54435"/>
                    <a:pt x="12430" y="38147"/>
                    <a:pt x="25289" y="25289"/>
                  </a:cubicBezTo>
                  <a:cubicBezTo>
                    <a:pt x="38148" y="12430"/>
                    <a:pt x="54436" y="6429"/>
                    <a:pt x="75009" y="6429"/>
                  </a:cubicBezTo>
                  <a:cubicBezTo>
                    <a:pt x="87868" y="6429"/>
                    <a:pt x="98155" y="8144"/>
                    <a:pt x="106728" y="11573"/>
                  </a:cubicBezTo>
                  <a:lnTo>
                    <a:pt x="106728" y="39862"/>
                  </a:lnTo>
                  <a:cubicBezTo>
                    <a:pt x="98155" y="34719"/>
                    <a:pt x="87868" y="32147"/>
                    <a:pt x="77582" y="32147"/>
                  </a:cubicBezTo>
                  <a:cubicBezTo>
                    <a:pt x="65580" y="32147"/>
                    <a:pt x="56150" y="35576"/>
                    <a:pt x="48435" y="43291"/>
                  </a:cubicBezTo>
                  <a:cubicBezTo>
                    <a:pt x="40719" y="51006"/>
                    <a:pt x="37291" y="61293"/>
                    <a:pt x="37291" y="74152"/>
                  </a:cubicBezTo>
                  <a:cubicBezTo>
                    <a:pt x="37291" y="87011"/>
                    <a:pt x="40719" y="96441"/>
                    <a:pt x="47578" y="104156"/>
                  </a:cubicBezTo>
                  <a:cubicBezTo>
                    <a:pt x="54436" y="111871"/>
                    <a:pt x="63865" y="115300"/>
                    <a:pt x="75867" y="115300"/>
                  </a:cubicBezTo>
                  <a:cubicBezTo>
                    <a:pt x="87011" y="115300"/>
                    <a:pt x="97298" y="112728"/>
                    <a:pt x="106728" y="106727"/>
                  </a:cubicBezTo>
                  <a:lnTo>
                    <a:pt x="106728" y="131588"/>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99" name="任意多边形: 形状 98">
              <a:extLst>
                <a:ext uri="{FF2B5EF4-FFF2-40B4-BE49-F238E27FC236}">
                  <a16:creationId xmlns:a16="http://schemas.microsoft.com/office/drawing/2014/main" id="{2ED94046-0116-413B-B14E-D6695C46813A}"/>
                </a:ext>
              </a:extLst>
            </p:cNvPr>
            <p:cNvSpPr/>
            <p:nvPr/>
          </p:nvSpPr>
          <p:spPr>
            <a:xfrm>
              <a:off x="10767811" y="4114854"/>
              <a:ext cx="131724" cy="131724"/>
            </a:xfrm>
            <a:custGeom>
              <a:avLst/>
              <a:gdLst>
                <a:gd name="connsiteX0" fmla="*/ 134159 w 137160"/>
                <a:gd name="connsiteY0" fmla="*/ 135017 h 137160"/>
                <a:gd name="connsiteX1" fmla="*/ 102441 w 137160"/>
                <a:gd name="connsiteY1" fmla="*/ 135017 h 137160"/>
                <a:gd name="connsiteX2" fmla="*/ 93011 w 137160"/>
                <a:gd name="connsiteY2" fmla="*/ 106728 h 137160"/>
                <a:gd name="connsiteX3" fmla="*/ 47577 w 137160"/>
                <a:gd name="connsiteY3" fmla="*/ 106728 h 137160"/>
                <a:gd name="connsiteX4" fmla="*/ 38148 w 137160"/>
                <a:gd name="connsiteY4" fmla="*/ 135017 h 137160"/>
                <a:gd name="connsiteX5" fmla="*/ 6429 w 137160"/>
                <a:gd name="connsiteY5" fmla="*/ 135017 h 137160"/>
                <a:gd name="connsiteX6" fmla="*/ 53578 w 137160"/>
                <a:gd name="connsiteY6" fmla="*/ 6429 h 137160"/>
                <a:gd name="connsiteX7" fmla="*/ 87868 w 137160"/>
                <a:gd name="connsiteY7" fmla="*/ 6429 h 137160"/>
                <a:gd name="connsiteX8" fmla="*/ 134159 w 137160"/>
                <a:gd name="connsiteY8" fmla="*/ 135017 h 137160"/>
                <a:gd name="connsiteX9" fmla="*/ 86154 w 137160"/>
                <a:gd name="connsiteY9" fmla="*/ 83582 h 137160"/>
                <a:gd name="connsiteX10" fmla="*/ 72438 w 137160"/>
                <a:gd name="connsiteY10" fmla="*/ 40719 h 137160"/>
                <a:gd name="connsiteX11" fmla="*/ 69866 w 137160"/>
                <a:gd name="connsiteY11" fmla="*/ 28718 h 137160"/>
                <a:gd name="connsiteX12" fmla="*/ 69009 w 137160"/>
                <a:gd name="connsiteY12" fmla="*/ 28718 h 137160"/>
                <a:gd name="connsiteX13" fmla="*/ 66437 w 137160"/>
                <a:gd name="connsiteY13" fmla="*/ 39862 h 137160"/>
                <a:gd name="connsiteX14" fmla="*/ 52721 w 137160"/>
                <a:gd name="connsiteY14" fmla="*/ 83582 h 137160"/>
                <a:gd name="connsiteX15" fmla="*/ 86154 w 137160"/>
                <a:gd name="connsiteY15" fmla="*/ 83582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7160" h="137160">
                  <a:moveTo>
                    <a:pt x="134159" y="135017"/>
                  </a:moveTo>
                  <a:lnTo>
                    <a:pt x="102441" y="135017"/>
                  </a:lnTo>
                  <a:lnTo>
                    <a:pt x="93011" y="106728"/>
                  </a:lnTo>
                  <a:lnTo>
                    <a:pt x="47577" y="106728"/>
                  </a:lnTo>
                  <a:lnTo>
                    <a:pt x="38148" y="135017"/>
                  </a:lnTo>
                  <a:lnTo>
                    <a:pt x="6429" y="135017"/>
                  </a:lnTo>
                  <a:lnTo>
                    <a:pt x="53578" y="6429"/>
                  </a:lnTo>
                  <a:lnTo>
                    <a:pt x="87868" y="6429"/>
                  </a:lnTo>
                  <a:lnTo>
                    <a:pt x="134159" y="135017"/>
                  </a:lnTo>
                  <a:close/>
                  <a:moveTo>
                    <a:pt x="86154" y="83582"/>
                  </a:moveTo>
                  <a:lnTo>
                    <a:pt x="72438" y="40719"/>
                  </a:lnTo>
                  <a:cubicBezTo>
                    <a:pt x="71580" y="37290"/>
                    <a:pt x="70723" y="33861"/>
                    <a:pt x="69866" y="28718"/>
                  </a:cubicBezTo>
                  <a:lnTo>
                    <a:pt x="69009" y="28718"/>
                  </a:lnTo>
                  <a:cubicBezTo>
                    <a:pt x="69009" y="32147"/>
                    <a:pt x="68151" y="36433"/>
                    <a:pt x="66437" y="39862"/>
                  </a:cubicBezTo>
                  <a:lnTo>
                    <a:pt x="52721" y="83582"/>
                  </a:lnTo>
                  <a:lnTo>
                    <a:pt x="86154" y="83582"/>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00" name="任意多边形: 形状 99">
              <a:extLst>
                <a:ext uri="{FF2B5EF4-FFF2-40B4-BE49-F238E27FC236}">
                  <a16:creationId xmlns:a16="http://schemas.microsoft.com/office/drawing/2014/main" id="{42B3AB84-8A16-4369-B33D-1C6133E00BFF}"/>
                </a:ext>
              </a:extLst>
            </p:cNvPr>
            <p:cNvSpPr/>
            <p:nvPr/>
          </p:nvSpPr>
          <p:spPr>
            <a:xfrm>
              <a:off x="10893772" y="4114030"/>
              <a:ext cx="107026" cy="131724"/>
            </a:xfrm>
            <a:custGeom>
              <a:avLst/>
              <a:gdLst>
                <a:gd name="connsiteX0" fmla="*/ 109299 w 111442"/>
                <a:gd name="connsiteY0" fmla="*/ 30432 h 137160"/>
                <a:gd name="connsiteX1" fmla="*/ 72438 w 111442"/>
                <a:gd name="connsiteY1" fmla="*/ 30432 h 137160"/>
                <a:gd name="connsiteX2" fmla="*/ 72438 w 111442"/>
                <a:gd name="connsiteY2" fmla="*/ 135874 h 137160"/>
                <a:gd name="connsiteX3" fmla="*/ 43291 w 111442"/>
                <a:gd name="connsiteY3" fmla="*/ 135874 h 137160"/>
                <a:gd name="connsiteX4" fmla="*/ 43291 w 111442"/>
                <a:gd name="connsiteY4" fmla="*/ 30432 h 137160"/>
                <a:gd name="connsiteX5" fmla="*/ 6429 w 111442"/>
                <a:gd name="connsiteY5" fmla="*/ 30432 h 137160"/>
                <a:gd name="connsiteX6" fmla="*/ 6429 w 111442"/>
                <a:gd name="connsiteY6" fmla="*/ 6429 h 137160"/>
                <a:gd name="connsiteX7" fmla="*/ 108442 w 111442"/>
                <a:gd name="connsiteY7" fmla="*/ 6429 h 137160"/>
                <a:gd name="connsiteX8" fmla="*/ 108442 w 111442"/>
                <a:gd name="connsiteY8" fmla="*/ 30432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442" h="137160">
                  <a:moveTo>
                    <a:pt x="109299" y="30432"/>
                  </a:moveTo>
                  <a:lnTo>
                    <a:pt x="72438" y="30432"/>
                  </a:lnTo>
                  <a:lnTo>
                    <a:pt x="72438" y="135874"/>
                  </a:lnTo>
                  <a:lnTo>
                    <a:pt x="43291" y="135874"/>
                  </a:lnTo>
                  <a:lnTo>
                    <a:pt x="43291" y="30432"/>
                  </a:lnTo>
                  <a:lnTo>
                    <a:pt x="6429" y="30432"/>
                  </a:lnTo>
                  <a:lnTo>
                    <a:pt x="6429" y="6429"/>
                  </a:lnTo>
                  <a:lnTo>
                    <a:pt x="108442" y="6429"/>
                  </a:lnTo>
                  <a:lnTo>
                    <a:pt x="108442" y="30432"/>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01" name="任意多边形: 形状 100">
              <a:extLst>
                <a:ext uri="{FF2B5EF4-FFF2-40B4-BE49-F238E27FC236}">
                  <a16:creationId xmlns:a16="http://schemas.microsoft.com/office/drawing/2014/main" id="{993B07A8-782C-4FCB-8B7D-9C1B4A95D0C3}"/>
                </a:ext>
              </a:extLst>
            </p:cNvPr>
            <p:cNvSpPr/>
            <p:nvPr/>
          </p:nvSpPr>
          <p:spPr>
            <a:xfrm>
              <a:off x="10998328" y="4114030"/>
              <a:ext cx="57630" cy="131724"/>
            </a:xfrm>
            <a:custGeom>
              <a:avLst/>
              <a:gdLst>
                <a:gd name="connsiteX0" fmla="*/ 57007 w 60007"/>
                <a:gd name="connsiteY0" fmla="*/ 6429 h 137160"/>
                <a:gd name="connsiteX1" fmla="*/ 57007 w 60007"/>
                <a:gd name="connsiteY1" fmla="*/ 28718 h 137160"/>
                <a:gd name="connsiteX2" fmla="*/ 45863 w 60007"/>
                <a:gd name="connsiteY2" fmla="*/ 28718 h 137160"/>
                <a:gd name="connsiteX3" fmla="*/ 45863 w 60007"/>
                <a:gd name="connsiteY3" fmla="*/ 112728 h 137160"/>
                <a:gd name="connsiteX4" fmla="*/ 57007 w 60007"/>
                <a:gd name="connsiteY4" fmla="*/ 112728 h 137160"/>
                <a:gd name="connsiteX5" fmla="*/ 57007 w 60007"/>
                <a:gd name="connsiteY5" fmla="*/ 135017 h 137160"/>
                <a:gd name="connsiteX6" fmla="*/ 6429 w 60007"/>
                <a:gd name="connsiteY6" fmla="*/ 135017 h 137160"/>
                <a:gd name="connsiteX7" fmla="*/ 6429 w 60007"/>
                <a:gd name="connsiteY7" fmla="*/ 112728 h 137160"/>
                <a:gd name="connsiteX8" fmla="*/ 17574 w 60007"/>
                <a:gd name="connsiteY8" fmla="*/ 112728 h 137160"/>
                <a:gd name="connsiteX9" fmla="*/ 17574 w 60007"/>
                <a:gd name="connsiteY9" fmla="*/ 28718 h 137160"/>
                <a:gd name="connsiteX10" fmla="*/ 6429 w 60007"/>
                <a:gd name="connsiteY10" fmla="*/ 28718 h 137160"/>
                <a:gd name="connsiteX11" fmla="*/ 6429 w 60007"/>
                <a:gd name="connsiteY11" fmla="*/ 6429 h 137160"/>
                <a:gd name="connsiteX12" fmla="*/ 57007 w 60007"/>
                <a:gd name="connsiteY12" fmla="*/ 6429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007" h="137160">
                  <a:moveTo>
                    <a:pt x="57007" y="6429"/>
                  </a:moveTo>
                  <a:lnTo>
                    <a:pt x="57007" y="28718"/>
                  </a:lnTo>
                  <a:lnTo>
                    <a:pt x="45863" y="28718"/>
                  </a:lnTo>
                  <a:lnTo>
                    <a:pt x="45863" y="112728"/>
                  </a:lnTo>
                  <a:lnTo>
                    <a:pt x="57007" y="112728"/>
                  </a:lnTo>
                  <a:lnTo>
                    <a:pt x="57007" y="135017"/>
                  </a:lnTo>
                  <a:lnTo>
                    <a:pt x="6429" y="135017"/>
                  </a:lnTo>
                  <a:lnTo>
                    <a:pt x="6429" y="112728"/>
                  </a:lnTo>
                  <a:lnTo>
                    <a:pt x="17574" y="112728"/>
                  </a:lnTo>
                  <a:lnTo>
                    <a:pt x="17574" y="28718"/>
                  </a:lnTo>
                  <a:lnTo>
                    <a:pt x="6429" y="28718"/>
                  </a:lnTo>
                  <a:lnTo>
                    <a:pt x="6429" y="6429"/>
                  </a:lnTo>
                  <a:lnTo>
                    <a:pt x="57007" y="6429"/>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02" name="任意多边形: 形状 101">
              <a:extLst>
                <a:ext uri="{FF2B5EF4-FFF2-40B4-BE49-F238E27FC236}">
                  <a16:creationId xmlns:a16="http://schemas.microsoft.com/office/drawing/2014/main" id="{D814B04B-E6FB-4315-9847-21D91BF698BD}"/>
                </a:ext>
              </a:extLst>
            </p:cNvPr>
            <p:cNvSpPr/>
            <p:nvPr/>
          </p:nvSpPr>
          <p:spPr>
            <a:xfrm>
              <a:off x="11056780" y="4111561"/>
              <a:ext cx="131724" cy="139957"/>
            </a:xfrm>
            <a:custGeom>
              <a:avLst/>
              <a:gdLst>
                <a:gd name="connsiteX0" fmla="*/ 69009 w 137160"/>
                <a:gd name="connsiteY0" fmla="*/ 140160 h 145732"/>
                <a:gd name="connsiteX1" fmla="*/ 23574 w 137160"/>
                <a:gd name="connsiteY1" fmla="*/ 122158 h 145732"/>
                <a:gd name="connsiteX2" fmla="*/ 6429 w 137160"/>
                <a:gd name="connsiteY2" fmla="*/ 75009 h 145732"/>
                <a:gd name="connsiteX3" fmla="*/ 24432 w 137160"/>
                <a:gd name="connsiteY3" fmla="*/ 25289 h 145732"/>
                <a:gd name="connsiteX4" fmla="*/ 71581 w 137160"/>
                <a:gd name="connsiteY4" fmla="*/ 6429 h 145732"/>
                <a:gd name="connsiteX5" fmla="*/ 116157 w 137160"/>
                <a:gd name="connsiteY5" fmla="*/ 24432 h 145732"/>
                <a:gd name="connsiteX6" fmla="*/ 133302 w 137160"/>
                <a:gd name="connsiteY6" fmla="*/ 71580 h 145732"/>
                <a:gd name="connsiteX7" fmla="*/ 115300 w 137160"/>
                <a:gd name="connsiteY7" fmla="*/ 120444 h 145732"/>
                <a:gd name="connsiteX8" fmla="*/ 69009 w 137160"/>
                <a:gd name="connsiteY8" fmla="*/ 140160 h 145732"/>
                <a:gd name="connsiteX9" fmla="*/ 70723 w 137160"/>
                <a:gd name="connsiteY9" fmla="*/ 32147 h 145732"/>
                <a:gd name="connsiteX10" fmla="*/ 46720 w 137160"/>
                <a:gd name="connsiteY10" fmla="*/ 43291 h 145732"/>
                <a:gd name="connsiteX11" fmla="*/ 38148 w 137160"/>
                <a:gd name="connsiteY11" fmla="*/ 73295 h 145732"/>
                <a:gd name="connsiteX12" fmla="*/ 46720 w 137160"/>
                <a:gd name="connsiteY12" fmla="*/ 103299 h 145732"/>
                <a:gd name="connsiteX13" fmla="*/ 69866 w 137160"/>
                <a:gd name="connsiteY13" fmla="*/ 114443 h 145732"/>
                <a:gd name="connsiteX14" fmla="*/ 93869 w 137160"/>
                <a:gd name="connsiteY14" fmla="*/ 103299 h 145732"/>
                <a:gd name="connsiteX15" fmla="*/ 102441 w 137160"/>
                <a:gd name="connsiteY15" fmla="*/ 73295 h 145732"/>
                <a:gd name="connsiteX16" fmla="*/ 93869 w 137160"/>
                <a:gd name="connsiteY16" fmla="*/ 42434 h 145732"/>
                <a:gd name="connsiteX17" fmla="*/ 70723 w 137160"/>
                <a:gd name="connsiteY17" fmla="*/ 32147 h 14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0" h="145732">
                  <a:moveTo>
                    <a:pt x="69009" y="140160"/>
                  </a:moveTo>
                  <a:cubicBezTo>
                    <a:pt x="51006" y="140160"/>
                    <a:pt x="35576" y="134160"/>
                    <a:pt x="23574" y="122158"/>
                  </a:cubicBezTo>
                  <a:cubicBezTo>
                    <a:pt x="11573" y="110157"/>
                    <a:pt x="6429" y="94726"/>
                    <a:pt x="6429" y="75009"/>
                  </a:cubicBezTo>
                  <a:cubicBezTo>
                    <a:pt x="6429" y="54435"/>
                    <a:pt x="12430" y="38148"/>
                    <a:pt x="24432" y="25289"/>
                  </a:cubicBezTo>
                  <a:cubicBezTo>
                    <a:pt x="36433" y="12430"/>
                    <a:pt x="51864" y="6429"/>
                    <a:pt x="71581" y="6429"/>
                  </a:cubicBezTo>
                  <a:cubicBezTo>
                    <a:pt x="89583" y="6429"/>
                    <a:pt x="105013" y="12430"/>
                    <a:pt x="116157" y="24432"/>
                  </a:cubicBezTo>
                  <a:cubicBezTo>
                    <a:pt x="127302" y="36433"/>
                    <a:pt x="133302" y="52721"/>
                    <a:pt x="133302" y="71580"/>
                  </a:cubicBezTo>
                  <a:cubicBezTo>
                    <a:pt x="133302" y="92154"/>
                    <a:pt x="127302" y="108442"/>
                    <a:pt x="115300" y="120444"/>
                  </a:cubicBezTo>
                  <a:cubicBezTo>
                    <a:pt x="103299" y="134160"/>
                    <a:pt x="87868" y="140160"/>
                    <a:pt x="69009" y="140160"/>
                  </a:cubicBezTo>
                  <a:close/>
                  <a:moveTo>
                    <a:pt x="70723" y="32147"/>
                  </a:moveTo>
                  <a:cubicBezTo>
                    <a:pt x="60436" y="32147"/>
                    <a:pt x="52721" y="35576"/>
                    <a:pt x="46720" y="43291"/>
                  </a:cubicBezTo>
                  <a:cubicBezTo>
                    <a:pt x="40719" y="51006"/>
                    <a:pt x="38148" y="61293"/>
                    <a:pt x="38148" y="73295"/>
                  </a:cubicBezTo>
                  <a:cubicBezTo>
                    <a:pt x="38148" y="86154"/>
                    <a:pt x="40719" y="96441"/>
                    <a:pt x="46720" y="103299"/>
                  </a:cubicBezTo>
                  <a:cubicBezTo>
                    <a:pt x="52721" y="111014"/>
                    <a:pt x="60436" y="114443"/>
                    <a:pt x="69866" y="114443"/>
                  </a:cubicBezTo>
                  <a:cubicBezTo>
                    <a:pt x="80153" y="114443"/>
                    <a:pt x="87868" y="111014"/>
                    <a:pt x="93869" y="103299"/>
                  </a:cubicBezTo>
                  <a:cubicBezTo>
                    <a:pt x="99870" y="96441"/>
                    <a:pt x="102441" y="86154"/>
                    <a:pt x="102441" y="73295"/>
                  </a:cubicBezTo>
                  <a:cubicBezTo>
                    <a:pt x="102441" y="59579"/>
                    <a:pt x="99870" y="49292"/>
                    <a:pt x="93869" y="42434"/>
                  </a:cubicBezTo>
                  <a:cubicBezTo>
                    <a:pt x="87868" y="35576"/>
                    <a:pt x="80153" y="32147"/>
                    <a:pt x="70723" y="32147"/>
                  </a:cubicBez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03" name="任意多边形: 形状 102">
              <a:extLst>
                <a:ext uri="{FF2B5EF4-FFF2-40B4-BE49-F238E27FC236}">
                  <a16:creationId xmlns:a16="http://schemas.microsoft.com/office/drawing/2014/main" id="{A597A370-CE7B-491E-ADA4-8FAC9D896790}"/>
                </a:ext>
              </a:extLst>
            </p:cNvPr>
            <p:cNvSpPr/>
            <p:nvPr/>
          </p:nvSpPr>
          <p:spPr>
            <a:xfrm>
              <a:off x="11198383" y="4114030"/>
              <a:ext cx="123491" cy="131724"/>
            </a:xfrm>
            <a:custGeom>
              <a:avLst/>
              <a:gdLst>
                <a:gd name="connsiteX0" fmla="*/ 122158 w 128587"/>
                <a:gd name="connsiteY0" fmla="*/ 135874 h 137160"/>
                <a:gd name="connsiteX1" fmla="*/ 93011 w 128587"/>
                <a:gd name="connsiteY1" fmla="*/ 135874 h 137160"/>
                <a:gd name="connsiteX2" fmla="*/ 39862 w 128587"/>
                <a:gd name="connsiteY2" fmla="*/ 55292 h 137160"/>
                <a:gd name="connsiteX3" fmla="*/ 33004 w 128587"/>
                <a:gd name="connsiteY3" fmla="*/ 45006 h 137160"/>
                <a:gd name="connsiteX4" fmla="*/ 33004 w 128587"/>
                <a:gd name="connsiteY4" fmla="*/ 45006 h 137160"/>
                <a:gd name="connsiteX5" fmla="*/ 33861 w 128587"/>
                <a:gd name="connsiteY5" fmla="*/ 65580 h 137160"/>
                <a:gd name="connsiteX6" fmla="*/ 33861 w 128587"/>
                <a:gd name="connsiteY6" fmla="*/ 135874 h 137160"/>
                <a:gd name="connsiteX7" fmla="*/ 6429 w 128587"/>
                <a:gd name="connsiteY7" fmla="*/ 135874 h 137160"/>
                <a:gd name="connsiteX8" fmla="*/ 6429 w 128587"/>
                <a:gd name="connsiteY8" fmla="*/ 7286 h 137160"/>
                <a:gd name="connsiteX9" fmla="*/ 37290 w 128587"/>
                <a:gd name="connsiteY9" fmla="*/ 7286 h 137160"/>
                <a:gd name="connsiteX10" fmla="*/ 88725 w 128587"/>
                <a:gd name="connsiteY10" fmla="*/ 85296 h 137160"/>
                <a:gd name="connsiteX11" fmla="*/ 95584 w 128587"/>
                <a:gd name="connsiteY11" fmla="*/ 95583 h 137160"/>
                <a:gd name="connsiteX12" fmla="*/ 95584 w 128587"/>
                <a:gd name="connsiteY12" fmla="*/ 95583 h 137160"/>
                <a:gd name="connsiteX13" fmla="*/ 94726 w 128587"/>
                <a:gd name="connsiteY13" fmla="*/ 77581 h 137160"/>
                <a:gd name="connsiteX14" fmla="*/ 94726 w 128587"/>
                <a:gd name="connsiteY14" fmla="*/ 6429 h 137160"/>
                <a:gd name="connsiteX15" fmla="*/ 122158 w 128587"/>
                <a:gd name="connsiteY15" fmla="*/ 6429 h 137160"/>
                <a:gd name="connsiteX16" fmla="*/ 122158 w 128587"/>
                <a:gd name="connsiteY16" fmla="*/ 135874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587" h="137160">
                  <a:moveTo>
                    <a:pt x="122158" y="135874"/>
                  </a:moveTo>
                  <a:lnTo>
                    <a:pt x="93011" y="135874"/>
                  </a:lnTo>
                  <a:lnTo>
                    <a:pt x="39862" y="55292"/>
                  </a:lnTo>
                  <a:cubicBezTo>
                    <a:pt x="36433" y="51006"/>
                    <a:pt x="34719" y="46720"/>
                    <a:pt x="33004" y="45006"/>
                  </a:cubicBezTo>
                  <a:lnTo>
                    <a:pt x="33004" y="45006"/>
                  </a:lnTo>
                  <a:cubicBezTo>
                    <a:pt x="33861" y="49292"/>
                    <a:pt x="33861" y="56150"/>
                    <a:pt x="33861" y="65580"/>
                  </a:cubicBezTo>
                  <a:lnTo>
                    <a:pt x="33861" y="135874"/>
                  </a:lnTo>
                  <a:lnTo>
                    <a:pt x="6429" y="135874"/>
                  </a:lnTo>
                  <a:lnTo>
                    <a:pt x="6429" y="7286"/>
                  </a:lnTo>
                  <a:lnTo>
                    <a:pt x="37290" y="7286"/>
                  </a:lnTo>
                  <a:lnTo>
                    <a:pt x="88725" y="85296"/>
                  </a:lnTo>
                  <a:cubicBezTo>
                    <a:pt x="91297" y="88725"/>
                    <a:pt x="93011" y="92154"/>
                    <a:pt x="95584" y="95583"/>
                  </a:cubicBezTo>
                  <a:lnTo>
                    <a:pt x="95584" y="95583"/>
                  </a:lnTo>
                  <a:cubicBezTo>
                    <a:pt x="94726" y="93011"/>
                    <a:pt x="94726" y="87011"/>
                    <a:pt x="94726" y="77581"/>
                  </a:cubicBezTo>
                  <a:lnTo>
                    <a:pt x="94726" y="6429"/>
                  </a:lnTo>
                  <a:lnTo>
                    <a:pt x="122158" y="6429"/>
                  </a:lnTo>
                  <a:lnTo>
                    <a:pt x="122158" y="13587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04" name="任意多边形: 形状 103">
              <a:extLst>
                <a:ext uri="{FF2B5EF4-FFF2-40B4-BE49-F238E27FC236}">
                  <a16:creationId xmlns:a16="http://schemas.microsoft.com/office/drawing/2014/main" id="{FC42FFB9-874D-4B28-87A3-54BA4EEC4908}"/>
                </a:ext>
              </a:extLst>
            </p:cNvPr>
            <p:cNvSpPr/>
            <p:nvPr/>
          </p:nvSpPr>
          <p:spPr>
            <a:xfrm>
              <a:off x="10322420" y="4274569"/>
              <a:ext cx="16465" cy="82327"/>
            </a:xfrm>
            <a:custGeom>
              <a:avLst/>
              <a:gdLst>
                <a:gd name="connsiteX0" fmla="*/ 11573 w 17145"/>
                <a:gd name="connsiteY0" fmla="*/ 18431 h 85725"/>
                <a:gd name="connsiteX1" fmla="*/ 8144 w 17145"/>
                <a:gd name="connsiteY1" fmla="*/ 16716 h 85725"/>
                <a:gd name="connsiteX2" fmla="*/ 6429 w 17145"/>
                <a:gd name="connsiteY2" fmla="*/ 12430 h 85725"/>
                <a:gd name="connsiteX3" fmla="*/ 8144 w 17145"/>
                <a:gd name="connsiteY3" fmla="*/ 8144 h 85725"/>
                <a:gd name="connsiteX4" fmla="*/ 11573 w 17145"/>
                <a:gd name="connsiteY4" fmla="*/ 6429 h 85725"/>
                <a:gd name="connsiteX5" fmla="*/ 15859 w 17145"/>
                <a:gd name="connsiteY5" fmla="*/ 8144 h 85725"/>
                <a:gd name="connsiteX6" fmla="*/ 17574 w 17145"/>
                <a:gd name="connsiteY6" fmla="*/ 12430 h 85725"/>
                <a:gd name="connsiteX7" fmla="*/ 15859 w 17145"/>
                <a:gd name="connsiteY7" fmla="*/ 15859 h 85725"/>
                <a:gd name="connsiteX8" fmla="*/ 11573 w 17145"/>
                <a:gd name="connsiteY8" fmla="*/ 18431 h 85725"/>
                <a:gd name="connsiteX9" fmla="*/ 15859 w 17145"/>
                <a:gd name="connsiteY9" fmla="*/ 84439 h 85725"/>
                <a:gd name="connsiteX10" fmla="*/ 7287 w 17145"/>
                <a:gd name="connsiteY10" fmla="*/ 84439 h 85725"/>
                <a:gd name="connsiteX11" fmla="*/ 7287 w 17145"/>
                <a:gd name="connsiteY11" fmla="*/ 32147 h 85725"/>
                <a:gd name="connsiteX12" fmla="*/ 15859 w 17145"/>
                <a:gd name="connsiteY12" fmla="*/ 32147 h 85725"/>
                <a:gd name="connsiteX13" fmla="*/ 15859 w 17145"/>
                <a:gd name="connsiteY13" fmla="*/ 8443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45" h="85725">
                  <a:moveTo>
                    <a:pt x="11573" y="18431"/>
                  </a:moveTo>
                  <a:cubicBezTo>
                    <a:pt x="9859" y="18431"/>
                    <a:pt x="9002" y="17574"/>
                    <a:pt x="8144" y="16716"/>
                  </a:cubicBezTo>
                  <a:cubicBezTo>
                    <a:pt x="7287" y="15859"/>
                    <a:pt x="6429" y="14145"/>
                    <a:pt x="6429" y="12430"/>
                  </a:cubicBezTo>
                  <a:cubicBezTo>
                    <a:pt x="6429" y="10716"/>
                    <a:pt x="7287" y="9858"/>
                    <a:pt x="8144" y="8144"/>
                  </a:cubicBezTo>
                  <a:cubicBezTo>
                    <a:pt x="9002" y="7286"/>
                    <a:pt x="10716" y="6429"/>
                    <a:pt x="11573" y="6429"/>
                  </a:cubicBezTo>
                  <a:cubicBezTo>
                    <a:pt x="13288" y="6429"/>
                    <a:pt x="14145" y="7286"/>
                    <a:pt x="15859" y="8144"/>
                  </a:cubicBezTo>
                  <a:cubicBezTo>
                    <a:pt x="16716" y="9001"/>
                    <a:pt x="17574" y="10716"/>
                    <a:pt x="17574" y="12430"/>
                  </a:cubicBezTo>
                  <a:cubicBezTo>
                    <a:pt x="17574" y="14145"/>
                    <a:pt x="16716" y="15002"/>
                    <a:pt x="15859" y="15859"/>
                  </a:cubicBezTo>
                  <a:cubicBezTo>
                    <a:pt x="14145" y="17574"/>
                    <a:pt x="13288" y="18431"/>
                    <a:pt x="11573" y="18431"/>
                  </a:cubicBezTo>
                  <a:close/>
                  <a:moveTo>
                    <a:pt x="15859" y="84439"/>
                  </a:moveTo>
                  <a:lnTo>
                    <a:pt x="7287" y="84439"/>
                  </a:lnTo>
                  <a:lnTo>
                    <a:pt x="7287" y="32147"/>
                  </a:lnTo>
                  <a:lnTo>
                    <a:pt x="15859" y="32147"/>
                  </a:lnTo>
                  <a:lnTo>
                    <a:pt x="15859" y="84439"/>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05" name="任意多边形: 形状 104">
              <a:extLst>
                <a:ext uri="{FF2B5EF4-FFF2-40B4-BE49-F238E27FC236}">
                  <a16:creationId xmlns:a16="http://schemas.microsoft.com/office/drawing/2014/main" id="{F97AD0AF-713D-4BE5-B6D3-93EF02292869}"/>
                </a:ext>
              </a:extLst>
            </p:cNvPr>
            <p:cNvSpPr/>
            <p:nvPr/>
          </p:nvSpPr>
          <p:spPr>
            <a:xfrm>
              <a:off x="10348764" y="4279509"/>
              <a:ext cx="65862" cy="82327"/>
            </a:xfrm>
            <a:custGeom>
              <a:avLst/>
              <a:gdLst>
                <a:gd name="connsiteX0" fmla="*/ 65580 w 68580"/>
                <a:gd name="connsiteY0" fmla="*/ 79296 h 85725"/>
                <a:gd name="connsiteX1" fmla="*/ 55293 w 68580"/>
                <a:gd name="connsiteY1" fmla="*/ 79296 h 85725"/>
                <a:gd name="connsiteX2" fmla="*/ 17574 w 68580"/>
                <a:gd name="connsiteY2" fmla="*/ 21003 h 85725"/>
                <a:gd name="connsiteX3" fmla="*/ 15002 w 68580"/>
                <a:gd name="connsiteY3" fmla="*/ 16716 h 85725"/>
                <a:gd name="connsiteX4" fmla="*/ 15002 w 68580"/>
                <a:gd name="connsiteY4" fmla="*/ 16716 h 85725"/>
                <a:gd name="connsiteX5" fmla="*/ 15002 w 68580"/>
                <a:gd name="connsiteY5" fmla="*/ 27004 h 85725"/>
                <a:gd name="connsiteX6" fmla="*/ 15002 w 68580"/>
                <a:gd name="connsiteY6" fmla="*/ 80153 h 85725"/>
                <a:gd name="connsiteX7" fmla="*/ 6429 w 68580"/>
                <a:gd name="connsiteY7" fmla="*/ 80153 h 85725"/>
                <a:gd name="connsiteX8" fmla="*/ 6429 w 68580"/>
                <a:gd name="connsiteY8" fmla="*/ 6429 h 85725"/>
                <a:gd name="connsiteX9" fmla="*/ 17574 w 68580"/>
                <a:gd name="connsiteY9" fmla="*/ 6429 h 85725"/>
                <a:gd name="connsiteX10" fmla="*/ 54436 w 68580"/>
                <a:gd name="connsiteY10" fmla="*/ 63865 h 85725"/>
                <a:gd name="connsiteX11" fmla="*/ 57007 w 68580"/>
                <a:gd name="connsiteY11" fmla="*/ 69009 h 85725"/>
                <a:gd name="connsiteX12" fmla="*/ 57007 w 68580"/>
                <a:gd name="connsiteY12" fmla="*/ 69009 h 85725"/>
                <a:gd name="connsiteX13" fmla="*/ 56150 w 68580"/>
                <a:gd name="connsiteY13" fmla="*/ 57864 h 85725"/>
                <a:gd name="connsiteX14" fmla="*/ 56150 w 68580"/>
                <a:gd name="connsiteY14" fmla="*/ 6429 h 85725"/>
                <a:gd name="connsiteX15" fmla="*/ 64722 w 68580"/>
                <a:gd name="connsiteY15" fmla="*/ 6429 h 85725"/>
                <a:gd name="connsiteX16" fmla="*/ 64722 w 68580"/>
                <a:gd name="connsiteY16" fmla="*/ 7929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580" h="85725">
                  <a:moveTo>
                    <a:pt x="65580" y="79296"/>
                  </a:moveTo>
                  <a:lnTo>
                    <a:pt x="55293" y="79296"/>
                  </a:lnTo>
                  <a:lnTo>
                    <a:pt x="17574" y="21003"/>
                  </a:lnTo>
                  <a:cubicBezTo>
                    <a:pt x="16716" y="19288"/>
                    <a:pt x="15859" y="17574"/>
                    <a:pt x="15002" y="16716"/>
                  </a:cubicBezTo>
                  <a:lnTo>
                    <a:pt x="15002" y="16716"/>
                  </a:lnTo>
                  <a:cubicBezTo>
                    <a:pt x="15002" y="18431"/>
                    <a:pt x="15002" y="21860"/>
                    <a:pt x="15002" y="27004"/>
                  </a:cubicBezTo>
                  <a:lnTo>
                    <a:pt x="15002" y="80153"/>
                  </a:lnTo>
                  <a:lnTo>
                    <a:pt x="6429" y="80153"/>
                  </a:lnTo>
                  <a:lnTo>
                    <a:pt x="6429" y="6429"/>
                  </a:lnTo>
                  <a:lnTo>
                    <a:pt x="17574" y="6429"/>
                  </a:lnTo>
                  <a:lnTo>
                    <a:pt x="54436" y="63865"/>
                  </a:lnTo>
                  <a:cubicBezTo>
                    <a:pt x="56150" y="66437"/>
                    <a:pt x="57007" y="68151"/>
                    <a:pt x="57007" y="69009"/>
                  </a:cubicBezTo>
                  <a:lnTo>
                    <a:pt x="57007" y="69009"/>
                  </a:lnTo>
                  <a:cubicBezTo>
                    <a:pt x="57007" y="67294"/>
                    <a:pt x="56150" y="63008"/>
                    <a:pt x="56150" y="57864"/>
                  </a:cubicBezTo>
                  <a:lnTo>
                    <a:pt x="56150" y="6429"/>
                  </a:lnTo>
                  <a:lnTo>
                    <a:pt x="64722" y="6429"/>
                  </a:lnTo>
                  <a:lnTo>
                    <a:pt x="64722" y="79296"/>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06" name="任意多边形: 形状 105">
              <a:extLst>
                <a:ext uri="{FF2B5EF4-FFF2-40B4-BE49-F238E27FC236}">
                  <a16:creationId xmlns:a16="http://schemas.microsoft.com/office/drawing/2014/main" id="{6E1BC4D4-FE88-4D2B-870C-F17791B6CA7D}"/>
                </a:ext>
              </a:extLst>
            </p:cNvPr>
            <p:cNvSpPr/>
            <p:nvPr/>
          </p:nvSpPr>
          <p:spPr>
            <a:xfrm>
              <a:off x="10423683" y="4278685"/>
              <a:ext cx="41164" cy="82327"/>
            </a:xfrm>
            <a:custGeom>
              <a:avLst/>
              <a:gdLst>
                <a:gd name="connsiteX0" fmla="*/ 44148 w 42862"/>
                <a:gd name="connsiteY0" fmla="*/ 14145 h 85725"/>
                <a:gd name="connsiteX1" fmla="*/ 15002 w 42862"/>
                <a:gd name="connsiteY1" fmla="*/ 14145 h 85725"/>
                <a:gd name="connsiteX2" fmla="*/ 15002 w 42862"/>
                <a:gd name="connsiteY2" fmla="*/ 39862 h 85725"/>
                <a:gd name="connsiteX3" fmla="*/ 41576 w 42862"/>
                <a:gd name="connsiteY3" fmla="*/ 39862 h 85725"/>
                <a:gd name="connsiteX4" fmla="*/ 41576 w 42862"/>
                <a:gd name="connsiteY4" fmla="*/ 47577 h 85725"/>
                <a:gd name="connsiteX5" fmla="*/ 15002 w 42862"/>
                <a:gd name="connsiteY5" fmla="*/ 47577 h 85725"/>
                <a:gd name="connsiteX6" fmla="*/ 15002 w 42862"/>
                <a:gd name="connsiteY6" fmla="*/ 80153 h 85725"/>
                <a:gd name="connsiteX7" fmla="*/ 6429 w 42862"/>
                <a:gd name="connsiteY7" fmla="*/ 80153 h 85725"/>
                <a:gd name="connsiteX8" fmla="*/ 6429 w 42862"/>
                <a:gd name="connsiteY8" fmla="*/ 6429 h 85725"/>
                <a:gd name="connsiteX9" fmla="*/ 44148 w 42862"/>
                <a:gd name="connsiteY9" fmla="*/ 6429 h 85725"/>
                <a:gd name="connsiteX10" fmla="*/ 44148 w 42862"/>
                <a:gd name="connsiteY10" fmla="*/ 1414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862" h="85725">
                  <a:moveTo>
                    <a:pt x="44148" y="14145"/>
                  </a:moveTo>
                  <a:lnTo>
                    <a:pt x="15002" y="14145"/>
                  </a:lnTo>
                  <a:lnTo>
                    <a:pt x="15002" y="39862"/>
                  </a:lnTo>
                  <a:lnTo>
                    <a:pt x="41576" y="39862"/>
                  </a:lnTo>
                  <a:lnTo>
                    <a:pt x="41576" y="47577"/>
                  </a:lnTo>
                  <a:lnTo>
                    <a:pt x="15002" y="47577"/>
                  </a:lnTo>
                  <a:lnTo>
                    <a:pt x="15002" y="80153"/>
                  </a:lnTo>
                  <a:lnTo>
                    <a:pt x="6429" y="80153"/>
                  </a:lnTo>
                  <a:lnTo>
                    <a:pt x="6429" y="6429"/>
                  </a:lnTo>
                  <a:lnTo>
                    <a:pt x="44148" y="6429"/>
                  </a:lnTo>
                  <a:lnTo>
                    <a:pt x="44148" y="14145"/>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07" name="任意多边形: 形状 106">
              <a:extLst>
                <a:ext uri="{FF2B5EF4-FFF2-40B4-BE49-F238E27FC236}">
                  <a16:creationId xmlns:a16="http://schemas.microsoft.com/office/drawing/2014/main" id="{C504781A-F91D-4FDA-9E6B-4807B957327D}"/>
                </a:ext>
              </a:extLst>
            </p:cNvPr>
            <p:cNvSpPr/>
            <p:nvPr/>
          </p:nvSpPr>
          <p:spPr>
            <a:xfrm>
              <a:off x="10468963" y="4277862"/>
              <a:ext cx="74095" cy="82327"/>
            </a:xfrm>
            <a:custGeom>
              <a:avLst/>
              <a:gdLst>
                <a:gd name="connsiteX0" fmla="*/ 40719 w 77152"/>
                <a:gd name="connsiteY0" fmla="*/ 81867 h 85725"/>
                <a:gd name="connsiteX1" fmla="*/ 15859 w 77152"/>
                <a:gd name="connsiteY1" fmla="*/ 71580 h 85725"/>
                <a:gd name="connsiteX2" fmla="*/ 6429 w 77152"/>
                <a:gd name="connsiteY2" fmla="*/ 45006 h 85725"/>
                <a:gd name="connsiteX3" fmla="*/ 15859 w 77152"/>
                <a:gd name="connsiteY3" fmla="*/ 16716 h 85725"/>
                <a:gd name="connsiteX4" fmla="*/ 41576 w 77152"/>
                <a:gd name="connsiteY4" fmla="*/ 6429 h 85725"/>
                <a:gd name="connsiteX5" fmla="*/ 66437 w 77152"/>
                <a:gd name="connsiteY5" fmla="*/ 16716 h 85725"/>
                <a:gd name="connsiteX6" fmla="*/ 75866 w 77152"/>
                <a:gd name="connsiteY6" fmla="*/ 43291 h 85725"/>
                <a:gd name="connsiteX7" fmla="*/ 66437 w 77152"/>
                <a:gd name="connsiteY7" fmla="*/ 71580 h 85725"/>
                <a:gd name="connsiteX8" fmla="*/ 40719 w 77152"/>
                <a:gd name="connsiteY8" fmla="*/ 81867 h 85725"/>
                <a:gd name="connsiteX9" fmla="*/ 40719 w 77152"/>
                <a:gd name="connsiteY9" fmla="*/ 14145 h 85725"/>
                <a:gd name="connsiteX10" fmla="*/ 21860 w 77152"/>
                <a:gd name="connsiteY10" fmla="*/ 22717 h 85725"/>
                <a:gd name="connsiteX11" fmla="*/ 15002 w 77152"/>
                <a:gd name="connsiteY11" fmla="*/ 45006 h 85725"/>
                <a:gd name="connsiteX12" fmla="*/ 21860 w 77152"/>
                <a:gd name="connsiteY12" fmla="*/ 67294 h 85725"/>
                <a:gd name="connsiteX13" fmla="*/ 39862 w 77152"/>
                <a:gd name="connsiteY13" fmla="*/ 75867 h 85725"/>
                <a:gd name="connsiteX14" fmla="*/ 58721 w 77152"/>
                <a:gd name="connsiteY14" fmla="*/ 68151 h 85725"/>
                <a:gd name="connsiteX15" fmla="*/ 65579 w 77152"/>
                <a:gd name="connsiteY15" fmla="*/ 45863 h 85725"/>
                <a:gd name="connsiteX16" fmla="*/ 58721 w 77152"/>
                <a:gd name="connsiteY16" fmla="*/ 23574 h 85725"/>
                <a:gd name="connsiteX17" fmla="*/ 40719 w 77152"/>
                <a:gd name="connsiteY17" fmla="*/ 1414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152" h="85725">
                  <a:moveTo>
                    <a:pt x="40719" y="81867"/>
                  </a:moveTo>
                  <a:cubicBezTo>
                    <a:pt x="30432" y="81867"/>
                    <a:pt x="21860" y="78438"/>
                    <a:pt x="15859" y="71580"/>
                  </a:cubicBezTo>
                  <a:cubicBezTo>
                    <a:pt x="9858" y="64722"/>
                    <a:pt x="6429" y="56150"/>
                    <a:pt x="6429" y="45006"/>
                  </a:cubicBezTo>
                  <a:cubicBezTo>
                    <a:pt x="6429" y="33004"/>
                    <a:pt x="9858" y="23574"/>
                    <a:pt x="15859" y="16716"/>
                  </a:cubicBezTo>
                  <a:cubicBezTo>
                    <a:pt x="21860" y="9858"/>
                    <a:pt x="31289" y="6429"/>
                    <a:pt x="41576" y="6429"/>
                  </a:cubicBezTo>
                  <a:cubicBezTo>
                    <a:pt x="51864" y="6429"/>
                    <a:pt x="59578" y="9858"/>
                    <a:pt x="66437" y="16716"/>
                  </a:cubicBezTo>
                  <a:cubicBezTo>
                    <a:pt x="72437" y="23574"/>
                    <a:pt x="75866" y="32147"/>
                    <a:pt x="75866" y="43291"/>
                  </a:cubicBezTo>
                  <a:cubicBezTo>
                    <a:pt x="75866" y="55292"/>
                    <a:pt x="72437" y="64722"/>
                    <a:pt x="66437" y="71580"/>
                  </a:cubicBezTo>
                  <a:cubicBezTo>
                    <a:pt x="59578" y="78438"/>
                    <a:pt x="51006" y="81867"/>
                    <a:pt x="40719" y="81867"/>
                  </a:cubicBezTo>
                  <a:close/>
                  <a:moveTo>
                    <a:pt x="40719" y="14145"/>
                  </a:moveTo>
                  <a:cubicBezTo>
                    <a:pt x="33004" y="14145"/>
                    <a:pt x="27003" y="16716"/>
                    <a:pt x="21860" y="22717"/>
                  </a:cubicBezTo>
                  <a:cubicBezTo>
                    <a:pt x="16716" y="28718"/>
                    <a:pt x="15002" y="35576"/>
                    <a:pt x="15002" y="45006"/>
                  </a:cubicBezTo>
                  <a:cubicBezTo>
                    <a:pt x="15002" y="54435"/>
                    <a:pt x="17574" y="61293"/>
                    <a:pt x="21860" y="67294"/>
                  </a:cubicBezTo>
                  <a:cubicBezTo>
                    <a:pt x="26146" y="72437"/>
                    <a:pt x="33004" y="75867"/>
                    <a:pt x="39862" y="75867"/>
                  </a:cubicBezTo>
                  <a:cubicBezTo>
                    <a:pt x="47577" y="75867"/>
                    <a:pt x="54435" y="73295"/>
                    <a:pt x="58721" y="68151"/>
                  </a:cubicBezTo>
                  <a:cubicBezTo>
                    <a:pt x="63008" y="63008"/>
                    <a:pt x="65579" y="55292"/>
                    <a:pt x="65579" y="45863"/>
                  </a:cubicBezTo>
                  <a:cubicBezTo>
                    <a:pt x="65579" y="36433"/>
                    <a:pt x="63008" y="28718"/>
                    <a:pt x="58721" y="23574"/>
                  </a:cubicBezTo>
                  <a:cubicBezTo>
                    <a:pt x="55292" y="16716"/>
                    <a:pt x="49292" y="14145"/>
                    <a:pt x="40719" y="14145"/>
                  </a:cubicBez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08" name="任意多边形: 形状 107">
              <a:extLst>
                <a:ext uri="{FF2B5EF4-FFF2-40B4-BE49-F238E27FC236}">
                  <a16:creationId xmlns:a16="http://schemas.microsoft.com/office/drawing/2014/main" id="{72189ECA-32C0-46A6-82D7-D73DFD201BFE}"/>
                </a:ext>
              </a:extLst>
            </p:cNvPr>
            <p:cNvSpPr/>
            <p:nvPr/>
          </p:nvSpPr>
          <p:spPr>
            <a:xfrm>
              <a:off x="10544704" y="4277039"/>
              <a:ext cx="65862" cy="82327"/>
            </a:xfrm>
            <a:custGeom>
              <a:avLst/>
              <a:gdLst>
                <a:gd name="connsiteX0" fmla="*/ 66437 w 68580"/>
                <a:gd name="connsiteY0" fmla="*/ 76724 h 85725"/>
                <a:gd name="connsiteX1" fmla="*/ 41577 w 68580"/>
                <a:gd name="connsiteY1" fmla="*/ 82725 h 85725"/>
                <a:gd name="connsiteX2" fmla="*/ 15859 w 68580"/>
                <a:gd name="connsiteY2" fmla="*/ 72438 h 85725"/>
                <a:gd name="connsiteX3" fmla="*/ 6429 w 68580"/>
                <a:gd name="connsiteY3" fmla="*/ 45863 h 85725"/>
                <a:gd name="connsiteX4" fmla="*/ 17574 w 68580"/>
                <a:gd name="connsiteY4" fmla="*/ 17574 h 85725"/>
                <a:gd name="connsiteX5" fmla="*/ 45006 w 68580"/>
                <a:gd name="connsiteY5" fmla="*/ 6429 h 85725"/>
                <a:gd name="connsiteX6" fmla="*/ 65580 w 68580"/>
                <a:gd name="connsiteY6" fmla="*/ 10716 h 85725"/>
                <a:gd name="connsiteX7" fmla="*/ 65580 w 68580"/>
                <a:gd name="connsiteY7" fmla="*/ 20145 h 85725"/>
                <a:gd name="connsiteX8" fmla="*/ 44149 w 68580"/>
                <a:gd name="connsiteY8" fmla="*/ 14145 h 85725"/>
                <a:gd name="connsiteX9" fmla="*/ 23574 w 68580"/>
                <a:gd name="connsiteY9" fmla="*/ 22717 h 85725"/>
                <a:gd name="connsiteX10" fmla="*/ 15859 w 68580"/>
                <a:gd name="connsiteY10" fmla="*/ 45006 h 85725"/>
                <a:gd name="connsiteX11" fmla="*/ 23574 w 68580"/>
                <a:gd name="connsiteY11" fmla="*/ 67294 h 85725"/>
                <a:gd name="connsiteX12" fmla="*/ 43292 w 68580"/>
                <a:gd name="connsiteY12" fmla="*/ 75009 h 85725"/>
                <a:gd name="connsiteX13" fmla="*/ 57864 w 68580"/>
                <a:gd name="connsiteY13" fmla="*/ 71580 h 85725"/>
                <a:gd name="connsiteX14" fmla="*/ 57864 w 68580"/>
                <a:gd name="connsiteY14" fmla="*/ 51006 h 85725"/>
                <a:gd name="connsiteX15" fmla="*/ 41577 w 68580"/>
                <a:gd name="connsiteY15" fmla="*/ 51006 h 85725"/>
                <a:gd name="connsiteX16" fmla="*/ 41577 w 68580"/>
                <a:gd name="connsiteY16" fmla="*/ 43291 h 85725"/>
                <a:gd name="connsiteX17" fmla="*/ 66437 w 68580"/>
                <a:gd name="connsiteY17" fmla="*/ 43291 h 85725"/>
                <a:gd name="connsiteX18" fmla="*/ 66437 w 68580"/>
                <a:gd name="connsiteY18" fmla="*/ 7672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580" h="85725">
                  <a:moveTo>
                    <a:pt x="66437" y="76724"/>
                  </a:moveTo>
                  <a:cubicBezTo>
                    <a:pt x="58722" y="81010"/>
                    <a:pt x="51006" y="82725"/>
                    <a:pt x="41577" y="82725"/>
                  </a:cubicBezTo>
                  <a:cubicBezTo>
                    <a:pt x="31290" y="82725"/>
                    <a:pt x="22717" y="79296"/>
                    <a:pt x="15859" y="72438"/>
                  </a:cubicBezTo>
                  <a:cubicBezTo>
                    <a:pt x="9002" y="65580"/>
                    <a:pt x="6429" y="57007"/>
                    <a:pt x="6429" y="45863"/>
                  </a:cubicBezTo>
                  <a:cubicBezTo>
                    <a:pt x="6429" y="34719"/>
                    <a:pt x="9859" y="25289"/>
                    <a:pt x="17574" y="17574"/>
                  </a:cubicBezTo>
                  <a:cubicBezTo>
                    <a:pt x="24432" y="9858"/>
                    <a:pt x="33861" y="6429"/>
                    <a:pt x="45006" y="6429"/>
                  </a:cubicBezTo>
                  <a:cubicBezTo>
                    <a:pt x="52721" y="6429"/>
                    <a:pt x="59579" y="8144"/>
                    <a:pt x="65580" y="10716"/>
                  </a:cubicBezTo>
                  <a:lnTo>
                    <a:pt x="65580" y="20145"/>
                  </a:lnTo>
                  <a:cubicBezTo>
                    <a:pt x="59579" y="16716"/>
                    <a:pt x="52721" y="14145"/>
                    <a:pt x="44149" y="14145"/>
                  </a:cubicBezTo>
                  <a:cubicBezTo>
                    <a:pt x="35576" y="14145"/>
                    <a:pt x="29575" y="16716"/>
                    <a:pt x="23574" y="22717"/>
                  </a:cubicBezTo>
                  <a:cubicBezTo>
                    <a:pt x="18431" y="28718"/>
                    <a:pt x="15859" y="35576"/>
                    <a:pt x="15859" y="45006"/>
                  </a:cubicBezTo>
                  <a:cubicBezTo>
                    <a:pt x="15859" y="54435"/>
                    <a:pt x="18431" y="61293"/>
                    <a:pt x="23574" y="67294"/>
                  </a:cubicBezTo>
                  <a:cubicBezTo>
                    <a:pt x="28718" y="72438"/>
                    <a:pt x="34719" y="75009"/>
                    <a:pt x="43292" y="75009"/>
                  </a:cubicBezTo>
                  <a:cubicBezTo>
                    <a:pt x="49292" y="75009"/>
                    <a:pt x="54436" y="74152"/>
                    <a:pt x="57864" y="71580"/>
                  </a:cubicBezTo>
                  <a:lnTo>
                    <a:pt x="57864" y="51006"/>
                  </a:lnTo>
                  <a:lnTo>
                    <a:pt x="41577" y="51006"/>
                  </a:lnTo>
                  <a:lnTo>
                    <a:pt x="41577" y="43291"/>
                  </a:lnTo>
                  <a:lnTo>
                    <a:pt x="66437" y="43291"/>
                  </a:lnTo>
                  <a:lnTo>
                    <a:pt x="66437" y="7672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09" name="任意多边形: 形状 108">
              <a:extLst>
                <a:ext uri="{FF2B5EF4-FFF2-40B4-BE49-F238E27FC236}">
                  <a16:creationId xmlns:a16="http://schemas.microsoft.com/office/drawing/2014/main" id="{C2001F4C-3725-48F7-914F-704C45320A1C}"/>
                </a:ext>
              </a:extLst>
            </p:cNvPr>
            <p:cNvSpPr/>
            <p:nvPr/>
          </p:nvSpPr>
          <p:spPr>
            <a:xfrm>
              <a:off x="10618798" y="4277862"/>
              <a:ext cx="57630" cy="82327"/>
            </a:xfrm>
            <a:custGeom>
              <a:avLst/>
              <a:gdLst>
                <a:gd name="connsiteX0" fmla="*/ 58722 w 60007"/>
                <a:gd name="connsiteY0" fmla="*/ 81010 h 85725"/>
                <a:gd name="connsiteX1" fmla="*/ 48435 w 60007"/>
                <a:gd name="connsiteY1" fmla="*/ 81010 h 85725"/>
                <a:gd name="connsiteX2" fmla="*/ 36433 w 60007"/>
                <a:gd name="connsiteY2" fmla="*/ 60436 h 85725"/>
                <a:gd name="connsiteX3" fmla="*/ 33004 w 60007"/>
                <a:gd name="connsiteY3" fmla="*/ 55292 h 85725"/>
                <a:gd name="connsiteX4" fmla="*/ 29575 w 60007"/>
                <a:gd name="connsiteY4" fmla="*/ 51864 h 85725"/>
                <a:gd name="connsiteX5" fmla="*/ 26147 w 60007"/>
                <a:gd name="connsiteY5" fmla="*/ 50149 h 85725"/>
                <a:gd name="connsiteX6" fmla="*/ 21860 w 60007"/>
                <a:gd name="connsiteY6" fmla="*/ 49292 h 85725"/>
                <a:gd name="connsiteX7" fmla="*/ 15002 w 60007"/>
                <a:gd name="connsiteY7" fmla="*/ 49292 h 85725"/>
                <a:gd name="connsiteX8" fmla="*/ 15002 w 60007"/>
                <a:gd name="connsiteY8" fmla="*/ 80153 h 85725"/>
                <a:gd name="connsiteX9" fmla="*/ 6429 w 60007"/>
                <a:gd name="connsiteY9" fmla="*/ 80153 h 85725"/>
                <a:gd name="connsiteX10" fmla="*/ 6429 w 60007"/>
                <a:gd name="connsiteY10" fmla="*/ 6429 h 85725"/>
                <a:gd name="connsiteX11" fmla="*/ 28718 w 60007"/>
                <a:gd name="connsiteY11" fmla="*/ 6429 h 85725"/>
                <a:gd name="connsiteX12" fmla="*/ 37291 w 60007"/>
                <a:gd name="connsiteY12" fmla="*/ 7287 h 85725"/>
                <a:gd name="connsiteX13" fmla="*/ 44149 w 60007"/>
                <a:gd name="connsiteY13" fmla="*/ 10716 h 85725"/>
                <a:gd name="connsiteX14" fmla="*/ 48435 w 60007"/>
                <a:gd name="connsiteY14" fmla="*/ 16716 h 85725"/>
                <a:gd name="connsiteX15" fmla="*/ 50149 w 60007"/>
                <a:gd name="connsiteY15" fmla="*/ 25289 h 85725"/>
                <a:gd name="connsiteX16" fmla="*/ 49292 w 60007"/>
                <a:gd name="connsiteY16" fmla="*/ 32147 h 85725"/>
                <a:gd name="connsiteX17" fmla="*/ 45863 w 60007"/>
                <a:gd name="connsiteY17" fmla="*/ 38147 h 85725"/>
                <a:gd name="connsiteX18" fmla="*/ 40719 w 60007"/>
                <a:gd name="connsiteY18" fmla="*/ 42434 h 85725"/>
                <a:gd name="connsiteX19" fmla="*/ 33861 w 60007"/>
                <a:gd name="connsiteY19" fmla="*/ 45006 h 85725"/>
                <a:gd name="connsiteX20" fmla="*/ 33861 w 60007"/>
                <a:gd name="connsiteY20" fmla="*/ 45006 h 85725"/>
                <a:gd name="connsiteX21" fmla="*/ 37291 w 60007"/>
                <a:gd name="connsiteY21" fmla="*/ 46720 h 85725"/>
                <a:gd name="connsiteX22" fmla="*/ 39862 w 60007"/>
                <a:gd name="connsiteY22" fmla="*/ 49292 h 85725"/>
                <a:gd name="connsiteX23" fmla="*/ 42434 w 60007"/>
                <a:gd name="connsiteY23" fmla="*/ 52721 h 85725"/>
                <a:gd name="connsiteX24" fmla="*/ 45006 w 60007"/>
                <a:gd name="connsiteY24" fmla="*/ 57007 h 85725"/>
                <a:gd name="connsiteX25" fmla="*/ 58722 w 60007"/>
                <a:gd name="connsiteY25" fmla="*/ 81010 h 85725"/>
                <a:gd name="connsiteX26" fmla="*/ 15002 w 60007"/>
                <a:gd name="connsiteY26" fmla="*/ 15002 h 85725"/>
                <a:gd name="connsiteX27" fmla="*/ 15002 w 60007"/>
                <a:gd name="connsiteY27" fmla="*/ 41577 h 85725"/>
                <a:gd name="connsiteX28" fmla="*/ 27004 w 60007"/>
                <a:gd name="connsiteY28" fmla="*/ 41577 h 85725"/>
                <a:gd name="connsiteX29" fmla="*/ 33004 w 60007"/>
                <a:gd name="connsiteY29" fmla="*/ 40719 h 85725"/>
                <a:gd name="connsiteX30" fmla="*/ 38148 w 60007"/>
                <a:gd name="connsiteY30" fmla="*/ 38147 h 85725"/>
                <a:gd name="connsiteX31" fmla="*/ 41577 w 60007"/>
                <a:gd name="connsiteY31" fmla="*/ 33861 h 85725"/>
                <a:gd name="connsiteX32" fmla="*/ 42434 w 60007"/>
                <a:gd name="connsiteY32" fmla="*/ 27861 h 85725"/>
                <a:gd name="connsiteX33" fmla="*/ 39005 w 60007"/>
                <a:gd name="connsiteY33" fmla="*/ 18431 h 85725"/>
                <a:gd name="connsiteX34" fmla="*/ 27861 w 60007"/>
                <a:gd name="connsiteY34" fmla="*/ 15002 h 85725"/>
                <a:gd name="connsiteX35" fmla="*/ 15002 w 60007"/>
                <a:gd name="connsiteY35" fmla="*/ 15002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007" h="85725">
                  <a:moveTo>
                    <a:pt x="58722" y="81010"/>
                  </a:moveTo>
                  <a:lnTo>
                    <a:pt x="48435" y="81010"/>
                  </a:lnTo>
                  <a:lnTo>
                    <a:pt x="36433" y="60436"/>
                  </a:lnTo>
                  <a:cubicBezTo>
                    <a:pt x="35576" y="58722"/>
                    <a:pt x="33861" y="57007"/>
                    <a:pt x="33004" y="55292"/>
                  </a:cubicBezTo>
                  <a:cubicBezTo>
                    <a:pt x="32147" y="53578"/>
                    <a:pt x="31290" y="52721"/>
                    <a:pt x="29575" y="51864"/>
                  </a:cubicBezTo>
                  <a:cubicBezTo>
                    <a:pt x="28718" y="51006"/>
                    <a:pt x="27004" y="50149"/>
                    <a:pt x="26147" y="50149"/>
                  </a:cubicBezTo>
                  <a:cubicBezTo>
                    <a:pt x="25289" y="50149"/>
                    <a:pt x="23574" y="49292"/>
                    <a:pt x="21860" y="49292"/>
                  </a:cubicBezTo>
                  <a:lnTo>
                    <a:pt x="15002" y="49292"/>
                  </a:lnTo>
                  <a:lnTo>
                    <a:pt x="15002" y="80153"/>
                  </a:lnTo>
                  <a:lnTo>
                    <a:pt x="6429" y="80153"/>
                  </a:lnTo>
                  <a:lnTo>
                    <a:pt x="6429" y="6429"/>
                  </a:lnTo>
                  <a:lnTo>
                    <a:pt x="28718" y="6429"/>
                  </a:lnTo>
                  <a:cubicBezTo>
                    <a:pt x="32147" y="6429"/>
                    <a:pt x="34719" y="6429"/>
                    <a:pt x="37291" y="7287"/>
                  </a:cubicBezTo>
                  <a:cubicBezTo>
                    <a:pt x="39862" y="8144"/>
                    <a:pt x="42434" y="9001"/>
                    <a:pt x="44149" y="10716"/>
                  </a:cubicBezTo>
                  <a:cubicBezTo>
                    <a:pt x="45863" y="12430"/>
                    <a:pt x="47578" y="14145"/>
                    <a:pt x="48435" y="16716"/>
                  </a:cubicBezTo>
                  <a:cubicBezTo>
                    <a:pt x="49292" y="19288"/>
                    <a:pt x="50149" y="21860"/>
                    <a:pt x="50149" y="25289"/>
                  </a:cubicBezTo>
                  <a:cubicBezTo>
                    <a:pt x="50149" y="27861"/>
                    <a:pt x="50149" y="30432"/>
                    <a:pt x="49292" y="32147"/>
                  </a:cubicBezTo>
                  <a:cubicBezTo>
                    <a:pt x="48435" y="33861"/>
                    <a:pt x="47578" y="36433"/>
                    <a:pt x="45863" y="38147"/>
                  </a:cubicBezTo>
                  <a:cubicBezTo>
                    <a:pt x="44149" y="39862"/>
                    <a:pt x="42434" y="41577"/>
                    <a:pt x="40719" y="42434"/>
                  </a:cubicBezTo>
                  <a:cubicBezTo>
                    <a:pt x="39005" y="43291"/>
                    <a:pt x="36433" y="44148"/>
                    <a:pt x="33861" y="45006"/>
                  </a:cubicBezTo>
                  <a:lnTo>
                    <a:pt x="33861" y="45006"/>
                  </a:lnTo>
                  <a:cubicBezTo>
                    <a:pt x="34719" y="45863"/>
                    <a:pt x="36433" y="45863"/>
                    <a:pt x="37291" y="46720"/>
                  </a:cubicBezTo>
                  <a:cubicBezTo>
                    <a:pt x="38148" y="47577"/>
                    <a:pt x="39005" y="48435"/>
                    <a:pt x="39862" y="49292"/>
                  </a:cubicBezTo>
                  <a:cubicBezTo>
                    <a:pt x="40719" y="50149"/>
                    <a:pt x="41577" y="51006"/>
                    <a:pt x="42434" y="52721"/>
                  </a:cubicBezTo>
                  <a:cubicBezTo>
                    <a:pt x="43292" y="53578"/>
                    <a:pt x="44149" y="55292"/>
                    <a:pt x="45006" y="57007"/>
                  </a:cubicBezTo>
                  <a:lnTo>
                    <a:pt x="58722" y="81010"/>
                  </a:lnTo>
                  <a:close/>
                  <a:moveTo>
                    <a:pt x="15002" y="15002"/>
                  </a:moveTo>
                  <a:lnTo>
                    <a:pt x="15002" y="41577"/>
                  </a:lnTo>
                  <a:lnTo>
                    <a:pt x="27004" y="41577"/>
                  </a:lnTo>
                  <a:cubicBezTo>
                    <a:pt x="29575" y="41577"/>
                    <a:pt x="31290" y="41577"/>
                    <a:pt x="33004" y="40719"/>
                  </a:cubicBezTo>
                  <a:cubicBezTo>
                    <a:pt x="34719" y="39862"/>
                    <a:pt x="36433" y="39005"/>
                    <a:pt x="38148" y="38147"/>
                  </a:cubicBezTo>
                  <a:cubicBezTo>
                    <a:pt x="39862" y="37290"/>
                    <a:pt x="40719" y="35576"/>
                    <a:pt x="41577" y="33861"/>
                  </a:cubicBezTo>
                  <a:cubicBezTo>
                    <a:pt x="42434" y="32147"/>
                    <a:pt x="42434" y="30432"/>
                    <a:pt x="42434" y="27861"/>
                  </a:cubicBezTo>
                  <a:cubicBezTo>
                    <a:pt x="42434" y="23574"/>
                    <a:pt x="41577" y="21002"/>
                    <a:pt x="39005" y="18431"/>
                  </a:cubicBezTo>
                  <a:cubicBezTo>
                    <a:pt x="36433" y="15859"/>
                    <a:pt x="33004" y="15002"/>
                    <a:pt x="27861" y="15002"/>
                  </a:cubicBezTo>
                  <a:lnTo>
                    <a:pt x="15002" y="15002"/>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10" name="任意多边形: 形状 109">
              <a:extLst>
                <a:ext uri="{FF2B5EF4-FFF2-40B4-BE49-F238E27FC236}">
                  <a16:creationId xmlns:a16="http://schemas.microsoft.com/office/drawing/2014/main" id="{660F7FE6-839A-4689-B0E7-41946B4D1B9F}"/>
                </a:ext>
              </a:extLst>
            </p:cNvPr>
            <p:cNvSpPr/>
            <p:nvPr/>
          </p:nvSpPr>
          <p:spPr>
            <a:xfrm>
              <a:off x="10670665" y="4278685"/>
              <a:ext cx="74095" cy="82327"/>
            </a:xfrm>
            <a:custGeom>
              <a:avLst/>
              <a:gdLst>
                <a:gd name="connsiteX0" fmla="*/ 71580 w 77152"/>
                <a:gd name="connsiteY0" fmla="*/ 80153 h 85725"/>
                <a:gd name="connsiteX1" fmla="*/ 62151 w 77152"/>
                <a:gd name="connsiteY1" fmla="*/ 80153 h 85725"/>
                <a:gd name="connsiteX2" fmla="*/ 54435 w 77152"/>
                <a:gd name="connsiteY2" fmla="*/ 59579 h 85725"/>
                <a:gd name="connsiteX3" fmla="*/ 23574 w 77152"/>
                <a:gd name="connsiteY3" fmla="*/ 59579 h 85725"/>
                <a:gd name="connsiteX4" fmla="*/ 15859 w 77152"/>
                <a:gd name="connsiteY4" fmla="*/ 80153 h 85725"/>
                <a:gd name="connsiteX5" fmla="*/ 6429 w 77152"/>
                <a:gd name="connsiteY5" fmla="*/ 80153 h 85725"/>
                <a:gd name="connsiteX6" fmla="*/ 34719 w 77152"/>
                <a:gd name="connsiteY6" fmla="*/ 6429 h 85725"/>
                <a:gd name="connsiteX7" fmla="*/ 43291 w 77152"/>
                <a:gd name="connsiteY7" fmla="*/ 6429 h 85725"/>
                <a:gd name="connsiteX8" fmla="*/ 71580 w 77152"/>
                <a:gd name="connsiteY8" fmla="*/ 80153 h 85725"/>
                <a:gd name="connsiteX9" fmla="*/ 51864 w 77152"/>
                <a:gd name="connsiteY9" fmla="*/ 51864 h 85725"/>
                <a:gd name="connsiteX10" fmla="*/ 40719 w 77152"/>
                <a:gd name="connsiteY10" fmla="*/ 20145 h 85725"/>
                <a:gd name="connsiteX11" fmla="*/ 39862 w 77152"/>
                <a:gd name="connsiteY11" fmla="*/ 15002 h 85725"/>
                <a:gd name="connsiteX12" fmla="*/ 39862 w 77152"/>
                <a:gd name="connsiteY12" fmla="*/ 15002 h 85725"/>
                <a:gd name="connsiteX13" fmla="*/ 39005 w 77152"/>
                <a:gd name="connsiteY13" fmla="*/ 20145 h 85725"/>
                <a:gd name="connsiteX14" fmla="*/ 27861 w 77152"/>
                <a:gd name="connsiteY14" fmla="*/ 51864 h 85725"/>
                <a:gd name="connsiteX15" fmla="*/ 51864 w 77152"/>
                <a:gd name="connsiteY15" fmla="*/ 5186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52" h="85725">
                  <a:moveTo>
                    <a:pt x="71580" y="80153"/>
                  </a:moveTo>
                  <a:lnTo>
                    <a:pt x="62151" y="80153"/>
                  </a:lnTo>
                  <a:lnTo>
                    <a:pt x="54435" y="59579"/>
                  </a:lnTo>
                  <a:lnTo>
                    <a:pt x="23574" y="59579"/>
                  </a:lnTo>
                  <a:lnTo>
                    <a:pt x="15859" y="80153"/>
                  </a:lnTo>
                  <a:lnTo>
                    <a:pt x="6429" y="80153"/>
                  </a:lnTo>
                  <a:lnTo>
                    <a:pt x="34719" y="6429"/>
                  </a:lnTo>
                  <a:lnTo>
                    <a:pt x="43291" y="6429"/>
                  </a:lnTo>
                  <a:lnTo>
                    <a:pt x="71580" y="80153"/>
                  </a:lnTo>
                  <a:close/>
                  <a:moveTo>
                    <a:pt x="51864" y="51864"/>
                  </a:moveTo>
                  <a:lnTo>
                    <a:pt x="40719" y="20145"/>
                  </a:lnTo>
                  <a:cubicBezTo>
                    <a:pt x="40719" y="19288"/>
                    <a:pt x="39862" y="17574"/>
                    <a:pt x="39862" y="15002"/>
                  </a:cubicBezTo>
                  <a:lnTo>
                    <a:pt x="39862" y="15002"/>
                  </a:lnTo>
                  <a:cubicBezTo>
                    <a:pt x="39862" y="16716"/>
                    <a:pt x="39005" y="18431"/>
                    <a:pt x="39005" y="20145"/>
                  </a:cubicBezTo>
                  <a:lnTo>
                    <a:pt x="27861" y="51864"/>
                  </a:lnTo>
                  <a:lnTo>
                    <a:pt x="51864" y="5186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11" name="任意多边形: 形状 110">
              <a:extLst>
                <a:ext uri="{FF2B5EF4-FFF2-40B4-BE49-F238E27FC236}">
                  <a16:creationId xmlns:a16="http://schemas.microsoft.com/office/drawing/2014/main" id="{AF9197E7-CDD1-4126-9085-EC6681610463}"/>
                </a:ext>
              </a:extLst>
            </p:cNvPr>
            <p:cNvSpPr/>
            <p:nvPr/>
          </p:nvSpPr>
          <p:spPr>
            <a:xfrm>
              <a:off x="10743936" y="4277862"/>
              <a:ext cx="49396" cy="82327"/>
            </a:xfrm>
            <a:custGeom>
              <a:avLst/>
              <a:gdLst>
                <a:gd name="connsiteX0" fmla="*/ 15002 w 51435"/>
                <a:gd name="connsiteY0" fmla="*/ 52721 h 85725"/>
                <a:gd name="connsiteX1" fmla="*/ 15002 w 51435"/>
                <a:gd name="connsiteY1" fmla="*/ 80153 h 85725"/>
                <a:gd name="connsiteX2" fmla="*/ 6429 w 51435"/>
                <a:gd name="connsiteY2" fmla="*/ 80153 h 85725"/>
                <a:gd name="connsiteX3" fmla="*/ 6429 w 51435"/>
                <a:gd name="connsiteY3" fmla="*/ 6429 h 85725"/>
                <a:gd name="connsiteX4" fmla="*/ 27004 w 51435"/>
                <a:gd name="connsiteY4" fmla="*/ 6429 h 85725"/>
                <a:gd name="connsiteX5" fmla="*/ 45006 w 51435"/>
                <a:gd name="connsiteY5" fmla="*/ 12430 h 85725"/>
                <a:gd name="connsiteX6" fmla="*/ 51864 w 51435"/>
                <a:gd name="connsiteY6" fmla="*/ 28718 h 85725"/>
                <a:gd name="connsiteX7" fmla="*/ 45006 w 51435"/>
                <a:gd name="connsiteY7" fmla="*/ 45863 h 85725"/>
                <a:gd name="connsiteX8" fmla="*/ 25289 w 51435"/>
                <a:gd name="connsiteY8" fmla="*/ 52721 h 85725"/>
                <a:gd name="connsiteX9" fmla="*/ 15002 w 51435"/>
                <a:gd name="connsiteY9" fmla="*/ 52721 h 85725"/>
                <a:gd name="connsiteX10" fmla="*/ 15002 w 51435"/>
                <a:gd name="connsiteY10" fmla="*/ 15002 h 85725"/>
                <a:gd name="connsiteX11" fmla="*/ 15002 w 51435"/>
                <a:gd name="connsiteY11" fmla="*/ 45006 h 85725"/>
                <a:gd name="connsiteX12" fmla="*/ 24432 w 51435"/>
                <a:gd name="connsiteY12" fmla="*/ 45006 h 85725"/>
                <a:gd name="connsiteX13" fmla="*/ 38148 w 51435"/>
                <a:gd name="connsiteY13" fmla="*/ 40719 h 85725"/>
                <a:gd name="connsiteX14" fmla="*/ 42434 w 51435"/>
                <a:gd name="connsiteY14" fmla="*/ 29575 h 85725"/>
                <a:gd name="connsiteX15" fmla="*/ 25289 w 51435"/>
                <a:gd name="connsiteY15" fmla="*/ 15002 h 85725"/>
                <a:gd name="connsiteX16" fmla="*/ 15002 w 51435"/>
                <a:gd name="connsiteY16" fmla="*/ 15002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435" h="85725">
                  <a:moveTo>
                    <a:pt x="15002" y="52721"/>
                  </a:moveTo>
                  <a:lnTo>
                    <a:pt x="15002" y="80153"/>
                  </a:lnTo>
                  <a:lnTo>
                    <a:pt x="6429" y="80153"/>
                  </a:lnTo>
                  <a:lnTo>
                    <a:pt x="6429" y="6429"/>
                  </a:lnTo>
                  <a:lnTo>
                    <a:pt x="27004" y="6429"/>
                  </a:lnTo>
                  <a:cubicBezTo>
                    <a:pt x="34719" y="6429"/>
                    <a:pt x="40719" y="8144"/>
                    <a:pt x="45006" y="12430"/>
                  </a:cubicBezTo>
                  <a:cubicBezTo>
                    <a:pt x="49292" y="15859"/>
                    <a:pt x="51864" y="21860"/>
                    <a:pt x="51864" y="28718"/>
                  </a:cubicBezTo>
                  <a:cubicBezTo>
                    <a:pt x="51864" y="35576"/>
                    <a:pt x="49292" y="41577"/>
                    <a:pt x="45006" y="45863"/>
                  </a:cubicBezTo>
                  <a:cubicBezTo>
                    <a:pt x="39862" y="50149"/>
                    <a:pt x="33861" y="52721"/>
                    <a:pt x="25289" y="52721"/>
                  </a:cubicBezTo>
                  <a:lnTo>
                    <a:pt x="15002" y="52721"/>
                  </a:lnTo>
                  <a:close/>
                  <a:moveTo>
                    <a:pt x="15002" y="15002"/>
                  </a:moveTo>
                  <a:lnTo>
                    <a:pt x="15002" y="45006"/>
                  </a:lnTo>
                  <a:lnTo>
                    <a:pt x="24432" y="45006"/>
                  </a:lnTo>
                  <a:cubicBezTo>
                    <a:pt x="30432" y="45006"/>
                    <a:pt x="34719" y="43291"/>
                    <a:pt x="38148" y="40719"/>
                  </a:cubicBezTo>
                  <a:cubicBezTo>
                    <a:pt x="41577" y="38147"/>
                    <a:pt x="42434" y="33861"/>
                    <a:pt x="42434" y="29575"/>
                  </a:cubicBezTo>
                  <a:cubicBezTo>
                    <a:pt x="42434" y="20145"/>
                    <a:pt x="36433" y="15002"/>
                    <a:pt x="25289" y="15002"/>
                  </a:cubicBezTo>
                  <a:lnTo>
                    <a:pt x="15002" y="15002"/>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12" name="任意多边形: 形状 111">
              <a:extLst>
                <a:ext uri="{FF2B5EF4-FFF2-40B4-BE49-F238E27FC236}">
                  <a16:creationId xmlns:a16="http://schemas.microsoft.com/office/drawing/2014/main" id="{4B94744D-4B8D-4C05-94D0-22DD322D58BC}"/>
                </a:ext>
              </a:extLst>
            </p:cNvPr>
            <p:cNvSpPr/>
            <p:nvPr/>
          </p:nvSpPr>
          <p:spPr>
            <a:xfrm>
              <a:off x="10800742" y="4278685"/>
              <a:ext cx="57630" cy="82327"/>
            </a:xfrm>
            <a:custGeom>
              <a:avLst/>
              <a:gdLst>
                <a:gd name="connsiteX0" fmla="*/ 61293 w 60007"/>
                <a:gd name="connsiteY0" fmla="*/ 80153 h 85725"/>
                <a:gd name="connsiteX1" fmla="*/ 52721 w 60007"/>
                <a:gd name="connsiteY1" fmla="*/ 80153 h 85725"/>
                <a:gd name="connsiteX2" fmla="*/ 52721 w 60007"/>
                <a:gd name="connsiteY2" fmla="*/ 46720 h 85725"/>
                <a:gd name="connsiteX3" fmla="*/ 15002 w 60007"/>
                <a:gd name="connsiteY3" fmla="*/ 46720 h 85725"/>
                <a:gd name="connsiteX4" fmla="*/ 15002 w 60007"/>
                <a:gd name="connsiteY4" fmla="*/ 80153 h 85725"/>
                <a:gd name="connsiteX5" fmla="*/ 6429 w 60007"/>
                <a:gd name="connsiteY5" fmla="*/ 80153 h 85725"/>
                <a:gd name="connsiteX6" fmla="*/ 6429 w 60007"/>
                <a:gd name="connsiteY6" fmla="*/ 6429 h 85725"/>
                <a:gd name="connsiteX7" fmla="*/ 15002 w 60007"/>
                <a:gd name="connsiteY7" fmla="*/ 6429 h 85725"/>
                <a:gd name="connsiteX8" fmla="*/ 15002 w 60007"/>
                <a:gd name="connsiteY8" fmla="*/ 39005 h 85725"/>
                <a:gd name="connsiteX9" fmla="*/ 52721 w 60007"/>
                <a:gd name="connsiteY9" fmla="*/ 39005 h 85725"/>
                <a:gd name="connsiteX10" fmla="*/ 52721 w 60007"/>
                <a:gd name="connsiteY10" fmla="*/ 6429 h 85725"/>
                <a:gd name="connsiteX11" fmla="*/ 61293 w 60007"/>
                <a:gd name="connsiteY11" fmla="*/ 6429 h 85725"/>
                <a:gd name="connsiteX12" fmla="*/ 61293 w 60007"/>
                <a:gd name="connsiteY12" fmla="*/ 8015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007" h="85725">
                  <a:moveTo>
                    <a:pt x="61293" y="80153"/>
                  </a:moveTo>
                  <a:lnTo>
                    <a:pt x="52721" y="80153"/>
                  </a:lnTo>
                  <a:lnTo>
                    <a:pt x="52721" y="46720"/>
                  </a:lnTo>
                  <a:lnTo>
                    <a:pt x="15002" y="46720"/>
                  </a:lnTo>
                  <a:lnTo>
                    <a:pt x="15002" y="80153"/>
                  </a:lnTo>
                  <a:lnTo>
                    <a:pt x="6429" y="80153"/>
                  </a:lnTo>
                  <a:lnTo>
                    <a:pt x="6429" y="6429"/>
                  </a:lnTo>
                  <a:lnTo>
                    <a:pt x="15002" y="6429"/>
                  </a:lnTo>
                  <a:lnTo>
                    <a:pt x="15002" y="39005"/>
                  </a:lnTo>
                  <a:lnTo>
                    <a:pt x="52721" y="39005"/>
                  </a:lnTo>
                  <a:lnTo>
                    <a:pt x="52721" y="6429"/>
                  </a:lnTo>
                  <a:lnTo>
                    <a:pt x="61293" y="6429"/>
                  </a:lnTo>
                  <a:lnTo>
                    <a:pt x="61293" y="80153"/>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13" name="任意多边形: 形状 112">
              <a:extLst>
                <a:ext uri="{FF2B5EF4-FFF2-40B4-BE49-F238E27FC236}">
                  <a16:creationId xmlns:a16="http://schemas.microsoft.com/office/drawing/2014/main" id="{28F76498-A2B3-4508-8C58-CCA33D42245F}"/>
                </a:ext>
              </a:extLst>
            </p:cNvPr>
            <p:cNvSpPr/>
            <p:nvPr/>
          </p:nvSpPr>
          <p:spPr>
            <a:xfrm>
              <a:off x="10864957" y="4278685"/>
              <a:ext cx="32931" cy="82327"/>
            </a:xfrm>
            <a:custGeom>
              <a:avLst/>
              <a:gdLst>
                <a:gd name="connsiteX0" fmla="*/ 29575 w 34290"/>
                <a:gd name="connsiteY0" fmla="*/ 6429 h 85725"/>
                <a:gd name="connsiteX1" fmla="*/ 29575 w 34290"/>
                <a:gd name="connsiteY1" fmla="*/ 14145 h 85725"/>
                <a:gd name="connsiteX2" fmla="*/ 22717 w 34290"/>
                <a:gd name="connsiteY2" fmla="*/ 14145 h 85725"/>
                <a:gd name="connsiteX3" fmla="*/ 22717 w 34290"/>
                <a:gd name="connsiteY3" fmla="*/ 73295 h 85725"/>
                <a:gd name="connsiteX4" fmla="*/ 29575 w 34290"/>
                <a:gd name="connsiteY4" fmla="*/ 73295 h 85725"/>
                <a:gd name="connsiteX5" fmla="*/ 29575 w 34290"/>
                <a:gd name="connsiteY5" fmla="*/ 81010 h 85725"/>
                <a:gd name="connsiteX6" fmla="*/ 6429 w 34290"/>
                <a:gd name="connsiteY6" fmla="*/ 81010 h 85725"/>
                <a:gd name="connsiteX7" fmla="*/ 6429 w 34290"/>
                <a:gd name="connsiteY7" fmla="*/ 73295 h 85725"/>
                <a:gd name="connsiteX8" fmla="*/ 13287 w 34290"/>
                <a:gd name="connsiteY8" fmla="*/ 73295 h 85725"/>
                <a:gd name="connsiteX9" fmla="*/ 13287 w 34290"/>
                <a:gd name="connsiteY9" fmla="*/ 14145 h 85725"/>
                <a:gd name="connsiteX10" fmla="*/ 6429 w 34290"/>
                <a:gd name="connsiteY10" fmla="*/ 14145 h 85725"/>
                <a:gd name="connsiteX11" fmla="*/ 6429 w 34290"/>
                <a:gd name="connsiteY11" fmla="*/ 6429 h 85725"/>
                <a:gd name="connsiteX12" fmla="*/ 29575 w 34290"/>
                <a:gd name="connsiteY12" fmla="*/ 642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290" h="85725">
                  <a:moveTo>
                    <a:pt x="29575" y="6429"/>
                  </a:moveTo>
                  <a:lnTo>
                    <a:pt x="29575" y="14145"/>
                  </a:lnTo>
                  <a:lnTo>
                    <a:pt x="22717" y="14145"/>
                  </a:lnTo>
                  <a:lnTo>
                    <a:pt x="22717" y="73295"/>
                  </a:lnTo>
                  <a:lnTo>
                    <a:pt x="29575" y="73295"/>
                  </a:lnTo>
                  <a:lnTo>
                    <a:pt x="29575" y="81010"/>
                  </a:lnTo>
                  <a:lnTo>
                    <a:pt x="6429" y="81010"/>
                  </a:lnTo>
                  <a:lnTo>
                    <a:pt x="6429" y="73295"/>
                  </a:lnTo>
                  <a:lnTo>
                    <a:pt x="13287" y="73295"/>
                  </a:lnTo>
                  <a:lnTo>
                    <a:pt x="13287" y="14145"/>
                  </a:lnTo>
                  <a:lnTo>
                    <a:pt x="6429" y="14145"/>
                  </a:lnTo>
                  <a:lnTo>
                    <a:pt x="6429" y="6429"/>
                  </a:lnTo>
                  <a:lnTo>
                    <a:pt x="29575" y="6429"/>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14" name="任意多边形: 形状 113">
              <a:extLst>
                <a:ext uri="{FF2B5EF4-FFF2-40B4-BE49-F238E27FC236}">
                  <a16:creationId xmlns:a16="http://schemas.microsoft.com/office/drawing/2014/main" id="{A546E1BF-84FD-4515-8485-B38FC86AD3CC}"/>
                </a:ext>
              </a:extLst>
            </p:cNvPr>
            <p:cNvSpPr/>
            <p:nvPr/>
          </p:nvSpPr>
          <p:spPr>
            <a:xfrm>
              <a:off x="10893772" y="4277039"/>
              <a:ext cx="57630" cy="82327"/>
            </a:xfrm>
            <a:custGeom>
              <a:avLst/>
              <a:gdLst>
                <a:gd name="connsiteX0" fmla="*/ 61294 w 60007"/>
                <a:gd name="connsiteY0" fmla="*/ 78438 h 85725"/>
                <a:gd name="connsiteX1" fmla="*/ 40719 w 60007"/>
                <a:gd name="connsiteY1" fmla="*/ 82725 h 85725"/>
                <a:gd name="connsiteX2" fmla="*/ 15859 w 60007"/>
                <a:gd name="connsiteY2" fmla="*/ 72438 h 85725"/>
                <a:gd name="connsiteX3" fmla="*/ 6429 w 60007"/>
                <a:gd name="connsiteY3" fmla="*/ 45863 h 85725"/>
                <a:gd name="connsiteX4" fmla="*/ 16716 w 60007"/>
                <a:gd name="connsiteY4" fmla="*/ 17574 h 85725"/>
                <a:gd name="connsiteX5" fmla="*/ 43291 w 60007"/>
                <a:gd name="connsiteY5" fmla="*/ 6429 h 85725"/>
                <a:gd name="connsiteX6" fmla="*/ 60436 w 60007"/>
                <a:gd name="connsiteY6" fmla="*/ 9858 h 85725"/>
                <a:gd name="connsiteX7" fmla="*/ 60436 w 60007"/>
                <a:gd name="connsiteY7" fmla="*/ 19288 h 85725"/>
                <a:gd name="connsiteX8" fmla="*/ 43291 w 60007"/>
                <a:gd name="connsiteY8" fmla="*/ 15002 h 85725"/>
                <a:gd name="connsiteX9" fmla="*/ 22717 w 60007"/>
                <a:gd name="connsiteY9" fmla="*/ 23574 h 85725"/>
                <a:gd name="connsiteX10" fmla="*/ 15002 w 60007"/>
                <a:gd name="connsiteY10" fmla="*/ 45863 h 85725"/>
                <a:gd name="connsiteX11" fmla="*/ 22717 w 60007"/>
                <a:gd name="connsiteY11" fmla="*/ 67294 h 85725"/>
                <a:gd name="connsiteX12" fmla="*/ 42434 w 60007"/>
                <a:gd name="connsiteY12" fmla="*/ 75009 h 85725"/>
                <a:gd name="connsiteX13" fmla="*/ 61294 w 60007"/>
                <a:gd name="connsiteY13" fmla="*/ 69866 h 85725"/>
                <a:gd name="connsiteX14" fmla="*/ 61294 w 60007"/>
                <a:gd name="connsiteY14" fmla="*/ 7843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007" h="85725">
                  <a:moveTo>
                    <a:pt x="61294" y="78438"/>
                  </a:moveTo>
                  <a:cubicBezTo>
                    <a:pt x="56150" y="81010"/>
                    <a:pt x="49292" y="82725"/>
                    <a:pt x="40719" y="82725"/>
                  </a:cubicBezTo>
                  <a:cubicBezTo>
                    <a:pt x="30432" y="82725"/>
                    <a:pt x="21860" y="79296"/>
                    <a:pt x="15859" y="72438"/>
                  </a:cubicBezTo>
                  <a:cubicBezTo>
                    <a:pt x="9859" y="65580"/>
                    <a:pt x="6429" y="57007"/>
                    <a:pt x="6429" y="45863"/>
                  </a:cubicBezTo>
                  <a:cubicBezTo>
                    <a:pt x="6429" y="33861"/>
                    <a:pt x="9859" y="24432"/>
                    <a:pt x="16716" y="17574"/>
                  </a:cubicBezTo>
                  <a:cubicBezTo>
                    <a:pt x="23574" y="10716"/>
                    <a:pt x="33004" y="6429"/>
                    <a:pt x="43291" y="6429"/>
                  </a:cubicBezTo>
                  <a:cubicBezTo>
                    <a:pt x="50149" y="6429"/>
                    <a:pt x="56150" y="7287"/>
                    <a:pt x="60436" y="9858"/>
                  </a:cubicBezTo>
                  <a:lnTo>
                    <a:pt x="60436" y="19288"/>
                  </a:lnTo>
                  <a:cubicBezTo>
                    <a:pt x="55293" y="16716"/>
                    <a:pt x="49292" y="15002"/>
                    <a:pt x="43291" y="15002"/>
                  </a:cubicBezTo>
                  <a:cubicBezTo>
                    <a:pt x="34719" y="15002"/>
                    <a:pt x="27861" y="17574"/>
                    <a:pt x="22717" y="23574"/>
                  </a:cubicBezTo>
                  <a:cubicBezTo>
                    <a:pt x="17574" y="29575"/>
                    <a:pt x="15002" y="36433"/>
                    <a:pt x="15002" y="45863"/>
                  </a:cubicBezTo>
                  <a:cubicBezTo>
                    <a:pt x="15002" y="54435"/>
                    <a:pt x="17574" y="62151"/>
                    <a:pt x="22717" y="67294"/>
                  </a:cubicBezTo>
                  <a:cubicBezTo>
                    <a:pt x="27861" y="72438"/>
                    <a:pt x="33861" y="75009"/>
                    <a:pt x="42434" y="75009"/>
                  </a:cubicBezTo>
                  <a:cubicBezTo>
                    <a:pt x="50149" y="75009"/>
                    <a:pt x="56150" y="73295"/>
                    <a:pt x="61294" y="69866"/>
                  </a:cubicBezTo>
                  <a:lnTo>
                    <a:pt x="61294" y="78438"/>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17" name="任意多边形: 形状 116">
              <a:extLst>
                <a:ext uri="{FF2B5EF4-FFF2-40B4-BE49-F238E27FC236}">
                  <a16:creationId xmlns:a16="http://schemas.microsoft.com/office/drawing/2014/main" id="{280E147A-41E2-497F-ADE4-4203E40C2CF7}"/>
                </a:ext>
              </a:extLst>
            </p:cNvPr>
            <p:cNvSpPr/>
            <p:nvPr/>
          </p:nvSpPr>
          <p:spPr>
            <a:xfrm>
              <a:off x="10334769" y="3753437"/>
              <a:ext cx="288146" cy="238750"/>
            </a:xfrm>
            <a:custGeom>
              <a:avLst/>
              <a:gdLst>
                <a:gd name="connsiteX0" fmla="*/ 149590 w 300037"/>
                <a:gd name="connsiteY0" fmla="*/ 246459 h 248602"/>
                <a:gd name="connsiteX1" fmla="*/ 6429 w 300037"/>
                <a:gd name="connsiteY1" fmla="*/ 244745 h 248602"/>
                <a:gd name="connsiteX2" fmla="*/ 6429 w 300037"/>
                <a:gd name="connsiteY2" fmla="*/ 30432 h 248602"/>
                <a:gd name="connsiteX3" fmla="*/ 153019 w 300037"/>
                <a:gd name="connsiteY3" fmla="*/ 30432 h 248602"/>
                <a:gd name="connsiteX4" fmla="*/ 299609 w 300037"/>
                <a:gd name="connsiteY4" fmla="*/ 30432 h 248602"/>
                <a:gd name="connsiteX5" fmla="*/ 299609 w 300037"/>
                <a:gd name="connsiteY5" fmla="*/ 245602 h 248602"/>
                <a:gd name="connsiteX6" fmla="*/ 149590 w 300037"/>
                <a:gd name="connsiteY6" fmla="*/ 246459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037" h="248602">
                  <a:moveTo>
                    <a:pt x="149590" y="246459"/>
                  </a:moveTo>
                  <a:cubicBezTo>
                    <a:pt x="149590" y="246459"/>
                    <a:pt x="99013" y="195882"/>
                    <a:pt x="6429" y="244745"/>
                  </a:cubicBezTo>
                  <a:lnTo>
                    <a:pt x="6429" y="30432"/>
                  </a:lnTo>
                  <a:cubicBezTo>
                    <a:pt x="6429" y="30432"/>
                    <a:pt x="101584" y="-23574"/>
                    <a:pt x="153019" y="30432"/>
                  </a:cubicBezTo>
                  <a:lnTo>
                    <a:pt x="299609" y="30432"/>
                  </a:lnTo>
                  <a:lnTo>
                    <a:pt x="299609" y="245602"/>
                  </a:lnTo>
                  <a:lnTo>
                    <a:pt x="149590" y="246459"/>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18" name="任意多边形: 形状 117">
              <a:extLst>
                <a:ext uri="{FF2B5EF4-FFF2-40B4-BE49-F238E27FC236}">
                  <a16:creationId xmlns:a16="http://schemas.microsoft.com/office/drawing/2014/main" id="{BB3B3D82-4613-475C-8873-7070EF0691D3}"/>
                </a:ext>
              </a:extLst>
            </p:cNvPr>
            <p:cNvSpPr/>
            <p:nvPr/>
          </p:nvSpPr>
          <p:spPr>
            <a:xfrm>
              <a:off x="9918193" y="4478741"/>
              <a:ext cx="1399565"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19" name="任意多边形: 形状 118">
              <a:extLst>
                <a:ext uri="{FF2B5EF4-FFF2-40B4-BE49-F238E27FC236}">
                  <a16:creationId xmlns:a16="http://schemas.microsoft.com/office/drawing/2014/main" id="{49E2BAF4-029A-49E1-A29B-3BACA8148952}"/>
                </a:ext>
              </a:extLst>
            </p:cNvPr>
            <p:cNvSpPr/>
            <p:nvPr/>
          </p:nvSpPr>
          <p:spPr>
            <a:xfrm>
              <a:off x="9918193" y="4643395"/>
              <a:ext cx="1399565"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20" name="任意多边形: 形状 119">
              <a:extLst>
                <a:ext uri="{FF2B5EF4-FFF2-40B4-BE49-F238E27FC236}">
                  <a16:creationId xmlns:a16="http://schemas.microsoft.com/office/drawing/2014/main" id="{E3F1603E-9458-4BFF-B00A-2AD13570FFFE}"/>
                </a:ext>
              </a:extLst>
            </p:cNvPr>
            <p:cNvSpPr/>
            <p:nvPr/>
          </p:nvSpPr>
          <p:spPr>
            <a:xfrm>
              <a:off x="9918193" y="4808050"/>
              <a:ext cx="1399565"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21" name="任意多边形: 形状 120">
              <a:extLst>
                <a:ext uri="{FF2B5EF4-FFF2-40B4-BE49-F238E27FC236}">
                  <a16:creationId xmlns:a16="http://schemas.microsoft.com/office/drawing/2014/main" id="{D6A76470-4E43-4F24-AE62-EA2C70C1E5B2}"/>
                </a:ext>
              </a:extLst>
            </p:cNvPr>
            <p:cNvSpPr/>
            <p:nvPr/>
          </p:nvSpPr>
          <p:spPr>
            <a:xfrm>
              <a:off x="9918193" y="4972705"/>
              <a:ext cx="1399565"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22" name="任意多边形: 形状 121">
              <a:extLst>
                <a:ext uri="{FF2B5EF4-FFF2-40B4-BE49-F238E27FC236}">
                  <a16:creationId xmlns:a16="http://schemas.microsoft.com/office/drawing/2014/main" id="{D81C5726-D5E2-4526-B6C2-7AB32240FE97}"/>
                </a:ext>
              </a:extLst>
            </p:cNvPr>
            <p:cNvSpPr/>
            <p:nvPr/>
          </p:nvSpPr>
          <p:spPr>
            <a:xfrm>
              <a:off x="10486251" y="5137359"/>
              <a:ext cx="831507" cy="24699"/>
            </a:xfrm>
            <a:custGeom>
              <a:avLst/>
              <a:gdLst>
                <a:gd name="connsiteX0" fmla="*/ 6429 w 865822"/>
                <a:gd name="connsiteY0" fmla="*/ 6429 h 25717"/>
                <a:gd name="connsiteX1" fmla="*/ 863679 w 865822"/>
                <a:gd name="connsiteY1" fmla="*/ 6429 h 25717"/>
                <a:gd name="connsiteX2" fmla="*/ 863679 w 865822"/>
                <a:gd name="connsiteY2" fmla="*/ 23574 h 25717"/>
                <a:gd name="connsiteX3" fmla="*/ 6429 w 865822"/>
                <a:gd name="connsiteY3" fmla="*/ 23574 h 25717"/>
              </a:gdLst>
              <a:ahLst/>
              <a:cxnLst>
                <a:cxn ang="0">
                  <a:pos x="connsiteX0" y="connsiteY0"/>
                </a:cxn>
                <a:cxn ang="0">
                  <a:pos x="connsiteX1" y="connsiteY1"/>
                </a:cxn>
                <a:cxn ang="0">
                  <a:pos x="connsiteX2" y="connsiteY2"/>
                </a:cxn>
                <a:cxn ang="0">
                  <a:pos x="connsiteX3" y="connsiteY3"/>
                </a:cxn>
              </a:cxnLst>
              <a:rect l="l" t="t" r="r" b="b"/>
              <a:pathLst>
                <a:path w="865822" h="25717">
                  <a:moveTo>
                    <a:pt x="6429" y="6429"/>
                  </a:moveTo>
                  <a:lnTo>
                    <a:pt x="863679" y="6429"/>
                  </a:lnTo>
                  <a:lnTo>
                    <a:pt x="863679" y="23574"/>
                  </a:lnTo>
                  <a:lnTo>
                    <a:pt x="6429" y="23574"/>
                  </a:lnTo>
                  <a:close/>
                </a:path>
              </a:pathLst>
            </a:custGeom>
            <a:solidFill>
              <a:schemeClr val="accent2">
                <a:lumMod val="75000"/>
              </a:schemeClr>
            </a:solidFill>
            <a:ln w="9525" cap="flat">
              <a:noFill/>
              <a:prstDash val="solid"/>
              <a:miter/>
            </a:ln>
          </p:spPr>
          <p:txBody>
            <a:bodyPr rtlCol="0" anchor="ctr"/>
            <a:lstStyle/>
            <a:p>
              <a:endParaRPr lang="zh-CN" altLang="en-US"/>
            </a:p>
          </p:txBody>
        </p:sp>
      </p:grpSp>
      <p:sp>
        <p:nvSpPr>
          <p:cNvPr id="2" name="文本框 1">
            <a:extLst>
              <a:ext uri="{FF2B5EF4-FFF2-40B4-BE49-F238E27FC236}">
                <a16:creationId xmlns:a16="http://schemas.microsoft.com/office/drawing/2014/main" id="{2C26EA36-354F-4995-AEB6-5B3312708A63}"/>
              </a:ext>
            </a:extLst>
          </p:cNvPr>
          <p:cNvSpPr txBox="1"/>
          <p:nvPr userDrawn="1"/>
        </p:nvSpPr>
        <p:spPr>
          <a:xfrm>
            <a:off x="7174720" y="5148185"/>
            <a:ext cx="2943050" cy="1569660"/>
          </a:xfrm>
          <a:prstGeom prst="rect">
            <a:avLst/>
          </a:prstGeom>
          <a:noFill/>
        </p:spPr>
        <p:txBody>
          <a:bodyPr wrap="square" rtlCol="0">
            <a:spAutoFit/>
          </a:bodyPr>
          <a:lstStyle/>
          <a:p>
            <a:r>
              <a:rPr lang="en-US" altLang="zh-CN" sz="3200" b="1" dirty="0">
                <a:solidFill>
                  <a:schemeClr val="tx2"/>
                </a:solidFill>
              </a:rPr>
              <a:t>DESIGN PATTERN</a:t>
            </a:r>
          </a:p>
          <a:p>
            <a:endParaRPr lang="en-US" altLang="zh-CN" sz="3200" b="1" dirty="0">
              <a:solidFill>
                <a:schemeClr val="tx2"/>
              </a:solidFill>
            </a:endParaRP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endCondLst>
                                    <p:cond evt="onNext" delay="0">
                                      <p:tgtEl>
                                        <p:sldTgt/>
                                      </p:tgtEl>
                                    </p:cond>
                                  </p:endCondLst>
                                  <p:childTnLst>
                                    <p:animRot by="21600000">
                                      <p:cBhvr>
                                        <p:cTn id="6" dur="3000" fill="hold"/>
                                        <p:tgtEl>
                                          <p:spTgt spid="10"/>
                                        </p:tgtEl>
                                        <p:attrNameLst>
                                          <p:attrName>r</p:attrName>
                                        </p:attrNameLst>
                                      </p:cBhvr>
                                    </p:animRot>
                                  </p:childTnLst>
                                </p:cTn>
                              </p:par>
                              <p:par>
                                <p:cTn id="7" presetID="8" presetClass="emph" presetSubtype="0" repeatCount="indefinite" fill="hold" grpId="0" nodeType="withEffect">
                                  <p:stCondLst>
                                    <p:cond delay="0"/>
                                  </p:stCondLst>
                                  <p:endCondLst>
                                    <p:cond evt="onNext" delay="0">
                                      <p:tgtEl>
                                        <p:sldTgt/>
                                      </p:tgtEl>
                                    </p:cond>
                                  </p:endCondLst>
                                  <p:childTnLst>
                                    <p:animRot by="21600000">
                                      <p:cBhvr>
                                        <p:cTn id="8" dur="3000" fill="hold"/>
                                        <p:tgtEl>
                                          <p:spTgt spid="16"/>
                                        </p:tgtEl>
                                        <p:attrNameLst>
                                          <p:attrName>r</p:attrName>
                                        </p:attrNameLst>
                                      </p:cBhvr>
                                    </p:animRot>
                                  </p:childTnLst>
                                </p:cTn>
                              </p:par>
                              <p:par>
                                <p:cTn id="9" presetID="8" presetClass="emph" presetSubtype="0" repeatCount="indefinite" fill="hold" grpId="0" nodeType="withEffect">
                                  <p:stCondLst>
                                    <p:cond delay="0"/>
                                  </p:stCondLst>
                                  <p:endCondLst>
                                    <p:cond evt="onNext" delay="0">
                                      <p:tgtEl>
                                        <p:sldTgt/>
                                      </p:tgtEl>
                                    </p:cond>
                                  </p:endCondLst>
                                  <p:childTnLst>
                                    <p:animRot by="-21600000">
                                      <p:cBhvr>
                                        <p:cTn id="10" dur="3000" fill="hold"/>
                                        <p:tgtEl>
                                          <p:spTgt spid="1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6"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9/12/1</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accent1"/>
        </a:solidFill>
        <a:effectLst/>
      </p:bgPr>
    </p:bg>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4791817" y="2419350"/>
            <a:ext cx="5419185" cy="895350"/>
          </a:xfr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4791817" y="3314700"/>
            <a:ext cx="5419185" cy="1015623"/>
          </a:xfrm>
        </p:spPr>
        <p:txBody>
          <a:bodyPr anchor="t">
            <a:normAutofit/>
          </a:bodyPr>
          <a:lstStyle>
            <a:lvl1pPr marL="0" indent="0" algn="l">
              <a:lnSpc>
                <a:spcPct val="100000"/>
              </a:lnSpc>
              <a:buNone/>
              <a:defRPr sz="11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7" name="任意多边形: 形状 6">
            <a:extLst>
              <a:ext uri="{FF2B5EF4-FFF2-40B4-BE49-F238E27FC236}">
                <a16:creationId xmlns:a16="http://schemas.microsoft.com/office/drawing/2014/main" id="{08F81237-8822-4200-92B6-007C660D750C}"/>
              </a:ext>
            </a:extLst>
          </p:cNvPr>
          <p:cNvSpPr/>
          <p:nvPr userDrawn="1"/>
        </p:nvSpPr>
        <p:spPr>
          <a:xfrm>
            <a:off x="2725352" y="524639"/>
            <a:ext cx="6251734" cy="5808721"/>
          </a:xfrm>
          <a:custGeom>
            <a:avLst/>
            <a:gdLst>
              <a:gd name="connsiteX0" fmla="*/ 3807697 w 6251734"/>
              <a:gd name="connsiteY0" fmla="*/ 5598000 h 5808721"/>
              <a:gd name="connsiteX1" fmla="*/ 3792649 w 6251734"/>
              <a:gd name="connsiteY1" fmla="*/ 5610966 h 5808721"/>
              <a:gd name="connsiteX2" fmla="*/ 3724407 w 6251734"/>
              <a:gd name="connsiteY2" fmla="*/ 5654281 h 5808721"/>
              <a:gd name="connsiteX3" fmla="*/ 3737518 w 6251734"/>
              <a:gd name="connsiteY3" fmla="*/ 5683584 h 5808721"/>
              <a:gd name="connsiteX4" fmla="*/ 3807904 w 6251734"/>
              <a:gd name="connsiteY4" fmla="*/ 5741855 h 5808721"/>
              <a:gd name="connsiteX5" fmla="*/ 3878291 w 6251734"/>
              <a:gd name="connsiteY5" fmla="*/ 5683584 h 5808721"/>
              <a:gd name="connsiteX6" fmla="*/ 3891370 w 6251734"/>
              <a:gd name="connsiteY6" fmla="*/ 5654352 h 5808721"/>
              <a:gd name="connsiteX7" fmla="*/ 3821929 w 6251734"/>
              <a:gd name="connsiteY7" fmla="*/ 5610228 h 5808721"/>
              <a:gd name="connsiteX8" fmla="*/ 3827101 w 6251734"/>
              <a:gd name="connsiteY8" fmla="*/ 5549255 h 5808721"/>
              <a:gd name="connsiteX9" fmla="*/ 3807904 w 6251734"/>
              <a:gd name="connsiteY9" fmla="*/ 5550689 h 5808721"/>
              <a:gd name="connsiteX10" fmla="*/ 3788212 w 6251734"/>
              <a:gd name="connsiteY10" fmla="*/ 5549599 h 5808721"/>
              <a:gd name="connsiteX11" fmla="*/ 3807470 w 6251734"/>
              <a:gd name="connsiteY11" fmla="*/ 5566172 h 5808721"/>
              <a:gd name="connsiteX12" fmla="*/ 3694058 w 6251734"/>
              <a:gd name="connsiteY12" fmla="*/ 5544387 h 5808721"/>
              <a:gd name="connsiteX13" fmla="*/ 3703452 w 6251734"/>
              <a:gd name="connsiteY13" fmla="*/ 5591293 h 5808721"/>
              <a:gd name="connsiteX14" fmla="*/ 3714172 w 6251734"/>
              <a:gd name="connsiteY14" fmla="*/ 5626491 h 5808721"/>
              <a:gd name="connsiteX15" fmla="*/ 3722717 w 6251734"/>
              <a:gd name="connsiteY15" fmla="*/ 5622628 h 5808721"/>
              <a:gd name="connsiteX16" fmla="*/ 3788068 w 6251734"/>
              <a:gd name="connsiteY16" fmla="*/ 5581136 h 5808721"/>
              <a:gd name="connsiteX17" fmla="*/ 3748826 w 6251734"/>
              <a:gd name="connsiteY17" fmla="*/ 5547419 h 5808721"/>
              <a:gd name="connsiteX18" fmla="*/ 3922198 w 6251734"/>
              <a:gd name="connsiteY18" fmla="*/ 5542152 h 5808721"/>
              <a:gd name="connsiteX19" fmla="*/ 3867799 w 6251734"/>
              <a:gd name="connsiteY19" fmla="*/ 5546215 h 5808721"/>
              <a:gd name="connsiteX20" fmla="*/ 3827145 w 6251734"/>
              <a:gd name="connsiteY20" fmla="*/ 5581244 h 5808721"/>
              <a:gd name="connsiteX21" fmla="*/ 3901775 w 6251734"/>
              <a:gd name="connsiteY21" fmla="*/ 5626039 h 5808721"/>
              <a:gd name="connsiteX22" fmla="*/ 3912357 w 6251734"/>
              <a:gd name="connsiteY22" fmla="*/ 5591293 h 5808721"/>
              <a:gd name="connsiteX23" fmla="*/ 3568695 w 6251734"/>
              <a:gd name="connsiteY23" fmla="*/ 5521810 h 5808721"/>
              <a:gd name="connsiteX24" fmla="*/ 3557706 w 6251734"/>
              <a:gd name="connsiteY24" fmla="*/ 5550648 h 5808721"/>
              <a:gd name="connsiteX25" fmla="*/ 3566160 w 6251734"/>
              <a:gd name="connsiteY25" fmla="*/ 5641559 h 5808721"/>
              <a:gd name="connsiteX26" fmla="*/ 3672538 w 6251734"/>
              <a:gd name="connsiteY26" fmla="*/ 5645312 h 5808721"/>
              <a:gd name="connsiteX27" fmla="*/ 3686711 w 6251734"/>
              <a:gd name="connsiteY27" fmla="*/ 5638905 h 5808721"/>
              <a:gd name="connsiteX28" fmla="*/ 3683653 w 6251734"/>
              <a:gd name="connsiteY28" fmla="*/ 5628857 h 5808721"/>
              <a:gd name="connsiteX29" fmla="*/ 3669753 w 6251734"/>
              <a:gd name="connsiteY29" fmla="*/ 5559542 h 5808721"/>
              <a:gd name="connsiteX30" fmla="*/ 3668350 w 6251734"/>
              <a:gd name="connsiteY30" fmla="*/ 5540767 h 5808721"/>
              <a:gd name="connsiteX31" fmla="*/ 3579717 w 6251734"/>
              <a:gd name="connsiteY31" fmla="*/ 5525147 h 5808721"/>
              <a:gd name="connsiteX32" fmla="*/ 4046585 w 6251734"/>
              <a:gd name="connsiteY32" fmla="*/ 5520939 h 5808721"/>
              <a:gd name="connsiteX33" fmla="*/ 3966777 w 6251734"/>
              <a:gd name="connsiteY33" fmla="*/ 5538822 h 5808721"/>
              <a:gd name="connsiteX34" fmla="*/ 3947602 w 6251734"/>
              <a:gd name="connsiteY34" fmla="*/ 5540254 h 5808721"/>
              <a:gd name="connsiteX35" fmla="*/ 3946176 w 6251734"/>
              <a:gd name="connsiteY35" fmla="*/ 5559542 h 5808721"/>
              <a:gd name="connsiteX36" fmla="*/ 3932381 w 6251734"/>
              <a:gd name="connsiteY36" fmla="*/ 5628857 h 5808721"/>
              <a:gd name="connsiteX37" fmla="*/ 3929132 w 6251734"/>
              <a:gd name="connsiteY37" fmla="*/ 5639587 h 5808721"/>
              <a:gd name="connsiteX38" fmla="*/ 3958740 w 6251734"/>
              <a:gd name="connsiteY38" fmla="*/ 5650869 h 5808721"/>
              <a:gd name="connsiteX39" fmla="*/ 4049650 w 6251734"/>
              <a:gd name="connsiteY39" fmla="*/ 5642415 h 5808721"/>
              <a:gd name="connsiteX40" fmla="*/ 4058104 w 6251734"/>
              <a:gd name="connsiteY40" fmla="*/ 5551128 h 5808721"/>
              <a:gd name="connsiteX41" fmla="*/ 3688846 w 6251734"/>
              <a:gd name="connsiteY41" fmla="*/ 5493292 h 5808721"/>
              <a:gd name="connsiteX42" fmla="*/ 3690677 w 6251734"/>
              <a:gd name="connsiteY42" fmla="*/ 5517905 h 5808721"/>
              <a:gd name="connsiteX43" fmla="*/ 3706306 w 6251734"/>
              <a:gd name="connsiteY43" fmla="*/ 5520689 h 5808721"/>
              <a:gd name="connsiteX44" fmla="*/ 3718556 w 6251734"/>
              <a:gd name="connsiteY44" fmla="*/ 5521412 h 5808721"/>
              <a:gd name="connsiteX45" fmla="*/ 3700748 w 6251734"/>
              <a:gd name="connsiteY45" fmla="*/ 5506112 h 5808721"/>
              <a:gd name="connsiteX46" fmla="*/ 3927084 w 6251734"/>
              <a:gd name="connsiteY46" fmla="*/ 5491676 h 5808721"/>
              <a:gd name="connsiteX47" fmla="*/ 3913348 w 6251734"/>
              <a:gd name="connsiteY47" fmla="*/ 5506970 h 5808721"/>
              <a:gd name="connsiteX48" fmla="*/ 3898270 w 6251734"/>
              <a:gd name="connsiteY48" fmla="*/ 5519961 h 5808721"/>
              <a:gd name="connsiteX49" fmla="*/ 3925127 w 6251734"/>
              <a:gd name="connsiteY49" fmla="*/ 5517962 h 5808721"/>
              <a:gd name="connsiteX50" fmla="*/ 2666906 w 6251734"/>
              <a:gd name="connsiteY50" fmla="*/ 5428104 h 5808721"/>
              <a:gd name="connsiteX51" fmla="*/ 2906936 w 6251734"/>
              <a:gd name="connsiteY51" fmla="*/ 5566121 h 5808721"/>
              <a:gd name="connsiteX52" fmla="*/ 2986661 w 6251734"/>
              <a:gd name="connsiteY52" fmla="*/ 5428961 h 5808721"/>
              <a:gd name="connsiteX53" fmla="*/ 2421698 w 6251734"/>
              <a:gd name="connsiteY53" fmla="*/ 5427947 h 5808721"/>
              <a:gd name="connsiteX54" fmla="*/ 2911499 w 6251734"/>
              <a:gd name="connsiteY54" fmla="*/ 5711122 h 5808721"/>
              <a:gd name="connsiteX55" fmla="*/ 2873313 w 6251734"/>
              <a:gd name="connsiteY55" fmla="*/ 5777171 h 5808721"/>
              <a:gd name="connsiteX56" fmla="*/ 2383512 w 6251734"/>
              <a:gd name="connsiteY56" fmla="*/ 5493996 h 5808721"/>
              <a:gd name="connsiteX57" fmla="*/ 3626020 w 6251734"/>
              <a:gd name="connsiteY57" fmla="*/ 5422235 h 5808721"/>
              <a:gd name="connsiteX58" fmla="*/ 3598818 w 6251734"/>
              <a:gd name="connsiteY58" fmla="*/ 5461243 h 5808721"/>
              <a:gd name="connsiteX59" fmla="*/ 3581388 w 6251734"/>
              <a:gd name="connsiteY59" fmla="*/ 5494011 h 5808721"/>
              <a:gd name="connsiteX60" fmla="*/ 3616801 w 6251734"/>
              <a:gd name="connsiteY60" fmla="*/ 5504746 h 5808721"/>
              <a:gd name="connsiteX61" fmla="*/ 3666318 w 6251734"/>
              <a:gd name="connsiteY61" fmla="*/ 5513566 h 5808721"/>
              <a:gd name="connsiteX62" fmla="*/ 3662700 w 6251734"/>
              <a:gd name="connsiteY62" fmla="*/ 5465131 h 5808721"/>
              <a:gd name="connsiteX63" fmla="*/ 3644732 w 6251734"/>
              <a:gd name="connsiteY63" fmla="*/ 5445778 h 5808721"/>
              <a:gd name="connsiteX64" fmla="*/ 3990100 w 6251734"/>
              <a:gd name="connsiteY64" fmla="*/ 5421513 h 5808721"/>
              <a:gd name="connsiteX65" fmla="*/ 3953357 w 6251734"/>
              <a:gd name="connsiteY65" fmla="*/ 5462423 h 5808721"/>
              <a:gd name="connsiteX66" fmla="*/ 3949475 w 6251734"/>
              <a:gd name="connsiteY66" fmla="*/ 5514925 h 5808721"/>
              <a:gd name="connsiteX67" fmla="*/ 4025703 w 6251734"/>
              <a:gd name="connsiteY67" fmla="*/ 5497859 h 5808721"/>
              <a:gd name="connsiteX68" fmla="*/ 4034309 w 6251734"/>
              <a:gd name="connsiteY68" fmla="*/ 5494362 h 5808721"/>
              <a:gd name="connsiteX69" fmla="*/ 4016993 w 6251734"/>
              <a:gd name="connsiteY69" fmla="*/ 5461874 h 5808721"/>
              <a:gd name="connsiteX70" fmla="*/ 3956426 w 6251734"/>
              <a:gd name="connsiteY70" fmla="*/ 5380419 h 5808721"/>
              <a:gd name="connsiteX71" fmla="*/ 3957923 w 6251734"/>
              <a:gd name="connsiteY71" fmla="*/ 5400670 h 5808721"/>
              <a:gd name="connsiteX72" fmla="*/ 3956295 w 6251734"/>
              <a:gd name="connsiteY72" fmla="*/ 5422687 h 5808721"/>
              <a:gd name="connsiteX73" fmla="*/ 3964989 w 6251734"/>
              <a:gd name="connsiteY73" fmla="*/ 5412959 h 5808721"/>
              <a:gd name="connsiteX74" fmla="*/ 3973699 w 6251734"/>
              <a:gd name="connsiteY74" fmla="*/ 5400468 h 5808721"/>
              <a:gd name="connsiteX75" fmla="*/ 3659650 w 6251734"/>
              <a:gd name="connsiteY75" fmla="*/ 5376790 h 5808721"/>
              <a:gd name="connsiteX76" fmla="*/ 3650822 w 6251734"/>
              <a:gd name="connsiteY76" fmla="*/ 5386669 h 5808721"/>
              <a:gd name="connsiteX77" fmla="*/ 3641492 w 6251734"/>
              <a:gd name="connsiteY77" fmla="*/ 5400048 h 5808721"/>
              <a:gd name="connsiteX78" fmla="*/ 3659392 w 6251734"/>
              <a:gd name="connsiteY78" fmla="*/ 5420848 h 5808721"/>
              <a:gd name="connsiteX79" fmla="*/ 3657885 w 6251734"/>
              <a:gd name="connsiteY79" fmla="*/ 5400670 h 5808721"/>
              <a:gd name="connsiteX80" fmla="*/ 2450878 w 6251734"/>
              <a:gd name="connsiteY80" fmla="*/ 5356093 h 5808721"/>
              <a:gd name="connsiteX81" fmla="*/ 3103247 w 6251734"/>
              <a:gd name="connsiteY81" fmla="*/ 5381811 h 5808721"/>
              <a:gd name="connsiteX82" fmla="*/ 2950656 w 6251734"/>
              <a:gd name="connsiteY82" fmla="*/ 5644988 h 5808721"/>
              <a:gd name="connsiteX83" fmla="*/ 3808763 w 6251734"/>
              <a:gd name="connsiteY83" fmla="*/ 5338091 h 5808721"/>
              <a:gd name="connsiteX84" fmla="*/ 3871342 w 6251734"/>
              <a:gd name="connsiteY84" fmla="*/ 5400671 h 5808721"/>
              <a:gd name="connsiteX85" fmla="*/ 3808763 w 6251734"/>
              <a:gd name="connsiteY85" fmla="*/ 5463250 h 5808721"/>
              <a:gd name="connsiteX86" fmla="*/ 3746183 w 6251734"/>
              <a:gd name="connsiteY86" fmla="*/ 5400671 h 5808721"/>
              <a:gd name="connsiteX87" fmla="*/ 3808763 w 6251734"/>
              <a:gd name="connsiteY87" fmla="*/ 5338091 h 5808721"/>
              <a:gd name="connsiteX88" fmla="*/ 3553198 w 6251734"/>
              <a:gd name="connsiteY88" fmla="*/ 5318476 h 5808721"/>
              <a:gd name="connsiteX89" fmla="*/ 3524133 w 6251734"/>
              <a:gd name="connsiteY89" fmla="*/ 5330284 h 5808721"/>
              <a:gd name="connsiteX90" fmla="*/ 3465862 w 6251734"/>
              <a:gd name="connsiteY90" fmla="*/ 5400670 h 5808721"/>
              <a:gd name="connsiteX91" fmla="*/ 3524359 w 6251734"/>
              <a:gd name="connsiteY91" fmla="*/ 5470831 h 5808721"/>
              <a:gd name="connsiteX92" fmla="*/ 3552494 w 6251734"/>
              <a:gd name="connsiteY92" fmla="*/ 5483326 h 5808721"/>
              <a:gd name="connsiteX93" fmla="*/ 3557534 w 6251734"/>
              <a:gd name="connsiteY93" fmla="*/ 5473887 h 5808721"/>
              <a:gd name="connsiteX94" fmla="*/ 3608797 w 6251734"/>
              <a:gd name="connsiteY94" fmla="*/ 5400567 h 5808721"/>
              <a:gd name="connsiteX95" fmla="*/ 3596753 w 6251734"/>
              <a:gd name="connsiteY95" fmla="*/ 5385414 h 5808721"/>
              <a:gd name="connsiteX96" fmla="*/ 3557534 w 6251734"/>
              <a:gd name="connsiteY96" fmla="*/ 5326597 h 5808721"/>
              <a:gd name="connsiteX97" fmla="*/ 4062445 w 6251734"/>
              <a:gd name="connsiteY97" fmla="*/ 5317336 h 5808721"/>
              <a:gd name="connsiteX98" fmla="*/ 4057165 w 6251734"/>
              <a:gd name="connsiteY98" fmla="*/ 5327229 h 5808721"/>
              <a:gd name="connsiteX99" fmla="*/ 4006091 w 6251734"/>
              <a:gd name="connsiteY99" fmla="*/ 5400156 h 5808721"/>
              <a:gd name="connsiteX100" fmla="*/ 4017343 w 6251734"/>
              <a:gd name="connsiteY100" fmla="*/ 5414333 h 5808721"/>
              <a:gd name="connsiteX101" fmla="*/ 4056562 w 6251734"/>
              <a:gd name="connsiteY101" fmla="*/ 5473256 h 5808721"/>
              <a:gd name="connsiteX102" fmla="*/ 4061849 w 6251734"/>
              <a:gd name="connsiteY102" fmla="*/ 5483174 h 5808721"/>
              <a:gd name="connsiteX103" fmla="*/ 4091676 w 6251734"/>
              <a:gd name="connsiteY103" fmla="*/ 5471057 h 5808721"/>
              <a:gd name="connsiteX104" fmla="*/ 4149947 w 6251734"/>
              <a:gd name="connsiteY104" fmla="*/ 5400670 h 5808721"/>
              <a:gd name="connsiteX105" fmla="*/ 4091450 w 6251734"/>
              <a:gd name="connsiteY105" fmla="*/ 5330284 h 5808721"/>
              <a:gd name="connsiteX106" fmla="*/ 3949551 w 6251734"/>
              <a:gd name="connsiteY106" fmla="*/ 5287441 h 5808721"/>
              <a:gd name="connsiteX107" fmla="*/ 3953173 w 6251734"/>
              <a:gd name="connsiteY107" fmla="*/ 5336435 h 5808721"/>
              <a:gd name="connsiteX108" fmla="*/ 3969364 w 6251734"/>
              <a:gd name="connsiteY108" fmla="*/ 5353884 h 5808721"/>
              <a:gd name="connsiteX109" fmla="*/ 3988964 w 6251734"/>
              <a:gd name="connsiteY109" fmla="*/ 5378578 h 5808721"/>
              <a:gd name="connsiteX110" fmla="*/ 4016993 w 6251734"/>
              <a:gd name="connsiteY110" fmla="*/ 5338385 h 5808721"/>
              <a:gd name="connsiteX111" fmla="*/ 4033793 w 6251734"/>
              <a:gd name="connsiteY111" fmla="*/ 5306800 h 5808721"/>
              <a:gd name="connsiteX112" fmla="*/ 3999007 w 6251734"/>
              <a:gd name="connsiteY112" fmla="*/ 5296218 h 5808721"/>
              <a:gd name="connsiteX113" fmla="*/ 3666333 w 6251734"/>
              <a:gd name="connsiteY113" fmla="*/ 5286416 h 5808721"/>
              <a:gd name="connsiteX114" fmla="*/ 3590106 w 6251734"/>
              <a:gd name="connsiteY114" fmla="*/ 5303482 h 5808721"/>
              <a:gd name="connsiteX115" fmla="*/ 3581629 w 6251734"/>
              <a:gd name="connsiteY115" fmla="*/ 5306926 h 5808721"/>
              <a:gd name="connsiteX116" fmla="*/ 3598818 w 6251734"/>
              <a:gd name="connsiteY116" fmla="*/ 5339241 h 5808721"/>
              <a:gd name="connsiteX117" fmla="*/ 3625164 w 6251734"/>
              <a:gd name="connsiteY117" fmla="*/ 5378866 h 5808721"/>
              <a:gd name="connsiteX118" fmla="*/ 3662590 w 6251734"/>
              <a:gd name="connsiteY118" fmla="*/ 5337028 h 5808721"/>
              <a:gd name="connsiteX119" fmla="*/ 1925384 w 6251734"/>
              <a:gd name="connsiteY119" fmla="*/ 5284084 h 5808721"/>
              <a:gd name="connsiteX120" fmla="*/ 1867091 w 6251734"/>
              <a:gd name="connsiteY120" fmla="*/ 5343235 h 5808721"/>
              <a:gd name="connsiteX121" fmla="*/ 1925384 w 6251734"/>
              <a:gd name="connsiteY121" fmla="*/ 5402385 h 5808721"/>
              <a:gd name="connsiteX122" fmla="*/ 1983677 w 6251734"/>
              <a:gd name="connsiteY122" fmla="*/ 5343235 h 5808721"/>
              <a:gd name="connsiteX123" fmla="*/ 1925384 w 6251734"/>
              <a:gd name="connsiteY123" fmla="*/ 5284084 h 5808721"/>
              <a:gd name="connsiteX124" fmla="*/ 3715682 w 6251734"/>
              <a:gd name="connsiteY124" fmla="*/ 5281518 h 5808721"/>
              <a:gd name="connsiteX125" fmla="*/ 3690553 w 6251734"/>
              <a:gd name="connsiteY125" fmla="*/ 5283388 h 5808721"/>
              <a:gd name="connsiteX126" fmla="*/ 3688737 w 6251734"/>
              <a:gd name="connsiteY126" fmla="*/ 5307799 h 5808721"/>
              <a:gd name="connsiteX127" fmla="*/ 3700748 w 6251734"/>
              <a:gd name="connsiteY127" fmla="*/ 5294372 h 5808721"/>
              <a:gd name="connsiteX128" fmla="*/ 3897255 w 6251734"/>
              <a:gd name="connsiteY128" fmla="*/ 5279649 h 5808721"/>
              <a:gd name="connsiteX129" fmla="*/ 3913348 w 6251734"/>
              <a:gd name="connsiteY129" fmla="*/ 5293515 h 5808721"/>
              <a:gd name="connsiteX130" fmla="*/ 3927113 w 6251734"/>
              <a:gd name="connsiteY130" fmla="*/ 5308350 h 5808721"/>
              <a:gd name="connsiteX131" fmla="*/ 3925236 w 6251734"/>
              <a:gd name="connsiteY131" fmla="*/ 5283126 h 5808721"/>
              <a:gd name="connsiteX132" fmla="*/ 3909502 w 6251734"/>
              <a:gd name="connsiteY132" fmla="*/ 5280333 h 5808721"/>
              <a:gd name="connsiteX133" fmla="*/ 3807904 w 6251734"/>
              <a:gd name="connsiteY133" fmla="*/ 5274654 h 5808721"/>
              <a:gd name="connsiteX134" fmla="*/ 3756063 w 6251734"/>
              <a:gd name="connsiteY134" fmla="*/ 5278512 h 5808721"/>
              <a:gd name="connsiteX135" fmla="*/ 3718751 w 6251734"/>
              <a:gd name="connsiteY135" fmla="*/ 5310660 h 5808721"/>
              <a:gd name="connsiteX136" fmla="*/ 3685778 w 6251734"/>
              <a:gd name="connsiteY136" fmla="*/ 5347555 h 5808721"/>
              <a:gd name="connsiteX137" fmla="*/ 3681889 w 6251734"/>
              <a:gd name="connsiteY137" fmla="*/ 5399812 h 5808721"/>
              <a:gd name="connsiteX138" fmla="*/ 3685732 w 6251734"/>
              <a:gd name="connsiteY138" fmla="*/ 5451455 h 5808721"/>
              <a:gd name="connsiteX139" fmla="*/ 3718751 w 6251734"/>
              <a:gd name="connsiteY139" fmla="*/ 5489824 h 5808721"/>
              <a:gd name="connsiteX140" fmla="*/ 3758175 w 6251734"/>
              <a:gd name="connsiteY140" fmla="*/ 5523751 h 5808721"/>
              <a:gd name="connsiteX141" fmla="*/ 3807904 w 6251734"/>
              <a:gd name="connsiteY141" fmla="*/ 5526686 h 5808721"/>
              <a:gd name="connsiteX142" fmla="*/ 3857581 w 6251734"/>
              <a:gd name="connsiteY142" fmla="*/ 5522989 h 5808721"/>
              <a:gd name="connsiteX143" fmla="*/ 3897060 w 6251734"/>
              <a:gd name="connsiteY143" fmla="*/ 5488968 h 5808721"/>
              <a:gd name="connsiteX144" fmla="*/ 3930031 w 6251734"/>
              <a:gd name="connsiteY144" fmla="*/ 5452075 h 5808721"/>
              <a:gd name="connsiteX145" fmla="*/ 3933920 w 6251734"/>
              <a:gd name="connsiteY145" fmla="*/ 5399812 h 5808721"/>
              <a:gd name="connsiteX146" fmla="*/ 3930213 w 6251734"/>
              <a:gd name="connsiteY146" fmla="*/ 5349995 h 5808721"/>
              <a:gd name="connsiteX147" fmla="*/ 3897060 w 6251734"/>
              <a:gd name="connsiteY147" fmla="*/ 5311517 h 5808721"/>
              <a:gd name="connsiteX148" fmla="*/ 3857442 w 6251734"/>
              <a:gd name="connsiteY148" fmla="*/ 5277423 h 5808721"/>
              <a:gd name="connsiteX149" fmla="*/ 3807355 w 6251734"/>
              <a:gd name="connsiteY149" fmla="*/ 5234320 h 5808721"/>
              <a:gd name="connsiteX150" fmla="*/ 3786569 w 6251734"/>
              <a:gd name="connsiteY150" fmla="*/ 5252229 h 5808721"/>
              <a:gd name="connsiteX151" fmla="*/ 3807904 w 6251734"/>
              <a:gd name="connsiteY151" fmla="*/ 5250651 h 5808721"/>
              <a:gd name="connsiteX152" fmla="*/ 3827599 w 6251734"/>
              <a:gd name="connsiteY152" fmla="*/ 5251741 h 5808721"/>
              <a:gd name="connsiteX153" fmla="*/ 1827657 w 6251734"/>
              <a:gd name="connsiteY153" fmla="*/ 5200074 h 5808721"/>
              <a:gd name="connsiteX154" fmla="*/ 1773650 w 6251734"/>
              <a:gd name="connsiteY154" fmla="*/ 5254938 h 5808721"/>
              <a:gd name="connsiteX155" fmla="*/ 1827657 w 6251734"/>
              <a:gd name="connsiteY155" fmla="*/ 5309802 h 5808721"/>
              <a:gd name="connsiteX156" fmla="*/ 1881664 w 6251734"/>
              <a:gd name="connsiteY156" fmla="*/ 5254938 h 5808721"/>
              <a:gd name="connsiteX157" fmla="*/ 1827657 w 6251734"/>
              <a:gd name="connsiteY157" fmla="*/ 5200074 h 5808721"/>
              <a:gd name="connsiteX158" fmla="*/ 3713592 w 6251734"/>
              <a:gd name="connsiteY158" fmla="*/ 5175036 h 5808721"/>
              <a:gd name="connsiteX159" fmla="*/ 3703452 w 6251734"/>
              <a:gd name="connsiteY159" fmla="*/ 5208333 h 5808721"/>
              <a:gd name="connsiteX160" fmla="*/ 3693280 w 6251734"/>
              <a:gd name="connsiteY160" fmla="*/ 5259127 h 5808721"/>
              <a:gd name="connsiteX161" fmla="*/ 3746245 w 6251734"/>
              <a:gd name="connsiteY161" fmla="*/ 5255210 h 5808721"/>
              <a:gd name="connsiteX162" fmla="*/ 3787708 w 6251734"/>
              <a:gd name="connsiteY162" fmla="*/ 5219522 h 5808721"/>
              <a:gd name="connsiteX163" fmla="*/ 3901951 w 6251734"/>
              <a:gd name="connsiteY163" fmla="*/ 5174164 h 5808721"/>
              <a:gd name="connsiteX164" fmla="*/ 3827088 w 6251734"/>
              <a:gd name="connsiteY164" fmla="*/ 5219192 h 5808721"/>
              <a:gd name="connsiteX165" fmla="*/ 3867424 w 6251734"/>
              <a:gd name="connsiteY165" fmla="*/ 5253946 h 5808721"/>
              <a:gd name="connsiteX166" fmla="*/ 3922098 w 6251734"/>
              <a:gd name="connsiteY166" fmla="*/ 5256973 h 5808721"/>
              <a:gd name="connsiteX167" fmla="*/ 3912357 w 6251734"/>
              <a:gd name="connsiteY167" fmla="*/ 5208333 h 5808721"/>
              <a:gd name="connsiteX168" fmla="*/ 4932831 w 6251734"/>
              <a:gd name="connsiteY168" fmla="*/ 5171785 h 5808721"/>
              <a:gd name="connsiteX169" fmla="*/ 4857179 w 6251734"/>
              <a:gd name="connsiteY169" fmla="*/ 5190645 h 5808721"/>
              <a:gd name="connsiteX170" fmla="*/ 4836605 w 6251734"/>
              <a:gd name="connsiteY170" fmla="*/ 5332091 h 5808721"/>
              <a:gd name="connsiteX171" fmla="*/ 4978051 w 6251734"/>
              <a:gd name="connsiteY171" fmla="*/ 5353523 h 5808721"/>
              <a:gd name="connsiteX172" fmla="*/ 4999483 w 6251734"/>
              <a:gd name="connsiteY172" fmla="*/ 5212076 h 5808721"/>
              <a:gd name="connsiteX173" fmla="*/ 4932831 w 6251734"/>
              <a:gd name="connsiteY173" fmla="*/ 5171785 h 5808721"/>
              <a:gd name="connsiteX174" fmla="*/ 3619671 w 6251734"/>
              <a:gd name="connsiteY174" fmla="*/ 5143348 h 5808721"/>
              <a:gd name="connsiteX175" fmla="*/ 3566160 w 6251734"/>
              <a:gd name="connsiteY175" fmla="*/ 5158925 h 5808721"/>
              <a:gd name="connsiteX176" fmla="*/ 3557706 w 6251734"/>
              <a:gd name="connsiteY176" fmla="*/ 5249836 h 5808721"/>
              <a:gd name="connsiteX177" fmla="*/ 3569257 w 6251734"/>
              <a:gd name="connsiteY177" fmla="*/ 5280149 h 5808721"/>
              <a:gd name="connsiteX178" fmla="*/ 3649032 w 6251734"/>
              <a:gd name="connsiteY178" fmla="*/ 5262398 h 5808721"/>
              <a:gd name="connsiteX179" fmla="*/ 3668214 w 6251734"/>
              <a:gd name="connsiteY179" fmla="*/ 5260980 h 5808721"/>
              <a:gd name="connsiteX180" fmla="*/ 3669632 w 6251734"/>
              <a:gd name="connsiteY180" fmla="*/ 5241797 h 5808721"/>
              <a:gd name="connsiteX181" fmla="*/ 3683427 w 6251734"/>
              <a:gd name="connsiteY181" fmla="*/ 5172482 h 5808721"/>
              <a:gd name="connsiteX182" fmla="*/ 3686676 w 6251734"/>
              <a:gd name="connsiteY182" fmla="*/ 5161753 h 5808721"/>
              <a:gd name="connsiteX183" fmla="*/ 3657070 w 6251734"/>
              <a:gd name="connsiteY183" fmla="*/ 5150472 h 5808721"/>
              <a:gd name="connsiteX184" fmla="*/ 3619671 w 6251734"/>
              <a:gd name="connsiteY184" fmla="*/ 5143348 h 5808721"/>
              <a:gd name="connsiteX185" fmla="*/ 3995778 w 6251734"/>
              <a:gd name="connsiteY185" fmla="*/ 5142491 h 5808721"/>
              <a:gd name="connsiteX186" fmla="*/ 3958364 w 6251734"/>
              <a:gd name="connsiteY186" fmla="*/ 5149615 h 5808721"/>
              <a:gd name="connsiteX187" fmla="*/ 3928865 w 6251734"/>
              <a:gd name="connsiteY187" fmla="*/ 5160870 h 5808721"/>
              <a:gd name="connsiteX188" fmla="*/ 3932381 w 6251734"/>
              <a:gd name="connsiteY188" fmla="*/ 5172482 h 5808721"/>
              <a:gd name="connsiteX189" fmla="*/ 3946176 w 6251734"/>
              <a:gd name="connsiteY189" fmla="*/ 5241797 h 5808721"/>
              <a:gd name="connsiteX190" fmla="*/ 3947566 w 6251734"/>
              <a:gd name="connsiteY190" fmla="*/ 5260592 h 5808721"/>
              <a:gd name="connsiteX191" fmla="*/ 4036092 w 6251734"/>
              <a:gd name="connsiteY191" fmla="*/ 5276193 h 5808721"/>
              <a:gd name="connsiteX192" fmla="*/ 4046530 w 6251734"/>
              <a:gd name="connsiteY192" fmla="*/ 5279354 h 5808721"/>
              <a:gd name="connsiteX193" fmla="*/ 4058104 w 6251734"/>
              <a:gd name="connsiteY193" fmla="*/ 5248980 h 5808721"/>
              <a:gd name="connsiteX194" fmla="*/ 4049650 w 6251734"/>
              <a:gd name="connsiteY194" fmla="*/ 5158069 h 5808721"/>
              <a:gd name="connsiteX195" fmla="*/ 3995778 w 6251734"/>
              <a:gd name="connsiteY195" fmla="*/ 5142491 h 5808721"/>
              <a:gd name="connsiteX196" fmla="*/ 1795082 w 6251734"/>
              <a:gd name="connsiteY196" fmla="*/ 5089489 h 5808721"/>
              <a:gd name="connsiteX197" fmla="*/ 1747933 w 6251734"/>
              <a:gd name="connsiteY197" fmla="*/ 5137495 h 5808721"/>
              <a:gd name="connsiteX198" fmla="*/ 1795082 w 6251734"/>
              <a:gd name="connsiteY198" fmla="*/ 5185501 h 5808721"/>
              <a:gd name="connsiteX199" fmla="*/ 1813298 w 6251734"/>
              <a:gd name="connsiteY199" fmla="*/ 5181737 h 5808721"/>
              <a:gd name="connsiteX200" fmla="*/ 1824372 w 6251734"/>
              <a:gd name="connsiteY200" fmla="*/ 5174153 h 5808721"/>
              <a:gd name="connsiteX201" fmla="*/ 1839840 w 6251734"/>
              <a:gd name="connsiteY201" fmla="*/ 5131531 h 5808721"/>
              <a:gd name="connsiteX202" fmla="*/ 1828621 w 6251734"/>
              <a:gd name="connsiteY202" fmla="*/ 5103526 h 5808721"/>
              <a:gd name="connsiteX203" fmla="*/ 1795082 w 6251734"/>
              <a:gd name="connsiteY203" fmla="*/ 5089489 h 5808721"/>
              <a:gd name="connsiteX204" fmla="*/ 3807904 w 6251734"/>
              <a:gd name="connsiteY204" fmla="*/ 5057770 h 5808721"/>
              <a:gd name="connsiteX205" fmla="*/ 3737518 w 6251734"/>
              <a:gd name="connsiteY205" fmla="*/ 5116041 h 5808721"/>
              <a:gd name="connsiteX206" fmla="*/ 3724435 w 6251734"/>
              <a:gd name="connsiteY206" fmla="*/ 5145282 h 5808721"/>
              <a:gd name="connsiteX207" fmla="*/ 3733832 w 6251734"/>
              <a:gd name="connsiteY207" fmla="*/ 5150300 h 5808721"/>
              <a:gd name="connsiteX208" fmla="*/ 3792649 w 6251734"/>
              <a:gd name="connsiteY208" fmla="*/ 5189519 h 5808721"/>
              <a:gd name="connsiteX209" fmla="*/ 3807599 w 6251734"/>
              <a:gd name="connsiteY209" fmla="*/ 5202400 h 5808721"/>
              <a:gd name="connsiteX210" fmla="*/ 3821568 w 6251734"/>
              <a:gd name="connsiteY210" fmla="*/ 5190377 h 5808721"/>
              <a:gd name="connsiteX211" fmla="*/ 3880491 w 6251734"/>
              <a:gd name="connsiteY211" fmla="*/ 5151158 h 5808721"/>
              <a:gd name="connsiteX212" fmla="*/ 3891401 w 6251734"/>
              <a:gd name="connsiteY212" fmla="*/ 5145342 h 5808721"/>
              <a:gd name="connsiteX213" fmla="*/ 3878291 w 6251734"/>
              <a:gd name="connsiteY213" fmla="*/ 5116041 h 5808721"/>
              <a:gd name="connsiteX214" fmla="*/ 3807904 w 6251734"/>
              <a:gd name="connsiteY214" fmla="*/ 5057770 h 5808721"/>
              <a:gd name="connsiteX215" fmla="*/ 1830229 w 6251734"/>
              <a:gd name="connsiteY215" fmla="*/ 4995190 h 5808721"/>
              <a:gd name="connsiteX216" fmla="*/ 1795082 w 6251734"/>
              <a:gd name="connsiteY216" fmla="*/ 5031195 h 5808721"/>
              <a:gd name="connsiteX217" fmla="*/ 1830229 w 6251734"/>
              <a:gd name="connsiteY217" fmla="*/ 5067200 h 5808721"/>
              <a:gd name="connsiteX218" fmla="*/ 1865376 w 6251734"/>
              <a:gd name="connsiteY218" fmla="*/ 5031195 h 5808721"/>
              <a:gd name="connsiteX219" fmla="*/ 1830229 w 6251734"/>
              <a:gd name="connsiteY219" fmla="*/ 4995190 h 5808721"/>
              <a:gd name="connsiteX220" fmla="*/ 3807904 w 6251734"/>
              <a:gd name="connsiteY220" fmla="*/ 4992618 h 5808721"/>
              <a:gd name="connsiteX221" fmla="*/ 3914096 w 6251734"/>
              <a:gd name="connsiteY221" fmla="*/ 5112098 h 5808721"/>
              <a:gd name="connsiteX222" fmla="*/ 3919610 w 6251734"/>
              <a:gd name="connsiteY222" fmla="*/ 5130307 h 5808721"/>
              <a:gd name="connsiteX223" fmla="*/ 3936279 w 6251734"/>
              <a:gd name="connsiteY223" fmla="*/ 5121422 h 5808721"/>
              <a:gd name="connsiteX224" fmla="*/ 4032023 w 6251734"/>
              <a:gd name="connsiteY224" fmla="*/ 5093293 h 5808721"/>
              <a:gd name="connsiteX225" fmla="*/ 4095942 w 6251734"/>
              <a:gd name="connsiteY225" fmla="*/ 5111777 h 5808721"/>
              <a:gd name="connsiteX226" fmla="*/ 4086941 w 6251734"/>
              <a:gd name="connsiteY226" fmla="*/ 5271440 h 5808721"/>
              <a:gd name="connsiteX227" fmla="*/ 4077682 w 6251734"/>
              <a:gd name="connsiteY227" fmla="*/ 5288787 h 5808721"/>
              <a:gd name="connsiteX228" fmla="*/ 4096476 w 6251734"/>
              <a:gd name="connsiteY228" fmla="*/ 5294478 h 5808721"/>
              <a:gd name="connsiteX229" fmla="*/ 4215956 w 6251734"/>
              <a:gd name="connsiteY229" fmla="*/ 5400670 h 5808721"/>
              <a:gd name="connsiteX230" fmla="*/ 4146292 w 6251734"/>
              <a:gd name="connsiteY230" fmla="*/ 5484302 h 5808721"/>
              <a:gd name="connsiteX231" fmla="*/ 4077351 w 6251734"/>
              <a:gd name="connsiteY231" fmla="*/ 5512259 h 5808721"/>
              <a:gd name="connsiteX232" fmla="*/ 4086298 w 6251734"/>
              <a:gd name="connsiteY232" fmla="*/ 5529044 h 5808721"/>
              <a:gd name="connsiteX233" fmla="*/ 4095942 w 6251734"/>
              <a:gd name="connsiteY233" fmla="*/ 5688707 h 5808721"/>
              <a:gd name="connsiteX234" fmla="*/ 3987551 w 6251734"/>
              <a:gd name="connsiteY234" fmla="*/ 5698969 h 5808721"/>
              <a:gd name="connsiteX235" fmla="*/ 3919857 w 6251734"/>
              <a:gd name="connsiteY235" fmla="*/ 5670215 h 5808721"/>
              <a:gd name="connsiteX236" fmla="*/ 3914096 w 6251734"/>
              <a:gd name="connsiteY236" fmla="*/ 5689242 h 5808721"/>
              <a:gd name="connsiteX237" fmla="*/ 3807904 w 6251734"/>
              <a:gd name="connsiteY237" fmla="*/ 5808721 h 5808721"/>
              <a:gd name="connsiteX238" fmla="*/ 3702033 w 6251734"/>
              <a:gd name="connsiteY238" fmla="*/ 5689242 h 5808721"/>
              <a:gd name="connsiteX239" fmla="*/ 3696238 w 6251734"/>
              <a:gd name="connsiteY239" fmla="*/ 5670203 h 5808721"/>
              <a:gd name="connsiteX240" fmla="*/ 3627147 w 6251734"/>
              <a:gd name="connsiteY240" fmla="*/ 5699451 h 5808721"/>
              <a:gd name="connsiteX241" fmla="*/ 3518154 w 6251734"/>
              <a:gd name="connsiteY241" fmla="*/ 5689565 h 5808721"/>
              <a:gd name="connsiteX242" fmla="*/ 3527798 w 6251734"/>
              <a:gd name="connsiteY242" fmla="*/ 5529580 h 5808721"/>
              <a:gd name="connsiteX243" fmla="*/ 3537061 w 6251734"/>
              <a:gd name="connsiteY243" fmla="*/ 5512231 h 5808721"/>
              <a:gd name="connsiteX244" fmla="*/ 3519332 w 6251734"/>
              <a:gd name="connsiteY244" fmla="*/ 5506862 h 5808721"/>
              <a:gd name="connsiteX245" fmla="*/ 3399853 w 6251734"/>
              <a:gd name="connsiteY245" fmla="*/ 5400670 h 5808721"/>
              <a:gd name="connsiteX246" fmla="*/ 3469516 w 6251734"/>
              <a:gd name="connsiteY246" fmla="*/ 5316662 h 5808721"/>
              <a:gd name="connsiteX247" fmla="*/ 3537546 w 6251734"/>
              <a:gd name="connsiteY247" fmla="*/ 5289161 h 5808721"/>
              <a:gd name="connsiteX248" fmla="*/ 3527798 w 6251734"/>
              <a:gd name="connsiteY248" fmla="*/ 5270904 h 5808721"/>
              <a:gd name="connsiteX249" fmla="*/ 3518154 w 6251734"/>
              <a:gd name="connsiteY249" fmla="*/ 5110919 h 5808721"/>
              <a:gd name="connsiteX250" fmla="*/ 3582435 w 6251734"/>
              <a:gd name="connsiteY250" fmla="*/ 5092435 h 5808721"/>
              <a:gd name="connsiteX251" fmla="*/ 3678139 w 6251734"/>
              <a:gd name="connsiteY251" fmla="*/ 5120564 h 5808721"/>
              <a:gd name="connsiteX252" fmla="*/ 3696224 w 6251734"/>
              <a:gd name="connsiteY252" fmla="*/ 5130220 h 5808721"/>
              <a:gd name="connsiteX253" fmla="*/ 3701712 w 6251734"/>
              <a:gd name="connsiteY253" fmla="*/ 5112098 h 5808721"/>
              <a:gd name="connsiteX254" fmla="*/ 3807904 w 6251734"/>
              <a:gd name="connsiteY254" fmla="*/ 4992618 h 5808721"/>
              <a:gd name="connsiteX255" fmla="*/ 2165414 w 6251734"/>
              <a:gd name="connsiteY255" fmla="*/ 4987475 h 5808721"/>
              <a:gd name="connsiteX256" fmla="*/ 2099834 w 6251734"/>
              <a:gd name="connsiteY256" fmla="*/ 5030874 h 5808721"/>
              <a:gd name="connsiteX257" fmla="*/ 2095529 w 6251734"/>
              <a:gd name="connsiteY257" fmla="*/ 5052318 h 5808721"/>
              <a:gd name="connsiteX258" fmla="*/ 2115842 w 6251734"/>
              <a:gd name="connsiteY258" fmla="*/ 5109524 h 5808721"/>
              <a:gd name="connsiteX259" fmla="*/ 2137660 w 6251734"/>
              <a:gd name="connsiteY259" fmla="*/ 5124207 h 5808721"/>
              <a:gd name="connsiteX260" fmla="*/ 2165414 w 6251734"/>
              <a:gd name="connsiteY260" fmla="*/ 5129779 h 5808721"/>
              <a:gd name="connsiteX261" fmla="*/ 2236565 w 6251734"/>
              <a:gd name="connsiteY261" fmla="*/ 5058628 h 5808721"/>
              <a:gd name="connsiteX262" fmla="*/ 2165414 w 6251734"/>
              <a:gd name="connsiteY262" fmla="*/ 4987475 h 5808721"/>
              <a:gd name="connsiteX263" fmla="*/ 5334024 w 6251734"/>
              <a:gd name="connsiteY263" fmla="*/ 4966796 h 5808721"/>
              <a:gd name="connsiteX264" fmla="*/ 5296091 w 6251734"/>
              <a:gd name="connsiteY264" fmla="*/ 4976333 h 5808721"/>
              <a:gd name="connsiteX265" fmla="*/ 5285804 w 6251734"/>
              <a:gd name="connsiteY265" fmla="*/ 5048341 h 5808721"/>
              <a:gd name="connsiteX266" fmla="*/ 5356956 w 6251734"/>
              <a:gd name="connsiteY266" fmla="*/ 5059486 h 5808721"/>
              <a:gd name="connsiteX267" fmla="*/ 5368100 w 6251734"/>
              <a:gd name="connsiteY267" fmla="*/ 4987477 h 5808721"/>
              <a:gd name="connsiteX268" fmla="*/ 5334024 w 6251734"/>
              <a:gd name="connsiteY268" fmla="*/ 4966796 h 5808721"/>
              <a:gd name="connsiteX269" fmla="*/ 1939100 w 6251734"/>
              <a:gd name="connsiteY269" fmla="*/ 4858031 h 5808721"/>
              <a:gd name="connsiteX270" fmla="*/ 2026539 w 6251734"/>
              <a:gd name="connsiteY270" fmla="*/ 4858031 h 5808721"/>
              <a:gd name="connsiteX271" fmla="*/ 2042850 w 6251734"/>
              <a:gd name="connsiteY271" fmla="*/ 4903966 h 5808721"/>
              <a:gd name="connsiteX272" fmla="*/ 2112264 w 6251734"/>
              <a:gd name="connsiteY272" fmla="*/ 4899178 h 5808721"/>
              <a:gd name="connsiteX273" fmla="*/ 2286286 w 6251734"/>
              <a:gd name="connsiteY273" fmla="*/ 5018336 h 5808721"/>
              <a:gd name="connsiteX274" fmla="*/ 2136267 w 6251734"/>
              <a:gd name="connsiteY274" fmla="*/ 5212076 h 5808721"/>
              <a:gd name="connsiteX275" fmla="*/ 1901381 w 6251734"/>
              <a:gd name="connsiteY275" fmla="*/ 5428960 h 5808721"/>
              <a:gd name="connsiteX276" fmla="*/ 1852317 w 6251734"/>
              <a:gd name="connsiteY276" fmla="*/ 4950224 h 5808721"/>
              <a:gd name="connsiteX277" fmla="*/ 1914216 w 6251734"/>
              <a:gd name="connsiteY277" fmla="*/ 4926595 h 5808721"/>
              <a:gd name="connsiteX278" fmla="*/ 5285697 w 6251734"/>
              <a:gd name="connsiteY278" fmla="*/ 4798238 h 5808721"/>
              <a:gd name="connsiteX279" fmla="*/ 5235226 w 6251734"/>
              <a:gd name="connsiteY279" fmla="*/ 4810882 h 5808721"/>
              <a:gd name="connsiteX280" fmla="*/ 5221511 w 6251734"/>
              <a:gd name="connsiteY280" fmla="*/ 4906038 h 5808721"/>
              <a:gd name="connsiteX281" fmla="*/ 5316665 w 6251734"/>
              <a:gd name="connsiteY281" fmla="*/ 4920611 h 5808721"/>
              <a:gd name="connsiteX282" fmla="*/ 5330381 w 6251734"/>
              <a:gd name="connsiteY282" fmla="*/ 4825456 h 5808721"/>
              <a:gd name="connsiteX283" fmla="*/ 5285697 w 6251734"/>
              <a:gd name="connsiteY283" fmla="*/ 4798238 h 5808721"/>
              <a:gd name="connsiteX284" fmla="*/ 5149716 w 6251734"/>
              <a:gd name="connsiteY284" fmla="*/ 4681759 h 5808721"/>
              <a:gd name="connsiteX285" fmla="*/ 5092066 w 6251734"/>
              <a:gd name="connsiteY285" fmla="*/ 4696011 h 5808721"/>
              <a:gd name="connsiteX286" fmla="*/ 5076635 w 6251734"/>
              <a:gd name="connsiteY286" fmla="*/ 4804881 h 5808721"/>
              <a:gd name="connsiteX287" fmla="*/ 5185506 w 6251734"/>
              <a:gd name="connsiteY287" fmla="*/ 4822027 h 5808721"/>
              <a:gd name="connsiteX288" fmla="*/ 5200936 w 6251734"/>
              <a:gd name="connsiteY288" fmla="*/ 4713156 h 5808721"/>
              <a:gd name="connsiteX289" fmla="*/ 5149716 w 6251734"/>
              <a:gd name="connsiteY289" fmla="*/ 4681759 h 5808721"/>
              <a:gd name="connsiteX290" fmla="*/ 4961978 w 6251734"/>
              <a:gd name="connsiteY290" fmla="*/ 4656899 h 5808721"/>
              <a:gd name="connsiteX291" fmla="*/ 4900042 w 6251734"/>
              <a:gd name="connsiteY291" fmla="*/ 4672008 h 5808721"/>
              <a:gd name="connsiteX292" fmla="*/ 4882897 w 6251734"/>
              <a:gd name="connsiteY292" fmla="*/ 4789451 h 5808721"/>
              <a:gd name="connsiteX293" fmla="*/ 5000340 w 6251734"/>
              <a:gd name="connsiteY293" fmla="*/ 4807453 h 5808721"/>
              <a:gd name="connsiteX294" fmla="*/ 5017485 w 6251734"/>
              <a:gd name="connsiteY294" fmla="*/ 4690010 h 5808721"/>
              <a:gd name="connsiteX295" fmla="*/ 4961978 w 6251734"/>
              <a:gd name="connsiteY295" fmla="*/ 4656899 h 5808721"/>
              <a:gd name="connsiteX296" fmla="*/ 4998395 w 6251734"/>
              <a:gd name="connsiteY296" fmla="*/ 4598030 h 5808721"/>
              <a:gd name="connsiteX297" fmla="*/ 5114354 w 6251734"/>
              <a:gd name="connsiteY297" fmla="*/ 5410101 h 5808721"/>
              <a:gd name="connsiteX298" fmla="*/ 4811745 w 6251734"/>
              <a:gd name="connsiteY298" fmla="*/ 5421245 h 5808721"/>
              <a:gd name="connsiteX299" fmla="*/ 4821175 w 6251734"/>
              <a:gd name="connsiteY299" fmla="*/ 5069772 h 5808721"/>
              <a:gd name="connsiteX300" fmla="*/ 4906043 w 6251734"/>
              <a:gd name="connsiteY300" fmla="*/ 4620573 h 5808721"/>
              <a:gd name="connsiteX301" fmla="*/ 4998395 w 6251734"/>
              <a:gd name="connsiteY301" fmla="*/ 4598030 h 5808721"/>
              <a:gd name="connsiteX302" fmla="*/ 4274249 w 6251734"/>
              <a:gd name="connsiteY302" fmla="*/ 4584568 h 5808721"/>
              <a:gd name="connsiteX303" fmla="*/ 4374548 w 6251734"/>
              <a:gd name="connsiteY303" fmla="*/ 4755161 h 5808721"/>
              <a:gd name="connsiteX304" fmla="*/ 4257961 w 6251734"/>
              <a:gd name="connsiteY304" fmla="*/ 4835742 h 5808721"/>
              <a:gd name="connsiteX305" fmla="*/ 4411409 w 6251734"/>
              <a:gd name="connsiteY305" fmla="*/ 4762876 h 5808721"/>
              <a:gd name="connsiteX306" fmla="*/ 4274249 w 6251734"/>
              <a:gd name="connsiteY306" fmla="*/ 4584568 h 5808721"/>
              <a:gd name="connsiteX307" fmla="*/ 3351982 w 6251734"/>
              <a:gd name="connsiteY307" fmla="*/ 4540192 h 5808721"/>
              <a:gd name="connsiteX308" fmla="*/ 3423000 w 6251734"/>
              <a:gd name="connsiteY308" fmla="*/ 4575995 h 5808721"/>
              <a:gd name="connsiteX309" fmla="*/ 3655315 w 6251734"/>
              <a:gd name="connsiteY309" fmla="*/ 4575995 h 5808721"/>
              <a:gd name="connsiteX310" fmla="*/ 3655315 w 6251734"/>
              <a:gd name="connsiteY310" fmla="*/ 4916325 h 5808721"/>
              <a:gd name="connsiteX311" fmla="*/ 3417856 w 6251734"/>
              <a:gd name="connsiteY311" fmla="*/ 4918039 h 5808721"/>
              <a:gd name="connsiteX312" fmla="*/ 3190684 w 6251734"/>
              <a:gd name="connsiteY312" fmla="*/ 4914610 h 5808721"/>
              <a:gd name="connsiteX313" fmla="*/ 3190684 w 6251734"/>
              <a:gd name="connsiteY313" fmla="*/ 4575995 h 5808721"/>
              <a:gd name="connsiteX314" fmla="*/ 3351982 w 6251734"/>
              <a:gd name="connsiteY314" fmla="*/ 4540192 h 5808721"/>
              <a:gd name="connsiteX315" fmla="*/ 2448416 w 6251734"/>
              <a:gd name="connsiteY315" fmla="*/ 4421371 h 5808721"/>
              <a:gd name="connsiteX316" fmla="*/ 2457738 w 6251734"/>
              <a:gd name="connsiteY316" fmla="*/ 4427692 h 5808721"/>
              <a:gd name="connsiteX317" fmla="*/ 2484119 w 6251734"/>
              <a:gd name="connsiteY317" fmla="*/ 4467601 h 5808721"/>
              <a:gd name="connsiteX318" fmla="*/ 2494346 w 6251734"/>
              <a:gd name="connsiteY318" fmla="*/ 4463537 h 5808721"/>
              <a:gd name="connsiteX319" fmla="*/ 2578610 w 6251734"/>
              <a:gd name="connsiteY319" fmla="*/ 4499701 h 5808721"/>
              <a:gd name="connsiteX320" fmla="*/ 2590397 w 6251734"/>
              <a:gd name="connsiteY320" fmla="*/ 4561960 h 5808721"/>
              <a:gd name="connsiteX321" fmla="*/ 2583304 w 6251734"/>
              <a:gd name="connsiteY321" fmla="*/ 4578864 h 5808721"/>
              <a:gd name="connsiteX322" fmla="*/ 2600248 w 6251734"/>
              <a:gd name="connsiteY322" fmla="*/ 4591301 h 5808721"/>
              <a:gd name="connsiteX323" fmla="*/ 3017521 w 6251734"/>
              <a:gd name="connsiteY323" fmla="*/ 4906038 h 5808721"/>
              <a:gd name="connsiteX324" fmla="*/ 2910365 w 6251734"/>
              <a:gd name="connsiteY324" fmla="*/ 4886321 h 5808721"/>
              <a:gd name="connsiteX325" fmla="*/ 2580176 w 6251734"/>
              <a:gd name="connsiteY325" fmla="*/ 4648353 h 5808721"/>
              <a:gd name="connsiteX326" fmla="*/ 2571469 w 6251734"/>
              <a:gd name="connsiteY326" fmla="*/ 4642020 h 5808721"/>
              <a:gd name="connsiteX327" fmla="*/ 2632617 w 6251734"/>
              <a:gd name="connsiteY327" fmla="*/ 5059485 h 5808721"/>
              <a:gd name="connsiteX328" fmla="*/ 2611186 w 6251734"/>
              <a:gd name="connsiteY328" fmla="*/ 5161498 h 5808721"/>
              <a:gd name="connsiteX329" fmla="*/ 2574324 w 6251734"/>
              <a:gd name="connsiteY329" fmla="*/ 5065486 h 5808721"/>
              <a:gd name="connsiteX330" fmla="*/ 2504337 w 6251734"/>
              <a:gd name="connsiteY330" fmla="*/ 4626262 h 5808721"/>
              <a:gd name="connsiteX331" fmla="*/ 2492028 w 6251734"/>
              <a:gd name="connsiteY331" fmla="*/ 4626039 h 5808721"/>
              <a:gd name="connsiteX332" fmla="*/ 2439736 w 6251734"/>
              <a:gd name="connsiteY332" fmla="*/ 4590570 h 5808721"/>
              <a:gd name="connsiteX333" fmla="*/ 2440218 w 6251734"/>
              <a:gd name="connsiteY333" fmla="*/ 4499073 h 5808721"/>
              <a:gd name="connsiteX334" fmla="*/ 2457768 w 6251734"/>
              <a:gd name="connsiteY334" fmla="*/ 4481633 h 5808721"/>
              <a:gd name="connsiteX335" fmla="*/ 2432878 w 6251734"/>
              <a:gd name="connsiteY335" fmla="*/ 4443980 h 5808721"/>
              <a:gd name="connsiteX336" fmla="*/ 2437164 w 6251734"/>
              <a:gd name="connsiteY336" fmla="*/ 4423406 h 5808721"/>
              <a:gd name="connsiteX337" fmla="*/ 2448416 w 6251734"/>
              <a:gd name="connsiteY337" fmla="*/ 4421371 h 5808721"/>
              <a:gd name="connsiteX338" fmla="*/ 1177862 w 6251734"/>
              <a:gd name="connsiteY338" fmla="*/ 4374542 h 5808721"/>
              <a:gd name="connsiteX339" fmla="*/ 1272159 w 6251734"/>
              <a:gd name="connsiteY339" fmla="*/ 4609429 h 5808721"/>
              <a:gd name="connsiteX340" fmla="*/ 1177862 w 6251734"/>
              <a:gd name="connsiteY340" fmla="*/ 4374542 h 5808721"/>
              <a:gd name="connsiteX341" fmla="*/ 1102424 w 6251734"/>
              <a:gd name="connsiteY341" fmla="*/ 4309391 h 5808721"/>
              <a:gd name="connsiteX342" fmla="*/ 1108424 w 6251734"/>
              <a:gd name="connsiteY342" fmla="*/ 4309391 h 5808721"/>
              <a:gd name="connsiteX343" fmla="*/ 1109281 w 6251734"/>
              <a:gd name="connsiteY343" fmla="*/ 4309391 h 5808721"/>
              <a:gd name="connsiteX344" fmla="*/ 1115282 w 6251734"/>
              <a:gd name="connsiteY344" fmla="*/ 4309391 h 5808721"/>
              <a:gd name="connsiteX345" fmla="*/ 1276445 w 6251734"/>
              <a:gd name="connsiteY345" fmla="*/ 4720014 h 5808721"/>
              <a:gd name="connsiteX346" fmla="*/ 1193292 w 6251734"/>
              <a:gd name="connsiteY346" fmla="*/ 4900894 h 5808721"/>
              <a:gd name="connsiteX347" fmla="*/ 1121283 w 6251734"/>
              <a:gd name="connsiteY347" fmla="*/ 4900894 h 5808721"/>
              <a:gd name="connsiteX348" fmla="*/ 1108424 w 6251734"/>
              <a:gd name="connsiteY348" fmla="*/ 4900894 h 5808721"/>
              <a:gd name="connsiteX349" fmla="*/ 1030415 w 6251734"/>
              <a:gd name="connsiteY349" fmla="*/ 4900894 h 5808721"/>
              <a:gd name="connsiteX350" fmla="*/ 944690 w 6251734"/>
              <a:gd name="connsiteY350" fmla="*/ 4720014 h 5808721"/>
              <a:gd name="connsiteX351" fmla="*/ 1102424 w 6251734"/>
              <a:gd name="connsiteY351" fmla="*/ 4309391 h 5808721"/>
              <a:gd name="connsiteX352" fmla="*/ 4160235 w 6251734"/>
              <a:gd name="connsiteY352" fmla="*/ 4161086 h 5808721"/>
              <a:gd name="connsiteX353" fmla="*/ 4264820 w 6251734"/>
              <a:gd name="connsiteY353" fmla="*/ 4201377 h 5808721"/>
              <a:gd name="connsiteX354" fmla="*/ 4264820 w 6251734"/>
              <a:gd name="connsiteY354" fmla="*/ 4203949 h 5808721"/>
              <a:gd name="connsiteX355" fmla="*/ 4269106 w 6251734"/>
              <a:gd name="connsiteY355" fmla="*/ 4203949 h 5808721"/>
              <a:gd name="connsiteX356" fmla="*/ 4269106 w 6251734"/>
              <a:gd name="connsiteY356" fmla="*/ 4279387 h 5808721"/>
              <a:gd name="connsiteX357" fmla="*/ 4264820 w 6251734"/>
              <a:gd name="connsiteY357" fmla="*/ 4279387 h 5808721"/>
              <a:gd name="connsiteX358" fmla="*/ 4247675 w 6251734"/>
              <a:gd name="connsiteY358" fmla="*/ 4301676 h 5808721"/>
              <a:gd name="connsiteX359" fmla="*/ 4247675 w 6251734"/>
              <a:gd name="connsiteY359" fmla="*/ 4473126 h 5808721"/>
              <a:gd name="connsiteX360" fmla="*/ 4263962 w 6251734"/>
              <a:gd name="connsiteY360" fmla="*/ 4515131 h 5808721"/>
              <a:gd name="connsiteX361" fmla="*/ 4425983 w 6251734"/>
              <a:gd name="connsiteY361" fmla="*/ 4833171 h 5808721"/>
              <a:gd name="connsiteX362" fmla="*/ 4161091 w 6251734"/>
              <a:gd name="connsiteY362" fmla="*/ 4891464 h 5808721"/>
              <a:gd name="connsiteX363" fmla="*/ 3896201 w 6251734"/>
              <a:gd name="connsiteY363" fmla="*/ 4833171 h 5808721"/>
              <a:gd name="connsiteX364" fmla="*/ 4062507 w 6251734"/>
              <a:gd name="connsiteY364" fmla="*/ 4515131 h 5808721"/>
              <a:gd name="connsiteX365" fmla="*/ 4085653 w 6251734"/>
              <a:gd name="connsiteY365" fmla="*/ 4473126 h 5808721"/>
              <a:gd name="connsiteX366" fmla="*/ 4085653 w 6251734"/>
              <a:gd name="connsiteY366" fmla="*/ 4302533 h 5808721"/>
              <a:gd name="connsiteX367" fmla="*/ 4055650 w 6251734"/>
              <a:gd name="connsiteY367" fmla="*/ 4279387 h 5808721"/>
              <a:gd name="connsiteX368" fmla="*/ 4053935 w 6251734"/>
              <a:gd name="connsiteY368" fmla="*/ 4279387 h 5808721"/>
              <a:gd name="connsiteX369" fmla="*/ 4053935 w 6251734"/>
              <a:gd name="connsiteY369" fmla="*/ 4203949 h 5808721"/>
              <a:gd name="connsiteX370" fmla="*/ 4055650 w 6251734"/>
              <a:gd name="connsiteY370" fmla="*/ 4203949 h 5808721"/>
              <a:gd name="connsiteX371" fmla="*/ 4055650 w 6251734"/>
              <a:gd name="connsiteY371" fmla="*/ 4201377 h 5808721"/>
              <a:gd name="connsiteX372" fmla="*/ 4160235 w 6251734"/>
              <a:gd name="connsiteY372" fmla="*/ 4161086 h 5808721"/>
              <a:gd name="connsiteX373" fmla="*/ 1690622 w 6251734"/>
              <a:gd name="connsiteY373" fmla="*/ 3905928 h 5808721"/>
              <a:gd name="connsiteX374" fmla="*/ 1557624 w 6251734"/>
              <a:gd name="connsiteY374" fmla="*/ 3959633 h 5808721"/>
              <a:gd name="connsiteX375" fmla="*/ 1521619 w 6251734"/>
              <a:gd name="connsiteY375" fmla="*/ 4304248 h 5808721"/>
              <a:gd name="connsiteX376" fmla="*/ 1866235 w 6251734"/>
              <a:gd name="connsiteY376" fmla="*/ 4340253 h 5808721"/>
              <a:gd name="connsiteX377" fmla="*/ 1902239 w 6251734"/>
              <a:gd name="connsiteY377" fmla="*/ 3995637 h 5808721"/>
              <a:gd name="connsiteX378" fmla="*/ 1690622 w 6251734"/>
              <a:gd name="connsiteY378" fmla="*/ 3905928 h 5808721"/>
              <a:gd name="connsiteX379" fmla="*/ 1684921 w 6251734"/>
              <a:gd name="connsiteY379" fmla="*/ 3849926 h 5808721"/>
              <a:gd name="connsiteX380" fmla="*/ 1945102 w 6251734"/>
              <a:gd name="connsiteY380" fmla="*/ 3960490 h 5808721"/>
              <a:gd name="connsiteX381" fmla="*/ 1944751 w 6251734"/>
              <a:gd name="connsiteY381" fmla="*/ 4341023 h 5808721"/>
              <a:gd name="connsiteX382" fmla="*/ 1930222 w 6251734"/>
              <a:gd name="connsiteY382" fmla="*/ 4355411 h 5808721"/>
              <a:gd name="connsiteX383" fmla="*/ 1980119 w 6251734"/>
              <a:gd name="connsiteY383" fmla="*/ 4416919 h 5808721"/>
              <a:gd name="connsiteX384" fmla="*/ 1986891 w 6251734"/>
              <a:gd name="connsiteY384" fmla="*/ 4416333 h 5808721"/>
              <a:gd name="connsiteX385" fmla="*/ 2030826 w 6251734"/>
              <a:gd name="connsiteY385" fmla="*/ 4439693 h 5808721"/>
              <a:gd name="connsiteX386" fmla="*/ 2204848 w 6251734"/>
              <a:gd name="connsiteY386" fmla="*/ 4654864 h 5808721"/>
              <a:gd name="connsiteX387" fmla="*/ 2195418 w 6251734"/>
              <a:gd name="connsiteY387" fmla="*/ 4746590 h 5808721"/>
              <a:gd name="connsiteX388" fmla="*/ 2103692 w 6251734"/>
              <a:gd name="connsiteY388" fmla="*/ 4737160 h 5808721"/>
              <a:gd name="connsiteX389" fmla="*/ 1929670 w 6251734"/>
              <a:gd name="connsiteY389" fmla="*/ 4521990 h 5808721"/>
              <a:gd name="connsiteX390" fmla="*/ 1915740 w 6251734"/>
              <a:gd name="connsiteY390" fmla="*/ 4474198 h 5808721"/>
              <a:gd name="connsiteX391" fmla="*/ 1917360 w 6251734"/>
              <a:gd name="connsiteY391" fmla="*/ 4468826 h 5808721"/>
              <a:gd name="connsiteX392" fmla="*/ 1866912 w 6251734"/>
              <a:gd name="connsiteY392" fmla="*/ 4406639 h 5808721"/>
              <a:gd name="connsiteX393" fmla="*/ 1850557 w 6251734"/>
              <a:gd name="connsiteY393" fmla="*/ 4417393 h 5808721"/>
              <a:gd name="connsiteX394" fmla="*/ 1477899 w 6251734"/>
              <a:gd name="connsiteY394" fmla="*/ 4339396 h 5808721"/>
              <a:gd name="connsiteX395" fmla="*/ 1521619 w 6251734"/>
              <a:gd name="connsiteY395" fmla="*/ 3915913 h 5808721"/>
              <a:gd name="connsiteX396" fmla="*/ 1684921 w 6251734"/>
              <a:gd name="connsiteY396" fmla="*/ 3849926 h 5808721"/>
              <a:gd name="connsiteX397" fmla="*/ 812246 w 6251734"/>
              <a:gd name="connsiteY397" fmla="*/ 3781539 h 5808721"/>
              <a:gd name="connsiteX398" fmla="*/ 822961 w 6251734"/>
              <a:gd name="connsiteY398" fmla="*/ 3785611 h 5808721"/>
              <a:gd name="connsiteX399" fmla="*/ 823818 w 6251734"/>
              <a:gd name="connsiteY399" fmla="*/ 3807042 h 5808721"/>
              <a:gd name="connsiteX400" fmla="*/ 792194 w 6251734"/>
              <a:gd name="connsiteY400" fmla="*/ 3842032 h 5808721"/>
              <a:gd name="connsiteX401" fmla="*/ 798502 w 6251734"/>
              <a:gd name="connsiteY401" fmla="*/ 3850722 h 5808721"/>
              <a:gd name="connsiteX402" fmla="*/ 785241 w 6251734"/>
              <a:gd name="connsiteY402" fmla="*/ 3940773 h 5808721"/>
              <a:gd name="connsiteX403" fmla="*/ 727912 w 6251734"/>
              <a:gd name="connsiteY403" fmla="*/ 3967562 h 5808721"/>
              <a:gd name="connsiteX404" fmla="*/ 709923 w 6251734"/>
              <a:gd name="connsiteY404" fmla="*/ 3965051 h 5808721"/>
              <a:gd name="connsiteX405" fmla="*/ 701209 w 6251734"/>
              <a:gd name="connsiteY405" fmla="*/ 3986914 h 5808721"/>
              <a:gd name="connsiteX406" fmla="*/ 501492 w 6251734"/>
              <a:gd name="connsiteY406" fmla="*/ 4469697 h 5808721"/>
              <a:gd name="connsiteX407" fmla="*/ 493776 w 6251734"/>
              <a:gd name="connsiteY407" fmla="*/ 4360826 h 5808721"/>
              <a:gd name="connsiteX408" fmla="*/ 640969 w 6251734"/>
              <a:gd name="connsiteY408" fmla="*/ 3980729 h 5808721"/>
              <a:gd name="connsiteX409" fmla="*/ 644840 w 6251734"/>
              <a:gd name="connsiteY409" fmla="*/ 3970847 h 5808721"/>
              <a:gd name="connsiteX410" fmla="*/ 257175 w 6251734"/>
              <a:gd name="connsiteY410" fmla="*/ 4134512 h 5808721"/>
              <a:gd name="connsiteX411" fmla="*/ 152590 w 6251734"/>
              <a:gd name="connsiteY411" fmla="*/ 4139655 h 5808721"/>
              <a:gd name="connsiteX412" fmla="*/ 236601 w 6251734"/>
              <a:gd name="connsiteY412" fmla="*/ 4079647 h 5808721"/>
              <a:gd name="connsiteX413" fmla="*/ 644257 w 6251734"/>
              <a:gd name="connsiteY413" fmla="*/ 3901600 h 5808721"/>
              <a:gd name="connsiteX414" fmla="*/ 641223 w 6251734"/>
              <a:gd name="connsiteY414" fmla="*/ 3889445 h 5808721"/>
              <a:gd name="connsiteX415" fmla="*/ 662654 w 6251734"/>
              <a:gd name="connsiteY415" fmla="*/ 3830188 h 5808721"/>
              <a:gd name="connsiteX416" fmla="*/ 719983 w 6251734"/>
              <a:gd name="connsiteY416" fmla="*/ 3802756 h 5808721"/>
              <a:gd name="connsiteX417" fmla="*/ 751260 w 6251734"/>
              <a:gd name="connsiteY417" fmla="*/ 3807283 h 5808721"/>
              <a:gd name="connsiteX418" fmla="*/ 771606 w 6251734"/>
              <a:gd name="connsiteY418" fmla="*/ 3819575 h 5808721"/>
              <a:gd name="connsiteX419" fmla="*/ 801530 w 6251734"/>
              <a:gd name="connsiteY419" fmla="*/ 3786468 h 5808721"/>
              <a:gd name="connsiteX420" fmla="*/ 812246 w 6251734"/>
              <a:gd name="connsiteY420" fmla="*/ 3781539 h 5808721"/>
              <a:gd name="connsiteX421" fmla="*/ 5496913 w 6251734"/>
              <a:gd name="connsiteY421" fmla="*/ 3702672 h 5808721"/>
              <a:gd name="connsiteX422" fmla="*/ 5456397 w 6251734"/>
              <a:gd name="connsiteY422" fmla="*/ 3737606 h 5808721"/>
              <a:gd name="connsiteX423" fmla="*/ 5490901 w 6251734"/>
              <a:gd name="connsiteY423" fmla="*/ 3706745 h 5808721"/>
              <a:gd name="connsiteX424" fmla="*/ 5797583 w 6251734"/>
              <a:gd name="connsiteY424" fmla="*/ 3639879 h 5808721"/>
              <a:gd name="connsiteX425" fmla="*/ 5805112 w 6251734"/>
              <a:gd name="connsiteY425" fmla="*/ 3642965 h 5808721"/>
              <a:gd name="connsiteX426" fmla="*/ 5820840 w 6251734"/>
              <a:gd name="connsiteY426" fmla="*/ 3650383 h 5808721"/>
              <a:gd name="connsiteX427" fmla="*/ 5699857 w 6251734"/>
              <a:gd name="connsiteY427" fmla="*/ 3627877 h 5808721"/>
              <a:gd name="connsiteX428" fmla="*/ 5704143 w 6251734"/>
              <a:gd name="connsiteY428" fmla="*/ 3631306 h 5808721"/>
              <a:gd name="connsiteX429" fmla="*/ 5699857 w 6251734"/>
              <a:gd name="connsiteY429" fmla="*/ 3638164 h 5808721"/>
              <a:gd name="connsiteX430" fmla="*/ 5703285 w 6251734"/>
              <a:gd name="connsiteY430" fmla="*/ 3639022 h 5808721"/>
              <a:gd name="connsiteX431" fmla="*/ 5717002 w 6251734"/>
              <a:gd name="connsiteY431" fmla="*/ 3648451 h 5808721"/>
              <a:gd name="connsiteX432" fmla="*/ 5698999 w 6251734"/>
              <a:gd name="connsiteY432" fmla="*/ 3652738 h 5808721"/>
              <a:gd name="connsiteX433" fmla="*/ 5677567 w 6251734"/>
              <a:gd name="connsiteY433" fmla="*/ 3646737 h 5808721"/>
              <a:gd name="connsiteX434" fmla="*/ 5656993 w 6251734"/>
              <a:gd name="connsiteY434" fmla="*/ 3664739 h 5808721"/>
              <a:gd name="connsiteX435" fmla="*/ 5645849 w 6251734"/>
              <a:gd name="connsiteY435" fmla="*/ 3681027 h 5808721"/>
              <a:gd name="connsiteX436" fmla="*/ 5656136 w 6251734"/>
              <a:gd name="connsiteY436" fmla="*/ 3687028 h 5808721"/>
              <a:gd name="connsiteX437" fmla="*/ 5665566 w 6251734"/>
              <a:gd name="connsiteY437" fmla="*/ 3687885 h 5808721"/>
              <a:gd name="connsiteX438" fmla="*/ 5689569 w 6251734"/>
              <a:gd name="connsiteY438" fmla="*/ 3683599 h 5808721"/>
              <a:gd name="connsiteX439" fmla="*/ 5695569 w 6251734"/>
              <a:gd name="connsiteY439" fmla="*/ 3698172 h 5808721"/>
              <a:gd name="connsiteX440" fmla="*/ 5717859 w 6251734"/>
              <a:gd name="connsiteY440" fmla="*/ 3709316 h 5808721"/>
              <a:gd name="connsiteX441" fmla="*/ 5730718 w 6251734"/>
              <a:gd name="connsiteY441" fmla="*/ 3723889 h 5808721"/>
              <a:gd name="connsiteX442" fmla="*/ 5715287 w 6251734"/>
              <a:gd name="connsiteY442" fmla="*/ 3734176 h 5808721"/>
              <a:gd name="connsiteX443" fmla="*/ 5699857 w 6251734"/>
              <a:gd name="connsiteY443" fmla="*/ 3744463 h 5808721"/>
              <a:gd name="connsiteX444" fmla="*/ 5705857 w 6251734"/>
              <a:gd name="connsiteY444" fmla="*/ 3753893 h 5808721"/>
              <a:gd name="connsiteX445" fmla="*/ 5722145 w 6251734"/>
              <a:gd name="connsiteY445" fmla="*/ 3750464 h 5808721"/>
              <a:gd name="connsiteX446" fmla="*/ 5729003 w 6251734"/>
              <a:gd name="connsiteY446" fmla="*/ 3748750 h 5808721"/>
              <a:gd name="connsiteX447" fmla="*/ 5747863 w 6251734"/>
              <a:gd name="connsiteY447" fmla="*/ 3745321 h 5808721"/>
              <a:gd name="connsiteX448" fmla="*/ 5750435 w 6251734"/>
              <a:gd name="connsiteY448" fmla="*/ 3742749 h 5808721"/>
              <a:gd name="connsiteX449" fmla="*/ 5760722 w 6251734"/>
              <a:gd name="connsiteY449" fmla="*/ 3738463 h 5808721"/>
              <a:gd name="connsiteX450" fmla="*/ 5794154 w 6251734"/>
              <a:gd name="connsiteY450" fmla="*/ 3741892 h 5808721"/>
              <a:gd name="connsiteX451" fmla="*/ 5806156 w 6251734"/>
              <a:gd name="connsiteY451" fmla="*/ 3753036 h 5808721"/>
              <a:gd name="connsiteX452" fmla="*/ 5810442 w 6251734"/>
              <a:gd name="connsiteY452" fmla="*/ 3749607 h 5808721"/>
              <a:gd name="connsiteX453" fmla="*/ 5814728 w 6251734"/>
              <a:gd name="connsiteY453" fmla="*/ 3733319 h 5808721"/>
              <a:gd name="connsiteX454" fmla="*/ 5825015 w 6251734"/>
              <a:gd name="connsiteY454" fmla="*/ 3737606 h 5808721"/>
              <a:gd name="connsiteX455" fmla="*/ 5849018 w 6251734"/>
              <a:gd name="connsiteY455" fmla="*/ 3723032 h 5808721"/>
              <a:gd name="connsiteX456" fmla="*/ 5861877 w 6251734"/>
              <a:gd name="connsiteY456" fmla="*/ 3731605 h 5808721"/>
              <a:gd name="connsiteX457" fmla="*/ 5856733 w 6251734"/>
              <a:gd name="connsiteY457" fmla="*/ 3746178 h 5808721"/>
              <a:gd name="connsiteX458" fmla="*/ 5844732 w 6251734"/>
              <a:gd name="connsiteY458" fmla="*/ 3741034 h 5808721"/>
              <a:gd name="connsiteX459" fmla="*/ 5828444 w 6251734"/>
              <a:gd name="connsiteY459" fmla="*/ 3754751 h 5808721"/>
              <a:gd name="connsiteX460" fmla="*/ 5831016 w 6251734"/>
              <a:gd name="connsiteY460" fmla="*/ 3761608 h 5808721"/>
              <a:gd name="connsiteX461" fmla="*/ 5847304 w 6251734"/>
              <a:gd name="connsiteY461" fmla="*/ 3761608 h 5808721"/>
              <a:gd name="connsiteX462" fmla="*/ 5861877 w 6251734"/>
              <a:gd name="connsiteY462" fmla="*/ 3765895 h 5808721"/>
              <a:gd name="connsiteX463" fmla="*/ 5863592 w 6251734"/>
              <a:gd name="connsiteY463" fmla="*/ 3771896 h 5808721"/>
              <a:gd name="connsiteX464" fmla="*/ 5877308 w 6251734"/>
              <a:gd name="connsiteY464" fmla="*/ 3777039 h 5808721"/>
              <a:gd name="connsiteX465" fmla="*/ 5877308 w 6251734"/>
              <a:gd name="connsiteY465" fmla="*/ 3786469 h 5808721"/>
              <a:gd name="connsiteX466" fmla="*/ 5871307 w 6251734"/>
              <a:gd name="connsiteY466" fmla="*/ 3784754 h 5808721"/>
              <a:gd name="connsiteX467" fmla="*/ 5859305 w 6251734"/>
              <a:gd name="connsiteY467" fmla="*/ 3787326 h 5808721"/>
              <a:gd name="connsiteX468" fmla="*/ 5847304 w 6251734"/>
              <a:gd name="connsiteY468" fmla="*/ 3789898 h 5808721"/>
              <a:gd name="connsiteX469" fmla="*/ 5824158 w 6251734"/>
              <a:gd name="connsiteY469" fmla="*/ 3786469 h 5808721"/>
              <a:gd name="connsiteX470" fmla="*/ 5813871 w 6251734"/>
              <a:gd name="connsiteY470" fmla="*/ 3796756 h 5808721"/>
              <a:gd name="connsiteX471" fmla="*/ 5807013 w 6251734"/>
              <a:gd name="connsiteY471" fmla="*/ 3796756 h 5808721"/>
              <a:gd name="connsiteX472" fmla="*/ 5793297 w 6251734"/>
              <a:gd name="connsiteY472" fmla="*/ 3791612 h 5808721"/>
              <a:gd name="connsiteX473" fmla="*/ 5781295 w 6251734"/>
              <a:gd name="connsiteY473" fmla="*/ 3787326 h 5808721"/>
              <a:gd name="connsiteX474" fmla="*/ 5771866 w 6251734"/>
              <a:gd name="connsiteY474" fmla="*/ 3786469 h 5808721"/>
              <a:gd name="connsiteX475" fmla="*/ 5767580 w 6251734"/>
              <a:gd name="connsiteY475" fmla="*/ 3768466 h 5808721"/>
              <a:gd name="connsiteX476" fmla="*/ 5762436 w 6251734"/>
              <a:gd name="connsiteY476" fmla="*/ 3767609 h 5808721"/>
              <a:gd name="connsiteX477" fmla="*/ 5755578 w 6251734"/>
              <a:gd name="connsiteY477" fmla="*/ 3765895 h 5808721"/>
              <a:gd name="connsiteX478" fmla="*/ 5742719 w 6251734"/>
              <a:gd name="connsiteY478" fmla="*/ 3768466 h 5808721"/>
              <a:gd name="connsiteX479" fmla="*/ 5734147 w 6251734"/>
              <a:gd name="connsiteY479" fmla="*/ 3769324 h 5808721"/>
              <a:gd name="connsiteX480" fmla="*/ 5721288 w 6251734"/>
              <a:gd name="connsiteY480" fmla="*/ 3771896 h 5808721"/>
              <a:gd name="connsiteX481" fmla="*/ 5712715 w 6251734"/>
              <a:gd name="connsiteY481" fmla="*/ 3772753 h 5808721"/>
              <a:gd name="connsiteX482" fmla="*/ 5698999 w 6251734"/>
              <a:gd name="connsiteY482" fmla="*/ 3784754 h 5808721"/>
              <a:gd name="connsiteX483" fmla="*/ 5679282 w 6251734"/>
              <a:gd name="connsiteY483" fmla="*/ 3791612 h 5808721"/>
              <a:gd name="connsiteX484" fmla="*/ 5671567 w 6251734"/>
              <a:gd name="connsiteY484" fmla="*/ 3795898 h 5808721"/>
              <a:gd name="connsiteX485" fmla="*/ 5663851 w 6251734"/>
              <a:gd name="connsiteY485" fmla="*/ 3808757 h 5808721"/>
              <a:gd name="connsiteX486" fmla="*/ 5644134 w 6251734"/>
              <a:gd name="connsiteY486" fmla="*/ 3830188 h 5808721"/>
              <a:gd name="connsiteX487" fmla="*/ 5646706 w 6251734"/>
              <a:gd name="connsiteY487" fmla="*/ 3858478 h 5808721"/>
              <a:gd name="connsiteX488" fmla="*/ 5641563 w 6251734"/>
              <a:gd name="connsiteY488" fmla="*/ 3873051 h 5808721"/>
              <a:gd name="connsiteX489" fmla="*/ 5636419 w 6251734"/>
              <a:gd name="connsiteY489" fmla="*/ 3885052 h 5808721"/>
              <a:gd name="connsiteX490" fmla="*/ 5644992 w 6251734"/>
              <a:gd name="connsiteY490" fmla="*/ 3894482 h 5808721"/>
              <a:gd name="connsiteX491" fmla="*/ 5650135 w 6251734"/>
              <a:gd name="connsiteY491" fmla="*/ 3900483 h 5808721"/>
              <a:gd name="connsiteX492" fmla="*/ 5652707 w 6251734"/>
              <a:gd name="connsiteY492" fmla="*/ 3912484 h 5808721"/>
              <a:gd name="connsiteX493" fmla="*/ 5662137 w 6251734"/>
              <a:gd name="connsiteY493" fmla="*/ 3920200 h 5808721"/>
              <a:gd name="connsiteX494" fmla="*/ 5668995 w 6251734"/>
              <a:gd name="connsiteY494" fmla="*/ 3931344 h 5808721"/>
              <a:gd name="connsiteX495" fmla="*/ 5680139 w 6251734"/>
              <a:gd name="connsiteY495" fmla="*/ 3937345 h 5808721"/>
              <a:gd name="connsiteX496" fmla="*/ 5707571 w 6251734"/>
              <a:gd name="connsiteY496" fmla="*/ 3938202 h 5808721"/>
              <a:gd name="connsiteX497" fmla="*/ 5726432 w 6251734"/>
              <a:gd name="connsiteY497" fmla="*/ 3935630 h 5808721"/>
              <a:gd name="connsiteX498" fmla="*/ 5746148 w 6251734"/>
              <a:gd name="connsiteY498" fmla="*/ 3929629 h 5808721"/>
              <a:gd name="connsiteX499" fmla="*/ 5757293 w 6251734"/>
              <a:gd name="connsiteY499" fmla="*/ 3928772 h 5808721"/>
              <a:gd name="connsiteX500" fmla="*/ 5765008 w 6251734"/>
              <a:gd name="connsiteY500" fmla="*/ 3939916 h 5808721"/>
              <a:gd name="connsiteX501" fmla="*/ 5776152 w 6251734"/>
              <a:gd name="connsiteY501" fmla="*/ 3937345 h 5808721"/>
              <a:gd name="connsiteX502" fmla="*/ 5792440 w 6251734"/>
              <a:gd name="connsiteY502" fmla="*/ 3944203 h 5808721"/>
              <a:gd name="connsiteX503" fmla="*/ 5789011 w 6251734"/>
              <a:gd name="connsiteY503" fmla="*/ 3960491 h 5808721"/>
              <a:gd name="connsiteX504" fmla="*/ 5789011 w 6251734"/>
              <a:gd name="connsiteY504" fmla="*/ 3966491 h 5808721"/>
              <a:gd name="connsiteX505" fmla="*/ 5790725 w 6251734"/>
              <a:gd name="connsiteY505" fmla="*/ 3988780 h 5808721"/>
              <a:gd name="connsiteX506" fmla="*/ 5798440 w 6251734"/>
              <a:gd name="connsiteY506" fmla="*/ 3999924 h 5808721"/>
              <a:gd name="connsiteX507" fmla="*/ 5803584 w 6251734"/>
              <a:gd name="connsiteY507" fmla="*/ 4007639 h 5808721"/>
              <a:gd name="connsiteX508" fmla="*/ 5812157 w 6251734"/>
              <a:gd name="connsiteY508" fmla="*/ 4020498 h 5808721"/>
              <a:gd name="connsiteX509" fmla="*/ 5814728 w 6251734"/>
              <a:gd name="connsiteY509" fmla="*/ 4032499 h 5808721"/>
              <a:gd name="connsiteX510" fmla="*/ 5803584 w 6251734"/>
              <a:gd name="connsiteY510" fmla="*/ 4044501 h 5808721"/>
              <a:gd name="connsiteX511" fmla="*/ 5798440 w 6251734"/>
              <a:gd name="connsiteY511" fmla="*/ 4060789 h 5808721"/>
              <a:gd name="connsiteX512" fmla="*/ 5794154 w 6251734"/>
              <a:gd name="connsiteY512" fmla="*/ 4071075 h 5808721"/>
              <a:gd name="connsiteX513" fmla="*/ 5801012 w 6251734"/>
              <a:gd name="connsiteY513" fmla="*/ 4081363 h 5808721"/>
              <a:gd name="connsiteX514" fmla="*/ 5811299 w 6251734"/>
              <a:gd name="connsiteY514" fmla="*/ 4094221 h 5808721"/>
              <a:gd name="connsiteX515" fmla="*/ 5813871 w 6251734"/>
              <a:gd name="connsiteY515" fmla="*/ 4106223 h 5808721"/>
              <a:gd name="connsiteX516" fmla="*/ 5813871 w 6251734"/>
              <a:gd name="connsiteY516" fmla="*/ 4115653 h 5808721"/>
              <a:gd name="connsiteX517" fmla="*/ 5819015 w 6251734"/>
              <a:gd name="connsiteY517" fmla="*/ 4127654 h 5808721"/>
              <a:gd name="connsiteX518" fmla="*/ 5825873 w 6251734"/>
              <a:gd name="connsiteY518" fmla="*/ 4143942 h 5808721"/>
              <a:gd name="connsiteX519" fmla="*/ 5830159 w 6251734"/>
              <a:gd name="connsiteY519" fmla="*/ 4143942 h 5808721"/>
              <a:gd name="connsiteX520" fmla="*/ 5848161 w 6251734"/>
              <a:gd name="connsiteY520" fmla="*/ 4136227 h 5808721"/>
              <a:gd name="connsiteX521" fmla="*/ 5870450 w 6251734"/>
              <a:gd name="connsiteY521" fmla="*/ 4126797 h 5808721"/>
              <a:gd name="connsiteX522" fmla="*/ 5873878 w 6251734"/>
              <a:gd name="connsiteY522" fmla="*/ 4117367 h 5808721"/>
              <a:gd name="connsiteX523" fmla="*/ 5888452 w 6251734"/>
              <a:gd name="connsiteY523" fmla="*/ 4105365 h 5808721"/>
              <a:gd name="connsiteX524" fmla="*/ 5900453 w 6251734"/>
              <a:gd name="connsiteY524" fmla="*/ 4087363 h 5808721"/>
              <a:gd name="connsiteX525" fmla="*/ 5900453 w 6251734"/>
              <a:gd name="connsiteY525" fmla="*/ 4075362 h 5808721"/>
              <a:gd name="connsiteX526" fmla="*/ 5911598 w 6251734"/>
              <a:gd name="connsiteY526" fmla="*/ 4071933 h 5808721"/>
              <a:gd name="connsiteX527" fmla="*/ 5915884 w 6251734"/>
              <a:gd name="connsiteY527" fmla="*/ 4064218 h 5808721"/>
              <a:gd name="connsiteX528" fmla="*/ 5929600 w 6251734"/>
              <a:gd name="connsiteY528" fmla="*/ 4051359 h 5808721"/>
              <a:gd name="connsiteX529" fmla="*/ 5924456 w 6251734"/>
              <a:gd name="connsiteY529" fmla="*/ 4039358 h 5808721"/>
              <a:gd name="connsiteX530" fmla="*/ 5934743 w 6251734"/>
              <a:gd name="connsiteY530" fmla="*/ 4027356 h 5808721"/>
              <a:gd name="connsiteX531" fmla="*/ 5933886 w 6251734"/>
              <a:gd name="connsiteY531" fmla="*/ 4005925 h 5808721"/>
              <a:gd name="connsiteX532" fmla="*/ 5933886 w 6251734"/>
              <a:gd name="connsiteY532" fmla="*/ 3991351 h 5808721"/>
              <a:gd name="connsiteX533" fmla="*/ 5940744 w 6251734"/>
              <a:gd name="connsiteY533" fmla="*/ 3982779 h 5808721"/>
              <a:gd name="connsiteX534" fmla="*/ 5944173 w 6251734"/>
              <a:gd name="connsiteY534" fmla="*/ 3965634 h 5808721"/>
              <a:gd name="connsiteX535" fmla="*/ 5955317 w 6251734"/>
              <a:gd name="connsiteY535" fmla="*/ 3953632 h 5808721"/>
              <a:gd name="connsiteX536" fmla="*/ 5958746 w 6251734"/>
              <a:gd name="connsiteY536" fmla="*/ 3930487 h 5808721"/>
              <a:gd name="connsiteX537" fmla="*/ 5965604 w 6251734"/>
              <a:gd name="connsiteY537" fmla="*/ 3917628 h 5808721"/>
              <a:gd name="connsiteX538" fmla="*/ 5968176 w 6251734"/>
              <a:gd name="connsiteY538" fmla="*/ 3902197 h 5808721"/>
              <a:gd name="connsiteX539" fmla="*/ 5961318 w 6251734"/>
              <a:gd name="connsiteY539" fmla="*/ 3894482 h 5808721"/>
              <a:gd name="connsiteX540" fmla="*/ 5949317 w 6251734"/>
              <a:gd name="connsiteY540" fmla="*/ 3897054 h 5808721"/>
              <a:gd name="connsiteX541" fmla="*/ 5942458 w 6251734"/>
              <a:gd name="connsiteY541" fmla="*/ 3898768 h 5808721"/>
              <a:gd name="connsiteX542" fmla="*/ 5933029 w 6251734"/>
              <a:gd name="connsiteY542" fmla="*/ 3895339 h 5808721"/>
              <a:gd name="connsiteX543" fmla="*/ 5933029 w 6251734"/>
              <a:gd name="connsiteY543" fmla="*/ 3884195 h 5808721"/>
              <a:gd name="connsiteX544" fmla="*/ 5921885 w 6251734"/>
              <a:gd name="connsiteY544" fmla="*/ 3879909 h 5808721"/>
              <a:gd name="connsiteX545" fmla="*/ 5915884 w 6251734"/>
              <a:gd name="connsiteY545" fmla="*/ 3867050 h 5808721"/>
              <a:gd name="connsiteX546" fmla="*/ 5909883 w 6251734"/>
              <a:gd name="connsiteY546" fmla="*/ 3855049 h 5808721"/>
              <a:gd name="connsiteX547" fmla="*/ 5900453 w 6251734"/>
              <a:gd name="connsiteY547" fmla="*/ 3850762 h 5808721"/>
              <a:gd name="connsiteX548" fmla="*/ 5897024 w 6251734"/>
              <a:gd name="connsiteY548" fmla="*/ 3833617 h 5808721"/>
              <a:gd name="connsiteX549" fmla="*/ 5906454 w 6251734"/>
              <a:gd name="connsiteY549" fmla="*/ 3830188 h 5808721"/>
              <a:gd name="connsiteX550" fmla="*/ 5912455 w 6251734"/>
              <a:gd name="connsiteY550" fmla="*/ 3835332 h 5808721"/>
              <a:gd name="connsiteX551" fmla="*/ 5918455 w 6251734"/>
              <a:gd name="connsiteY551" fmla="*/ 3845619 h 5808721"/>
              <a:gd name="connsiteX552" fmla="*/ 5921027 w 6251734"/>
              <a:gd name="connsiteY552" fmla="*/ 3858478 h 5808721"/>
              <a:gd name="connsiteX553" fmla="*/ 5935600 w 6251734"/>
              <a:gd name="connsiteY553" fmla="*/ 3867907 h 5808721"/>
              <a:gd name="connsiteX554" fmla="*/ 5944173 w 6251734"/>
              <a:gd name="connsiteY554" fmla="*/ 3879052 h 5808721"/>
              <a:gd name="connsiteX555" fmla="*/ 5964747 w 6251734"/>
              <a:gd name="connsiteY555" fmla="*/ 3874766 h 5808721"/>
              <a:gd name="connsiteX556" fmla="*/ 5969033 w 6251734"/>
              <a:gd name="connsiteY556" fmla="*/ 3863621 h 5808721"/>
              <a:gd name="connsiteX557" fmla="*/ 5972462 w 6251734"/>
              <a:gd name="connsiteY557" fmla="*/ 3851620 h 5808721"/>
              <a:gd name="connsiteX558" fmla="*/ 5968176 w 6251734"/>
              <a:gd name="connsiteY558" fmla="*/ 3837046 h 5808721"/>
              <a:gd name="connsiteX559" fmla="*/ 5968176 w 6251734"/>
              <a:gd name="connsiteY559" fmla="*/ 3825045 h 5808721"/>
              <a:gd name="connsiteX560" fmla="*/ 5963890 w 6251734"/>
              <a:gd name="connsiteY560" fmla="*/ 3814758 h 5808721"/>
              <a:gd name="connsiteX561" fmla="*/ 5967319 w 6251734"/>
              <a:gd name="connsiteY561" fmla="*/ 3815615 h 5808721"/>
              <a:gd name="connsiteX562" fmla="*/ 5979320 w 6251734"/>
              <a:gd name="connsiteY562" fmla="*/ 3819901 h 5808721"/>
              <a:gd name="connsiteX563" fmla="*/ 5987893 w 6251734"/>
              <a:gd name="connsiteY563" fmla="*/ 3836189 h 5808721"/>
              <a:gd name="connsiteX564" fmla="*/ 5995608 w 6251734"/>
              <a:gd name="connsiteY564" fmla="*/ 3843904 h 5808721"/>
              <a:gd name="connsiteX565" fmla="*/ 6001609 w 6251734"/>
              <a:gd name="connsiteY565" fmla="*/ 3850762 h 5808721"/>
              <a:gd name="connsiteX566" fmla="*/ 6005895 w 6251734"/>
              <a:gd name="connsiteY566" fmla="*/ 3862764 h 5808721"/>
              <a:gd name="connsiteX567" fmla="*/ 6014468 w 6251734"/>
              <a:gd name="connsiteY567" fmla="*/ 3873051 h 5808721"/>
              <a:gd name="connsiteX568" fmla="*/ 6016182 w 6251734"/>
              <a:gd name="connsiteY568" fmla="*/ 3869622 h 5808721"/>
              <a:gd name="connsiteX569" fmla="*/ 5825350 w 6251734"/>
              <a:gd name="connsiteY569" fmla="*/ 3652510 h 5808721"/>
              <a:gd name="connsiteX570" fmla="*/ 5820840 w 6251734"/>
              <a:gd name="connsiteY570" fmla="*/ 3650383 h 5808721"/>
              <a:gd name="connsiteX571" fmla="*/ 5876805 w 6251734"/>
              <a:gd name="connsiteY571" fmla="*/ 3675659 h 5808721"/>
              <a:gd name="connsiteX572" fmla="*/ 5998180 w 6251734"/>
              <a:gd name="connsiteY572" fmla="*/ 4119082 h 5808721"/>
              <a:gd name="connsiteX573" fmla="*/ 5717002 w 6251734"/>
              <a:gd name="connsiteY573" fmla="*/ 4286246 h 5808721"/>
              <a:gd name="connsiteX574" fmla="*/ 5835302 w 6251734"/>
              <a:gd name="connsiteY574" fmla="*/ 4250241 h 5808721"/>
              <a:gd name="connsiteX575" fmla="*/ 5819015 w 6251734"/>
              <a:gd name="connsiteY575" fmla="*/ 4251098 h 5808721"/>
              <a:gd name="connsiteX576" fmla="*/ 5802727 w 6251734"/>
              <a:gd name="connsiteY576" fmla="*/ 4244240 h 5808721"/>
              <a:gd name="connsiteX577" fmla="*/ 5793297 w 6251734"/>
              <a:gd name="connsiteY577" fmla="*/ 4242525 h 5808721"/>
              <a:gd name="connsiteX578" fmla="*/ 5777867 w 6251734"/>
              <a:gd name="connsiteY578" fmla="*/ 4245098 h 5808721"/>
              <a:gd name="connsiteX579" fmla="*/ 5765865 w 6251734"/>
              <a:gd name="connsiteY579" fmla="*/ 4251098 h 5808721"/>
              <a:gd name="connsiteX580" fmla="*/ 5755578 w 6251734"/>
              <a:gd name="connsiteY580" fmla="*/ 4250241 h 5808721"/>
              <a:gd name="connsiteX581" fmla="*/ 5742719 w 6251734"/>
              <a:gd name="connsiteY581" fmla="*/ 4251098 h 5808721"/>
              <a:gd name="connsiteX582" fmla="*/ 5747005 w 6251734"/>
              <a:gd name="connsiteY582" fmla="*/ 4240811 h 5808721"/>
              <a:gd name="connsiteX583" fmla="*/ 5735861 w 6251734"/>
              <a:gd name="connsiteY583" fmla="*/ 4239097 h 5808721"/>
              <a:gd name="connsiteX584" fmla="*/ 5729003 w 6251734"/>
              <a:gd name="connsiteY584" fmla="*/ 4247669 h 5808721"/>
              <a:gd name="connsiteX585" fmla="*/ 5723003 w 6251734"/>
              <a:gd name="connsiteY585" fmla="*/ 4258813 h 5808721"/>
              <a:gd name="connsiteX586" fmla="*/ 5701571 w 6251734"/>
              <a:gd name="connsiteY586" fmla="*/ 4254527 h 5808721"/>
              <a:gd name="connsiteX587" fmla="*/ 5689569 w 6251734"/>
              <a:gd name="connsiteY587" fmla="*/ 4251956 h 5808721"/>
              <a:gd name="connsiteX588" fmla="*/ 5690426 w 6251734"/>
              <a:gd name="connsiteY588" fmla="*/ 4247669 h 5808721"/>
              <a:gd name="connsiteX589" fmla="*/ 5702427 w 6251734"/>
              <a:gd name="connsiteY589" fmla="*/ 4239097 h 5808721"/>
              <a:gd name="connsiteX590" fmla="*/ 5714430 w 6251734"/>
              <a:gd name="connsiteY590" fmla="*/ 4232239 h 5808721"/>
              <a:gd name="connsiteX591" fmla="*/ 5708429 w 6251734"/>
              <a:gd name="connsiteY591" fmla="*/ 4225380 h 5808721"/>
              <a:gd name="connsiteX592" fmla="*/ 5702427 w 6251734"/>
              <a:gd name="connsiteY592" fmla="*/ 4230524 h 5808721"/>
              <a:gd name="connsiteX593" fmla="*/ 5677567 w 6251734"/>
              <a:gd name="connsiteY593" fmla="*/ 4231381 h 5808721"/>
              <a:gd name="connsiteX594" fmla="*/ 5656993 w 6251734"/>
              <a:gd name="connsiteY594" fmla="*/ 4233096 h 5808721"/>
              <a:gd name="connsiteX595" fmla="*/ 5653564 w 6251734"/>
              <a:gd name="connsiteY595" fmla="*/ 4226238 h 5808721"/>
              <a:gd name="connsiteX596" fmla="*/ 5638991 w 6251734"/>
              <a:gd name="connsiteY596" fmla="*/ 4233096 h 5808721"/>
              <a:gd name="connsiteX597" fmla="*/ 5618417 w 6251734"/>
              <a:gd name="connsiteY597" fmla="*/ 4236525 h 5808721"/>
              <a:gd name="connsiteX598" fmla="*/ 5608130 w 6251734"/>
              <a:gd name="connsiteY598" fmla="*/ 4238239 h 5808721"/>
              <a:gd name="connsiteX599" fmla="*/ 5607273 w 6251734"/>
              <a:gd name="connsiteY599" fmla="*/ 4232239 h 5808721"/>
              <a:gd name="connsiteX600" fmla="*/ 5596986 w 6251734"/>
              <a:gd name="connsiteY600" fmla="*/ 4240811 h 5808721"/>
              <a:gd name="connsiteX601" fmla="*/ 5584984 w 6251734"/>
              <a:gd name="connsiteY601" fmla="*/ 4242525 h 5808721"/>
              <a:gd name="connsiteX602" fmla="*/ 5583270 w 6251734"/>
              <a:gd name="connsiteY602" fmla="*/ 4256242 h 5808721"/>
              <a:gd name="connsiteX603" fmla="*/ 5664709 w 6251734"/>
              <a:gd name="connsiteY603" fmla="*/ 4287103 h 5808721"/>
              <a:gd name="connsiteX604" fmla="*/ 5372386 w 6251734"/>
              <a:gd name="connsiteY604" fmla="*/ 3912484 h 5808721"/>
              <a:gd name="connsiteX605" fmla="*/ 5375815 w 6251734"/>
              <a:gd name="connsiteY605" fmla="*/ 3909913 h 5808721"/>
              <a:gd name="connsiteX606" fmla="*/ 5378387 w 6251734"/>
              <a:gd name="connsiteY606" fmla="*/ 3921057 h 5808721"/>
              <a:gd name="connsiteX607" fmla="*/ 5384388 w 6251734"/>
              <a:gd name="connsiteY607" fmla="*/ 3929629 h 5808721"/>
              <a:gd name="connsiteX608" fmla="*/ 5391246 w 6251734"/>
              <a:gd name="connsiteY608" fmla="*/ 3939059 h 5808721"/>
              <a:gd name="connsiteX609" fmla="*/ 5386959 w 6251734"/>
              <a:gd name="connsiteY609" fmla="*/ 3953632 h 5808721"/>
              <a:gd name="connsiteX610" fmla="*/ 5395532 w 6251734"/>
              <a:gd name="connsiteY610" fmla="*/ 3977636 h 5808721"/>
              <a:gd name="connsiteX611" fmla="*/ 5394675 w 6251734"/>
              <a:gd name="connsiteY611" fmla="*/ 4006782 h 5808721"/>
              <a:gd name="connsiteX612" fmla="*/ 5413534 w 6251734"/>
              <a:gd name="connsiteY612" fmla="*/ 4051359 h 5808721"/>
              <a:gd name="connsiteX613" fmla="*/ 5420392 w 6251734"/>
              <a:gd name="connsiteY613" fmla="*/ 4065932 h 5808721"/>
              <a:gd name="connsiteX614" fmla="*/ 5432394 w 6251734"/>
              <a:gd name="connsiteY614" fmla="*/ 4075362 h 5808721"/>
              <a:gd name="connsiteX615" fmla="*/ 5438394 w 6251734"/>
              <a:gd name="connsiteY615" fmla="*/ 4101079 h 5808721"/>
              <a:gd name="connsiteX616" fmla="*/ 5446110 w 6251734"/>
              <a:gd name="connsiteY616" fmla="*/ 4123368 h 5808721"/>
              <a:gd name="connsiteX617" fmla="*/ 5455539 w 6251734"/>
              <a:gd name="connsiteY617" fmla="*/ 4135369 h 5808721"/>
              <a:gd name="connsiteX618" fmla="*/ 5462397 w 6251734"/>
              <a:gd name="connsiteY618" fmla="*/ 4148228 h 5808721"/>
              <a:gd name="connsiteX619" fmla="*/ 5470113 w 6251734"/>
              <a:gd name="connsiteY619" fmla="*/ 4160230 h 5808721"/>
              <a:gd name="connsiteX620" fmla="*/ 5484686 w 6251734"/>
              <a:gd name="connsiteY620" fmla="*/ 4188519 h 5808721"/>
              <a:gd name="connsiteX621" fmla="*/ 5491544 w 6251734"/>
              <a:gd name="connsiteY621" fmla="*/ 4198806 h 5808721"/>
              <a:gd name="connsiteX622" fmla="*/ 5511261 w 6251734"/>
              <a:gd name="connsiteY622" fmla="*/ 4210808 h 5808721"/>
              <a:gd name="connsiteX623" fmla="*/ 5524119 w 6251734"/>
              <a:gd name="connsiteY623" fmla="*/ 4221094 h 5808721"/>
              <a:gd name="connsiteX624" fmla="*/ 5525834 w 6251734"/>
              <a:gd name="connsiteY624" fmla="*/ 4215094 h 5808721"/>
              <a:gd name="connsiteX625" fmla="*/ 5518119 w 6251734"/>
              <a:gd name="connsiteY625" fmla="*/ 4206521 h 5808721"/>
              <a:gd name="connsiteX626" fmla="*/ 5509546 w 6251734"/>
              <a:gd name="connsiteY626" fmla="*/ 4195377 h 5808721"/>
              <a:gd name="connsiteX627" fmla="*/ 5505260 w 6251734"/>
              <a:gd name="connsiteY627" fmla="*/ 4185947 h 5808721"/>
              <a:gd name="connsiteX628" fmla="*/ 5495830 w 6251734"/>
              <a:gd name="connsiteY628" fmla="*/ 4173088 h 5808721"/>
              <a:gd name="connsiteX629" fmla="*/ 5500117 w 6251734"/>
              <a:gd name="connsiteY629" fmla="*/ 4165373 h 5808721"/>
              <a:gd name="connsiteX630" fmla="*/ 5503546 w 6251734"/>
              <a:gd name="connsiteY630" fmla="*/ 4160230 h 5808721"/>
              <a:gd name="connsiteX631" fmla="*/ 5500117 w 6251734"/>
              <a:gd name="connsiteY631" fmla="*/ 4147371 h 5808721"/>
              <a:gd name="connsiteX632" fmla="*/ 5508689 w 6251734"/>
              <a:gd name="connsiteY632" fmla="*/ 4119082 h 5808721"/>
              <a:gd name="connsiteX633" fmla="*/ 5508689 w 6251734"/>
              <a:gd name="connsiteY633" fmla="*/ 4103651 h 5808721"/>
              <a:gd name="connsiteX634" fmla="*/ 5518119 w 6251734"/>
              <a:gd name="connsiteY634" fmla="*/ 4096793 h 5808721"/>
              <a:gd name="connsiteX635" fmla="*/ 5531835 w 6251734"/>
              <a:gd name="connsiteY635" fmla="*/ 4087363 h 5808721"/>
              <a:gd name="connsiteX636" fmla="*/ 5530120 w 6251734"/>
              <a:gd name="connsiteY636" fmla="*/ 4078791 h 5808721"/>
              <a:gd name="connsiteX637" fmla="*/ 5534407 w 6251734"/>
              <a:gd name="connsiteY637" fmla="*/ 4070218 h 5808721"/>
              <a:gd name="connsiteX638" fmla="*/ 5535264 w 6251734"/>
              <a:gd name="connsiteY638" fmla="*/ 4056503 h 5808721"/>
              <a:gd name="connsiteX639" fmla="*/ 5530977 w 6251734"/>
              <a:gd name="connsiteY639" fmla="*/ 4045358 h 5808721"/>
              <a:gd name="connsiteX640" fmla="*/ 5532692 w 6251734"/>
              <a:gd name="connsiteY640" fmla="*/ 4034214 h 5808721"/>
              <a:gd name="connsiteX641" fmla="*/ 5542122 w 6251734"/>
              <a:gd name="connsiteY641" fmla="*/ 4020498 h 5808721"/>
              <a:gd name="connsiteX642" fmla="*/ 5547265 w 6251734"/>
              <a:gd name="connsiteY642" fmla="*/ 4007639 h 5808721"/>
              <a:gd name="connsiteX643" fmla="*/ 5542122 w 6251734"/>
              <a:gd name="connsiteY643" fmla="*/ 4000781 h 5808721"/>
              <a:gd name="connsiteX644" fmla="*/ 5529263 w 6251734"/>
              <a:gd name="connsiteY644" fmla="*/ 3993923 h 5808721"/>
              <a:gd name="connsiteX645" fmla="*/ 5520691 w 6251734"/>
              <a:gd name="connsiteY645" fmla="*/ 3982779 h 5808721"/>
              <a:gd name="connsiteX646" fmla="*/ 5504403 w 6251734"/>
              <a:gd name="connsiteY646" fmla="*/ 3981922 h 5808721"/>
              <a:gd name="connsiteX647" fmla="*/ 5500974 w 6251734"/>
              <a:gd name="connsiteY647" fmla="*/ 3976778 h 5808721"/>
              <a:gd name="connsiteX648" fmla="*/ 5488115 w 6251734"/>
              <a:gd name="connsiteY648" fmla="*/ 3971635 h 5808721"/>
              <a:gd name="connsiteX649" fmla="*/ 5486401 w 6251734"/>
              <a:gd name="connsiteY649" fmla="*/ 3964777 h 5808721"/>
              <a:gd name="connsiteX650" fmla="*/ 5476971 w 6251734"/>
              <a:gd name="connsiteY650" fmla="*/ 3963062 h 5808721"/>
              <a:gd name="connsiteX651" fmla="*/ 5475256 w 6251734"/>
              <a:gd name="connsiteY651" fmla="*/ 3957061 h 5808721"/>
              <a:gd name="connsiteX652" fmla="*/ 5474399 w 6251734"/>
              <a:gd name="connsiteY652" fmla="*/ 3947632 h 5808721"/>
              <a:gd name="connsiteX653" fmla="*/ 5469256 w 6251734"/>
              <a:gd name="connsiteY653" fmla="*/ 3938202 h 5808721"/>
              <a:gd name="connsiteX654" fmla="*/ 5464969 w 6251734"/>
              <a:gd name="connsiteY654" fmla="*/ 3932201 h 5808721"/>
              <a:gd name="connsiteX655" fmla="*/ 5453825 w 6251734"/>
              <a:gd name="connsiteY655" fmla="*/ 3930487 h 5808721"/>
              <a:gd name="connsiteX656" fmla="*/ 5444395 w 6251734"/>
              <a:gd name="connsiteY656" fmla="*/ 3925343 h 5808721"/>
              <a:gd name="connsiteX657" fmla="*/ 5441824 w 6251734"/>
              <a:gd name="connsiteY657" fmla="*/ 3916771 h 5808721"/>
              <a:gd name="connsiteX658" fmla="*/ 5437537 w 6251734"/>
              <a:gd name="connsiteY658" fmla="*/ 3907341 h 5808721"/>
              <a:gd name="connsiteX659" fmla="*/ 5431536 w 6251734"/>
              <a:gd name="connsiteY659" fmla="*/ 3903055 h 5808721"/>
              <a:gd name="connsiteX660" fmla="*/ 5419535 w 6251734"/>
              <a:gd name="connsiteY660" fmla="*/ 3905626 h 5808721"/>
              <a:gd name="connsiteX661" fmla="*/ 5418678 w 6251734"/>
              <a:gd name="connsiteY661" fmla="*/ 3897911 h 5808721"/>
              <a:gd name="connsiteX662" fmla="*/ 5411820 w 6251734"/>
              <a:gd name="connsiteY662" fmla="*/ 3896197 h 5808721"/>
              <a:gd name="connsiteX663" fmla="*/ 5406676 w 6251734"/>
              <a:gd name="connsiteY663" fmla="*/ 3899626 h 5808721"/>
              <a:gd name="connsiteX664" fmla="*/ 5404104 w 6251734"/>
              <a:gd name="connsiteY664" fmla="*/ 3903055 h 5808721"/>
              <a:gd name="connsiteX665" fmla="*/ 5398104 w 6251734"/>
              <a:gd name="connsiteY665" fmla="*/ 3911627 h 5808721"/>
              <a:gd name="connsiteX666" fmla="*/ 5396389 w 6251734"/>
              <a:gd name="connsiteY666" fmla="*/ 3909913 h 5808721"/>
              <a:gd name="connsiteX667" fmla="*/ 5393817 w 6251734"/>
              <a:gd name="connsiteY667" fmla="*/ 3906484 h 5808721"/>
              <a:gd name="connsiteX668" fmla="*/ 5390389 w 6251734"/>
              <a:gd name="connsiteY668" fmla="*/ 3893625 h 5808721"/>
              <a:gd name="connsiteX669" fmla="*/ 5393817 w 6251734"/>
              <a:gd name="connsiteY669" fmla="*/ 3884195 h 5808721"/>
              <a:gd name="connsiteX670" fmla="*/ 5392960 w 6251734"/>
              <a:gd name="connsiteY670" fmla="*/ 3871336 h 5808721"/>
              <a:gd name="connsiteX671" fmla="*/ 5393817 w 6251734"/>
              <a:gd name="connsiteY671" fmla="*/ 3861049 h 5808721"/>
              <a:gd name="connsiteX672" fmla="*/ 5392960 w 6251734"/>
              <a:gd name="connsiteY672" fmla="*/ 3853334 h 5808721"/>
              <a:gd name="connsiteX673" fmla="*/ 5388674 w 6251734"/>
              <a:gd name="connsiteY673" fmla="*/ 3851620 h 5808721"/>
              <a:gd name="connsiteX674" fmla="*/ 5402390 w 6251734"/>
              <a:gd name="connsiteY674" fmla="*/ 3815615 h 5808721"/>
              <a:gd name="connsiteX675" fmla="*/ 5400676 w 6251734"/>
              <a:gd name="connsiteY675" fmla="*/ 3826759 h 5808721"/>
              <a:gd name="connsiteX676" fmla="*/ 5399818 w 6251734"/>
              <a:gd name="connsiteY676" fmla="*/ 3833617 h 5808721"/>
              <a:gd name="connsiteX677" fmla="*/ 5398961 w 6251734"/>
              <a:gd name="connsiteY677" fmla="*/ 3841333 h 5808721"/>
              <a:gd name="connsiteX678" fmla="*/ 5401533 w 6251734"/>
              <a:gd name="connsiteY678" fmla="*/ 3842190 h 5808721"/>
              <a:gd name="connsiteX679" fmla="*/ 5406676 w 6251734"/>
              <a:gd name="connsiteY679" fmla="*/ 3845619 h 5808721"/>
              <a:gd name="connsiteX680" fmla="*/ 5408391 w 6251734"/>
              <a:gd name="connsiteY680" fmla="*/ 3845619 h 5808721"/>
              <a:gd name="connsiteX681" fmla="*/ 5412677 w 6251734"/>
              <a:gd name="connsiteY681" fmla="*/ 3850762 h 5808721"/>
              <a:gd name="connsiteX682" fmla="*/ 5411820 w 6251734"/>
              <a:gd name="connsiteY682" fmla="*/ 3857621 h 5808721"/>
              <a:gd name="connsiteX683" fmla="*/ 5413534 w 6251734"/>
              <a:gd name="connsiteY683" fmla="*/ 3859335 h 5808721"/>
              <a:gd name="connsiteX684" fmla="*/ 5418678 w 6251734"/>
              <a:gd name="connsiteY684" fmla="*/ 3861907 h 5808721"/>
              <a:gd name="connsiteX685" fmla="*/ 5425536 w 6251734"/>
              <a:gd name="connsiteY685" fmla="*/ 3861049 h 5808721"/>
              <a:gd name="connsiteX686" fmla="*/ 5428965 w 6251734"/>
              <a:gd name="connsiteY686" fmla="*/ 3865336 h 5808721"/>
              <a:gd name="connsiteX687" fmla="*/ 5430679 w 6251734"/>
              <a:gd name="connsiteY687" fmla="*/ 3868765 h 5808721"/>
              <a:gd name="connsiteX688" fmla="*/ 5434108 w 6251734"/>
              <a:gd name="connsiteY688" fmla="*/ 3865336 h 5808721"/>
              <a:gd name="connsiteX689" fmla="*/ 5435823 w 6251734"/>
              <a:gd name="connsiteY689" fmla="*/ 3861049 h 5808721"/>
              <a:gd name="connsiteX690" fmla="*/ 5432394 w 6251734"/>
              <a:gd name="connsiteY690" fmla="*/ 3858478 h 5808721"/>
              <a:gd name="connsiteX691" fmla="*/ 5427250 w 6251734"/>
              <a:gd name="connsiteY691" fmla="*/ 3855049 h 5808721"/>
              <a:gd name="connsiteX692" fmla="*/ 5421249 w 6251734"/>
              <a:gd name="connsiteY692" fmla="*/ 3853334 h 5808721"/>
              <a:gd name="connsiteX693" fmla="*/ 5415249 w 6251734"/>
              <a:gd name="connsiteY693" fmla="*/ 3852477 h 5808721"/>
              <a:gd name="connsiteX694" fmla="*/ 5415249 w 6251734"/>
              <a:gd name="connsiteY694" fmla="*/ 3845619 h 5808721"/>
              <a:gd name="connsiteX695" fmla="*/ 5415249 w 6251734"/>
              <a:gd name="connsiteY695" fmla="*/ 3837904 h 5808721"/>
              <a:gd name="connsiteX696" fmla="*/ 5410962 w 6251734"/>
              <a:gd name="connsiteY696" fmla="*/ 3837046 h 5808721"/>
              <a:gd name="connsiteX697" fmla="*/ 5406676 w 6251734"/>
              <a:gd name="connsiteY697" fmla="*/ 3833617 h 5808721"/>
              <a:gd name="connsiteX698" fmla="*/ 5410105 w 6251734"/>
              <a:gd name="connsiteY698" fmla="*/ 3826759 h 5808721"/>
              <a:gd name="connsiteX699" fmla="*/ 5420392 w 6251734"/>
              <a:gd name="connsiteY699" fmla="*/ 3822473 h 5808721"/>
              <a:gd name="connsiteX700" fmla="*/ 5425536 w 6251734"/>
              <a:gd name="connsiteY700" fmla="*/ 3818187 h 5808721"/>
              <a:gd name="connsiteX701" fmla="*/ 5428965 w 6251734"/>
              <a:gd name="connsiteY701" fmla="*/ 3810472 h 5808721"/>
              <a:gd name="connsiteX702" fmla="*/ 5432394 w 6251734"/>
              <a:gd name="connsiteY702" fmla="*/ 3801899 h 5808721"/>
              <a:gd name="connsiteX703" fmla="*/ 5434108 w 6251734"/>
              <a:gd name="connsiteY703" fmla="*/ 3792469 h 5808721"/>
              <a:gd name="connsiteX704" fmla="*/ 5439252 w 6251734"/>
              <a:gd name="connsiteY704" fmla="*/ 3785611 h 5808721"/>
              <a:gd name="connsiteX705" fmla="*/ 5451253 w 6251734"/>
              <a:gd name="connsiteY705" fmla="*/ 3776182 h 5808721"/>
              <a:gd name="connsiteX706" fmla="*/ 5458111 w 6251734"/>
              <a:gd name="connsiteY706" fmla="*/ 3770181 h 5808721"/>
              <a:gd name="connsiteX707" fmla="*/ 5460683 w 6251734"/>
              <a:gd name="connsiteY707" fmla="*/ 3764180 h 5808721"/>
              <a:gd name="connsiteX708" fmla="*/ 5466684 w 6251734"/>
              <a:gd name="connsiteY708" fmla="*/ 3761608 h 5808721"/>
              <a:gd name="connsiteX709" fmla="*/ 5474399 w 6251734"/>
              <a:gd name="connsiteY709" fmla="*/ 3757322 h 5808721"/>
              <a:gd name="connsiteX710" fmla="*/ 5476971 w 6251734"/>
              <a:gd name="connsiteY710" fmla="*/ 3749607 h 5808721"/>
              <a:gd name="connsiteX711" fmla="*/ 5479542 w 6251734"/>
              <a:gd name="connsiteY711" fmla="*/ 3747035 h 5808721"/>
              <a:gd name="connsiteX712" fmla="*/ 5488115 w 6251734"/>
              <a:gd name="connsiteY712" fmla="*/ 3741034 h 5808721"/>
              <a:gd name="connsiteX713" fmla="*/ 5491544 w 6251734"/>
              <a:gd name="connsiteY713" fmla="*/ 3738463 h 5808721"/>
              <a:gd name="connsiteX714" fmla="*/ 5498402 w 6251734"/>
              <a:gd name="connsiteY714" fmla="*/ 3739320 h 5808721"/>
              <a:gd name="connsiteX715" fmla="*/ 5507832 w 6251734"/>
              <a:gd name="connsiteY715" fmla="*/ 3741892 h 5808721"/>
              <a:gd name="connsiteX716" fmla="*/ 5512975 w 6251734"/>
              <a:gd name="connsiteY716" fmla="*/ 3741034 h 5808721"/>
              <a:gd name="connsiteX717" fmla="*/ 5514690 w 6251734"/>
              <a:gd name="connsiteY717" fmla="*/ 3735034 h 5808721"/>
              <a:gd name="connsiteX718" fmla="*/ 5513832 w 6251734"/>
              <a:gd name="connsiteY718" fmla="*/ 3731605 h 5808721"/>
              <a:gd name="connsiteX719" fmla="*/ 5509546 w 6251734"/>
              <a:gd name="connsiteY719" fmla="*/ 3729890 h 5808721"/>
              <a:gd name="connsiteX720" fmla="*/ 5511261 w 6251734"/>
              <a:gd name="connsiteY720" fmla="*/ 3723032 h 5808721"/>
              <a:gd name="connsiteX721" fmla="*/ 5517262 w 6251734"/>
              <a:gd name="connsiteY721" fmla="*/ 3718746 h 5808721"/>
              <a:gd name="connsiteX722" fmla="*/ 5525834 w 6251734"/>
              <a:gd name="connsiteY722" fmla="*/ 3713602 h 5808721"/>
              <a:gd name="connsiteX723" fmla="*/ 5530977 w 6251734"/>
              <a:gd name="connsiteY723" fmla="*/ 3717889 h 5808721"/>
              <a:gd name="connsiteX724" fmla="*/ 5531835 w 6251734"/>
              <a:gd name="connsiteY724" fmla="*/ 3720461 h 5808721"/>
              <a:gd name="connsiteX725" fmla="*/ 5524977 w 6251734"/>
              <a:gd name="connsiteY725" fmla="*/ 3724747 h 5808721"/>
              <a:gd name="connsiteX726" fmla="*/ 5528406 w 6251734"/>
              <a:gd name="connsiteY726" fmla="*/ 3730747 h 5808721"/>
              <a:gd name="connsiteX727" fmla="*/ 5536978 w 6251734"/>
              <a:gd name="connsiteY727" fmla="*/ 3730747 h 5808721"/>
              <a:gd name="connsiteX728" fmla="*/ 5542122 w 6251734"/>
              <a:gd name="connsiteY728" fmla="*/ 3727318 h 5808721"/>
              <a:gd name="connsiteX729" fmla="*/ 5543836 w 6251734"/>
              <a:gd name="connsiteY729" fmla="*/ 3723032 h 5808721"/>
              <a:gd name="connsiteX730" fmla="*/ 5543836 w 6251734"/>
              <a:gd name="connsiteY730" fmla="*/ 3716174 h 5808721"/>
              <a:gd name="connsiteX731" fmla="*/ 5542979 w 6251734"/>
              <a:gd name="connsiteY731" fmla="*/ 3710173 h 5808721"/>
              <a:gd name="connsiteX732" fmla="*/ 5545551 w 6251734"/>
              <a:gd name="connsiteY732" fmla="*/ 3705887 h 5808721"/>
              <a:gd name="connsiteX733" fmla="*/ 5548980 w 6251734"/>
              <a:gd name="connsiteY733" fmla="*/ 3703316 h 5808721"/>
              <a:gd name="connsiteX734" fmla="*/ 5551552 w 6251734"/>
              <a:gd name="connsiteY734" fmla="*/ 3699029 h 5808721"/>
              <a:gd name="connsiteX735" fmla="*/ 5551552 w 6251734"/>
              <a:gd name="connsiteY735" fmla="*/ 3692171 h 5808721"/>
              <a:gd name="connsiteX736" fmla="*/ 5557552 w 6251734"/>
              <a:gd name="connsiteY736" fmla="*/ 3683599 h 5808721"/>
              <a:gd name="connsiteX737" fmla="*/ 5560124 w 6251734"/>
              <a:gd name="connsiteY737" fmla="*/ 3679312 h 5808721"/>
              <a:gd name="connsiteX738" fmla="*/ 5552409 w 6251734"/>
              <a:gd name="connsiteY738" fmla="*/ 3675883 h 5808721"/>
              <a:gd name="connsiteX739" fmla="*/ 5522218 w 6251734"/>
              <a:gd name="connsiteY739" fmla="*/ 3685527 h 5808721"/>
              <a:gd name="connsiteX740" fmla="*/ 5496913 w 6251734"/>
              <a:gd name="connsiteY740" fmla="*/ 3702672 h 5808721"/>
              <a:gd name="connsiteX741" fmla="*/ 5518815 w 6251734"/>
              <a:gd name="connsiteY741" fmla="*/ 3683786 h 5808721"/>
              <a:gd name="connsiteX742" fmla="*/ 5647564 w 6251734"/>
              <a:gd name="connsiteY742" fmla="*/ 3633878 h 5808721"/>
              <a:gd name="connsiteX743" fmla="*/ 5699857 w 6251734"/>
              <a:gd name="connsiteY743" fmla="*/ 3627877 h 5808721"/>
              <a:gd name="connsiteX744" fmla="*/ 4861612 w 6251734"/>
              <a:gd name="connsiteY744" fmla="*/ 3580313 h 5808721"/>
              <a:gd name="connsiteX745" fmla="*/ 4631722 w 6251734"/>
              <a:gd name="connsiteY745" fmla="*/ 3723889 h 5808721"/>
              <a:gd name="connsiteX746" fmla="*/ 4753451 w 6251734"/>
              <a:gd name="connsiteY746" fmla="*/ 4048788 h 5808721"/>
              <a:gd name="connsiteX747" fmla="*/ 5078350 w 6251734"/>
              <a:gd name="connsiteY747" fmla="*/ 3927058 h 5808721"/>
              <a:gd name="connsiteX748" fmla="*/ 4956620 w 6251734"/>
              <a:gd name="connsiteY748" fmla="*/ 3602159 h 5808721"/>
              <a:gd name="connsiteX749" fmla="*/ 4861612 w 6251734"/>
              <a:gd name="connsiteY749" fmla="*/ 3580313 h 5808721"/>
              <a:gd name="connsiteX750" fmla="*/ 4863113 w 6251734"/>
              <a:gd name="connsiteY750" fmla="*/ 3524739 h 5808721"/>
              <a:gd name="connsiteX751" fmla="*/ 4979766 w 6251734"/>
              <a:gd name="connsiteY751" fmla="*/ 3551582 h 5808721"/>
              <a:gd name="connsiteX752" fmla="*/ 5128928 w 6251734"/>
              <a:gd name="connsiteY752" fmla="*/ 3950204 h 5808721"/>
              <a:gd name="connsiteX753" fmla="*/ 4788185 w 6251734"/>
              <a:gd name="connsiteY753" fmla="*/ 4118835 h 5808721"/>
              <a:gd name="connsiteX754" fmla="*/ 4769854 w 6251734"/>
              <a:gd name="connsiteY754" fmla="*/ 4112669 h 5808721"/>
              <a:gd name="connsiteX755" fmla="*/ 4736576 w 6251734"/>
              <a:gd name="connsiteY755" fmla="*/ 4185841 h 5808721"/>
              <a:gd name="connsiteX756" fmla="*/ 4739414 w 6251734"/>
              <a:gd name="connsiteY756" fmla="*/ 4190448 h 5808721"/>
              <a:gd name="connsiteX757" fmla="*/ 4738021 w 6251734"/>
              <a:gd name="connsiteY757" fmla="*/ 4240811 h 5808721"/>
              <a:gd name="connsiteX758" fmla="*/ 4623149 w 6251734"/>
              <a:gd name="connsiteY758" fmla="*/ 4492842 h 5808721"/>
              <a:gd name="connsiteX759" fmla="*/ 4536567 w 6251734"/>
              <a:gd name="connsiteY759" fmla="*/ 4525418 h 5808721"/>
              <a:gd name="connsiteX760" fmla="*/ 4503991 w 6251734"/>
              <a:gd name="connsiteY760" fmla="*/ 4438835 h 5808721"/>
              <a:gd name="connsiteX761" fmla="*/ 4618863 w 6251734"/>
              <a:gd name="connsiteY761" fmla="*/ 4186804 h 5808721"/>
              <a:gd name="connsiteX762" fmla="*/ 4643847 w 6251734"/>
              <a:gd name="connsiteY762" fmla="*/ 4158339 h 5808721"/>
              <a:gd name="connsiteX763" fmla="*/ 4661831 w 6251734"/>
              <a:gd name="connsiteY763" fmla="*/ 4153470 h 5808721"/>
              <a:gd name="connsiteX764" fmla="*/ 4695622 w 6251734"/>
              <a:gd name="connsiteY764" fmla="*/ 4079170 h 5808721"/>
              <a:gd name="connsiteX765" fmla="*/ 4677765 w 6251734"/>
              <a:gd name="connsiteY765" fmla="*/ 4068771 h 5808721"/>
              <a:gd name="connsiteX766" fmla="*/ 4581144 w 6251734"/>
              <a:gd name="connsiteY766" fmla="*/ 3700743 h 5808721"/>
              <a:gd name="connsiteX767" fmla="*/ 4863113 w 6251734"/>
              <a:gd name="connsiteY767" fmla="*/ 3524739 h 5808721"/>
              <a:gd name="connsiteX768" fmla="*/ 1544765 w 6251734"/>
              <a:gd name="connsiteY768" fmla="*/ 3428138 h 5808721"/>
              <a:gd name="connsiteX769" fmla="*/ 1620204 w 6251734"/>
              <a:gd name="connsiteY769" fmla="*/ 3555010 h 5808721"/>
              <a:gd name="connsiteX770" fmla="*/ 1532764 w 6251734"/>
              <a:gd name="connsiteY770" fmla="*/ 3615018 h 5808721"/>
              <a:gd name="connsiteX771" fmla="*/ 1646779 w 6251734"/>
              <a:gd name="connsiteY771" fmla="*/ 3561011 h 5808721"/>
              <a:gd name="connsiteX772" fmla="*/ 1544765 w 6251734"/>
              <a:gd name="connsiteY772" fmla="*/ 3428138 h 5808721"/>
              <a:gd name="connsiteX773" fmla="*/ 408910 w 6251734"/>
              <a:gd name="connsiteY773" fmla="*/ 3284263 h 5808721"/>
              <a:gd name="connsiteX774" fmla="*/ 393653 w 6251734"/>
              <a:gd name="connsiteY774" fmla="*/ 3296390 h 5808721"/>
              <a:gd name="connsiteX775" fmla="*/ 334836 w 6251734"/>
              <a:gd name="connsiteY775" fmla="*/ 3335610 h 5808721"/>
              <a:gd name="connsiteX776" fmla="*/ 325136 w 6251734"/>
              <a:gd name="connsiteY776" fmla="*/ 3340789 h 5808721"/>
              <a:gd name="connsiteX777" fmla="*/ 330318 w 6251734"/>
              <a:gd name="connsiteY777" fmla="*/ 3354497 h 5808721"/>
              <a:gd name="connsiteX778" fmla="*/ 408051 w 6251734"/>
              <a:gd name="connsiteY778" fmla="*/ 3427281 h 5808721"/>
              <a:gd name="connsiteX779" fmla="*/ 478438 w 6251734"/>
              <a:gd name="connsiteY779" fmla="*/ 3369010 h 5808721"/>
              <a:gd name="connsiteX780" fmla="*/ 491268 w 6251734"/>
              <a:gd name="connsiteY780" fmla="*/ 3340334 h 5808721"/>
              <a:gd name="connsiteX781" fmla="*/ 481268 w 6251734"/>
              <a:gd name="connsiteY781" fmla="*/ 3334978 h 5808721"/>
              <a:gd name="connsiteX782" fmla="*/ 385103 w 6251734"/>
              <a:gd name="connsiteY782" fmla="*/ 3234417 h 5808721"/>
              <a:gd name="connsiteX783" fmla="*/ 394907 w 6251734"/>
              <a:gd name="connsiteY783" fmla="*/ 3243179 h 5808721"/>
              <a:gd name="connsiteX784" fmla="*/ 407331 w 6251734"/>
              <a:gd name="connsiteY784" fmla="*/ 3251843 h 5808721"/>
              <a:gd name="connsiteX785" fmla="*/ 427247 w 6251734"/>
              <a:gd name="connsiteY785" fmla="*/ 3234680 h 5808721"/>
              <a:gd name="connsiteX786" fmla="*/ 408051 w 6251734"/>
              <a:gd name="connsiteY786" fmla="*/ 3236114 h 5808721"/>
              <a:gd name="connsiteX787" fmla="*/ 293992 w 6251734"/>
              <a:gd name="connsiteY787" fmla="*/ 3227681 h 5808721"/>
              <a:gd name="connsiteX788" fmla="*/ 310863 w 6251734"/>
              <a:gd name="connsiteY788" fmla="*/ 3303036 h 5808721"/>
              <a:gd name="connsiteX789" fmla="*/ 314200 w 6251734"/>
              <a:gd name="connsiteY789" fmla="*/ 3311864 h 5808721"/>
              <a:gd name="connsiteX790" fmla="*/ 346623 w 6251734"/>
              <a:gd name="connsiteY790" fmla="*/ 3294552 h 5808721"/>
              <a:gd name="connsiteX791" fmla="*/ 386844 w 6251734"/>
              <a:gd name="connsiteY791" fmla="*/ 3267724 h 5808721"/>
              <a:gd name="connsiteX792" fmla="*/ 346453 w 6251734"/>
              <a:gd name="connsiteY792" fmla="*/ 3231560 h 5808721"/>
              <a:gd name="connsiteX793" fmla="*/ 521204 w 6251734"/>
              <a:gd name="connsiteY793" fmla="*/ 3227662 h 5808721"/>
              <a:gd name="connsiteX794" fmla="*/ 472442 w 6251734"/>
              <a:gd name="connsiteY794" fmla="*/ 3231304 h 5808721"/>
              <a:gd name="connsiteX795" fmla="*/ 454017 w 6251734"/>
              <a:gd name="connsiteY795" fmla="*/ 3248411 h 5808721"/>
              <a:gd name="connsiteX796" fmla="*/ 429899 w 6251734"/>
              <a:gd name="connsiteY796" fmla="*/ 3267581 h 5808721"/>
              <a:gd name="connsiteX797" fmla="*/ 469481 w 6251734"/>
              <a:gd name="connsiteY797" fmla="*/ 3295183 h 5808721"/>
              <a:gd name="connsiteX798" fmla="*/ 501667 w 6251734"/>
              <a:gd name="connsiteY798" fmla="*/ 3312302 h 5808721"/>
              <a:gd name="connsiteX799" fmla="*/ 512504 w 6251734"/>
              <a:gd name="connsiteY799" fmla="*/ 3276718 h 5808721"/>
              <a:gd name="connsiteX800" fmla="*/ 645944 w 6251734"/>
              <a:gd name="connsiteY800" fmla="*/ 3207392 h 5808721"/>
              <a:gd name="connsiteX801" fmla="*/ 636239 w 6251734"/>
              <a:gd name="connsiteY801" fmla="*/ 3210346 h 5808721"/>
              <a:gd name="connsiteX802" fmla="*/ 566924 w 6251734"/>
              <a:gd name="connsiteY802" fmla="*/ 3224247 h 5808721"/>
              <a:gd name="connsiteX803" fmla="*/ 548148 w 6251734"/>
              <a:gd name="connsiteY803" fmla="*/ 3225649 h 5808721"/>
              <a:gd name="connsiteX804" fmla="*/ 532529 w 6251734"/>
              <a:gd name="connsiteY804" fmla="*/ 3314283 h 5808721"/>
              <a:gd name="connsiteX805" fmla="*/ 529280 w 6251734"/>
              <a:gd name="connsiteY805" fmla="*/ 3325012 h 5808721"/>
              <a:gd name="connsiteX806" fmla="*/ 558887 w 6251734"/>
              <a:gd name="connsiteY806" fmla="*/ 3336294 h 5808721"/>
              <a:gd name="connsiteX807" fmla="*/ 649797 w 6251734"/>
              <a:gd name="connsiteY807" fmla="*/ 3327840 h 5808721"/>
              <a:gd name="connsiteX808" fmla="*/ 658251 w 6251734"/>
              <a:gd name="connsiteY808" fmla="*/ 3236553 h 5808721"/>
              <a:gd name="connsiteX809" fmla="*/ 169104 w 6251734"/>
              <a:gd name="connsiteY809" fmla="*/ 3206549 h 5808721"/>
              <a:gd name="connsiteX810" fmla="*/ 157854 w 6251734"/>
              <a:gd name="connsiteY810" fmla="*/ 3236073 h 5808721"/>
              <a:gd name="connsiteX811" fmla="*/ 166307 w 6251734"/>
              <a:gd name="connsiteY811" fmla="*/ 3326984 h 5808721"/>
              <a:gd name="connsiteX812" fmla="*/ 257218 w 6251734"/>
              <a:gd name="connsiteY812" fmla="*/ 3335814 h 5808721"/>
              <a:gd name="connsiteX813" fmla="*/ 287649 w 6251734"/>
              <a:gd name="connsiteY813" fmla="*/ 3324179 h 5808721"/>
              <a:gd name="connsiteX814" fmla="*/ 269900 w 6251734"/>
              <a:gd name="connsiteY814" fmla="*/ 3244968 h 5808721"/>
              <a:gd name="connsiteX815" fmla="*/ 268468 w 6251734"/>
              <a:gd name="connsiteY815" fmla="*/ 3225793 h 5808721"/>
              <a:gd name="connsiteX816" fmla="*/ 249179 w 6251734"/>
              <a:gd name="connsiteY816" fmla="*/ 3224367 h 5808721"/>
              <a:gd name="connsiteX817" fmla="*/ 288917 w 6251734"/>
              <a:gd name="connsiteY817" fmla="*/ 3177713 h 5808721"/>
              <a:gd name="connsiteX818" fmla="*/ 290802 w 6251734"/>
              <a:gd name="connsiteY818" fmla="*/ 3203043 h 5808721"/>
              <a:gd name="connsiteX819" fmla="*/ 316853 w 6251734"/>
              <a:gd name="connsiteY819" fmla="*/ 3205057 h 5808721"/>
              <a:gd name="connsiteX820" fmla="*/ 301752 w 6251734"/>
              <a:gd name="connsiteY820" fmla="*/ 3191537 h 5808721"/>
              <a:gd name="connsiteX821" fmla="*/ 528974 w 6251734"/>
              <a:gd name="connsiteY821" fmla="*/ 3176635 h 5808721"/>
              <a:gd name="connsiteX822" fmla="*/ 514351 w 6251734"/>
              <a:gd name="connsiteY822" fmla="*/ 3192395 h 5808721"/>
              <a:gd name="connsiteX823" fmla="*/ 500527 w 6251734"/>
              <a:gd name="connsiteY823" fmla="*/ 3205229 h 5808721"/>
              <a:gd name="connsiteX824" fmla="*/ 525512 w 6251734"/>
              <a:gd name="connsiteY824" fmla="*/ 3203370 h 5808721"/>
              <a:gd name="connsiteX825" fmla="*/ 528388 w 6251734"/>
              <a:gd name="connsiteY825" fmla="*/ 3187154 h 5808721"/>
              <a:gd name="connsiteX826" fmla="*/ 1459898 w 6251734"/>
              <a:gd name="connsiteY826" fmla="*/ 3111812 h 5808721"/>
              <a:gd name="connsiteX827" fmla="*/ 1537907 w 6251734"/>
              <a:gd name="connsiteY827" fmla="*/ 3141816 h 5808721"/>
              <a:gd name="connsiteX828" fmla="*/ 1537907 w 6251734"/>
              <a:gd name="connsiteY828" fmla="*/ 3143530 h 5808721"/>
              <a:gd name="connsiteX829" fmla="*/ 1540479 w 6251734"/>
              <a:gd name="connsiteY829" fmla="*/ 3143530 h 5808721"/>
              <a:gd name="connsiteX830" fmla="*/ 1540479 w 6251734"/>
              <a:gd name="connsiteY830" fmla="*/ 3199252 h 5808721"/>
              <a:gd name="connsiteX831" fmla="*/ 1537907 w 6251734"/>
              <a:gd name="connsiteY831" fmla="*/ 3199252 h 5808721"/>
              <a:gd name="connsiteX832" fmla="*/ 1525048 w 6251734"/>
              <a:gd name="connsiteY832" fmla="*/ 3216397 h 5808721"/>
              <a:gd name="connsiteX833" fmla="*/ 1525048 w 6251734"/>
              <a:gd name="connsiteY833" fmla="*/ 3344127 h 5808721"/>
              <a:gd name="connsiteX834" fmla="*/ 1537050 w 6251734"/>
              <a:gd name="connsiteY834" fmla="*/ 3375845 h 5808721"/>
              <a:gd name="connsiteX835" fmla="*/ 1658780 w 6251734"/>
              <a:gd name="connsiteY835" fmla="*/ 3612446 h 5808721"/>
              <a:gd name="connsiteX836" fmla="*/ 1461612 w 6251734"/>
              <a:gd name="connsiteY836" fmla="*/ 3655309 h 5808721"/>
              <a:gd name="connsiteX837" fmla="*/ 1263587 w 6251734"/>
              <a:gd name="connsiteY837" fmla="*/ 3612446 h 5808721"/>
              <a:gd name="connsiteX838" fmla="*/ 1387888 w 6251734"/>
              <a:gd name="connsiteY838" fmla="*/ 3374988 h 5808721"/>
              <a:gd name="connsiteX839" fmla="*/ 1405033 w 6251734"/>
              <a:gd name="connsiteY839" fmla="*/ 3343270 h 5808721"/>
              <a:gd name="connsiteX840" fmla="*/ 1405033 w 6251734"/>
              <a:gd name="connsiteY840" fmla="*/ 3216397 h 5808721"/>
              <a:gd name="connsiteX841" fmla="*/ 1382745 w 6251734"/>
              <a:gd name="connsiteY841" fmla="*/ 3199252 h 5808721"/>
              <a:gd name="connsiteX842" fmla="*/ 1381030 w 6251734"/>
              <a:gd name="connsiteY842" fmla="*/ 3199252 h 5808721"/>
              <a:gd name="connsiteX843" fmla="*/ 1381030 w 6251734"/>
              <a:gd name="connsiteY843" fmla="*/ 3143530 h 5808721"/>
              <a:gd name="connsiteX844" fmla="*/ 1381888 w 6251734"/>
              <a:gd name="connsiteY844" fmla="*/ 3143530 h 5808721"/>
              <a:gd name="connsiteX845" fmla="*/ 1381888 w 6251734"/>
              <a:gd name="connsiteY845" fmla="*/ 3141816 h 5808721"/>
              <a:gd name="connsiteX846" fmla="*/ 1459898 w 6251734"/>
              <a:gd name="connsiteY846" fmla="*/ 3111812 h 5808721"/>
              <a:gd name="connsiteX847" fmla="*/ 590102 w 6251734"/>
              <a:gd name="connsiteY847" fmla="*/ 3107161 h 5808721"/>
              <a:gd name="connsiteX848" fmla="*/ 570367 w 6251734"/>
              <a:gd name="connsiteY848" fmla="*/ 3132026 h 5808721"/>
              <a:gd name="connsiteX849" fmla="*/ 554587 w 6251734"/>
              <a:gd name="connsiteY849" fmla="*/ 3149033 h 5808721"/>
              <a:gd name="connsiteX850" fmla="*/ 551759 w 6251734"/>
              <a:gd name="connsiteY850" fmla="*/ 3200115 h 5808721"/>
              <a:gd name="connsiteX851" fmla="*/ 599532 w 6251734"/>
              <a:gd name="connsiteY851" fmla="*/ 3190547 h 5808721"/>
              <a:gd name="connsiteX852" fmla="*/ 634360 w 6251734"/>
              <a:gd name="connsiteY852" fmla="*/ 3179941 h 5808721"/>
              <a:gd name="connsiteX853" fmla="*/ 630590 w 6251734"/>
              <a:gd name="connsiteY853" fmla="*/ 3171008 h 5808721"/>
              <a:gd name="connsiteX854" fmla="*/ 226426 w 6251734"/>
              <a:gd name="connsiteY854" fmla="*/ 3105365 h 5808721"/>
              <a:gd name="connsiteX855" fmla="*/ 198965 w 6251734"/>
              <a:gd name="connsiteY855" fmla="*/ 3146668 h 5808721"/>
              <a:gd name="connsiteX856" fmla="*/ 181775 w 6251734"/>
              <a:gd name="connsiteY856" fmla="*/ 3178985 h 5808721"/>
              <a:gd name="connsiteX857" fmla="*/ 216948 w 6251734"/>
              <a:gd name="connsiteY857" fmla="*/ 3190170 h 5808721"/>
              <a:gd name="connsiteX858" fmla="*/ 266550 w 6251734"/>
              <a:gd name="connsiteY858" fmla="*/ 3200120 h 5808721"/>
              <a:gd name="connsiteX859" fmla="*/ 262773 w 6251734"/>
              <a:gd name="connsiteY859" fmla="*/ 3149552 h 5808721"/>
              <a:gd name="connsiteX860" fmla="*/ 245737 w 6251734"/>
              <a:gd name="connsiteY860" fmla="*/ 3131203 h 5808721"/>
              <a:gd name="connsiteX861" fmla="*/ 556573 w 6251734"/>
              <a:gd name="connsiteY861" fmla="*/ 3065846 h 5808721"/>
              <a:gd name="connsiteX862" fmla="*/ 558070 w 6251734"/>
              <a:gd name="connsiteY862" fmla="*/ 3086095 h 5808721"/>
              <a:gd name="connsiteX863" fmla="*/ 557031 w 6251734"/>
              <a:gd name="connsiteY863" fmla="*/ 3104875 h 5808721"/>
              <a:gd name="connsiteX864" fmla="*/ 573606 w 6251734"/>
              <a:gd name="connsiteY864" fmla="*/ 3085614 h 5808721"/>
              <a:gd name="connsiteX865" fmla="*/ 259173 w 6251734"/>
              <a:gd name="connsiteY865" fmla="*/ 3065486 h 5808721"/>
              <a:gd name="connsiteX866" fmla="*/ 241966 w 6251734"/>
              <a:gd name="connsiteY866" fmla="*/ 3085481 h 5808721"/>
              <a:gd name="connsiteX867" fmla="*/ 259516 w 6251734"/>
              <a:gd name="connsiteY867" fmla="*/ 3105960 h 5808721"/>
              <a:gd name="connsiteX868" fmla="*/ 258032 w 6251734"/>
              <a:gd name="connsiteY868" fmla="*/ 3086095 h 5808721"/>
              <a:gd name="connsiteX869" fmla="*/ 408909 w 6251734"/>
              <a:gd name="connsiteY869" fmla="*/ 3023515 h 5808721"/>
              <a:gd name="connsiteX870" fmla="*/ 471488 w 6251734"/>
              <a:gd name="connsiteY870" fmla="*/ 3086095 h 5808721"/>
              <a:gd name="connsiteX871" fmla="*/ 408909 w 6251734"/>
              <a:gd name="connsiteY871" fmla="*/ 3148674 h 5808721"/>
              <a:gd name="connsiteX872" fmla="*/ 346329 w 6251734"/>
              <a:gd name="connsiteY872" fmla="*/ 3086095 h 5808721"/>
              <a:gd name="connsiteX873" fmla="*/ 408909 w 6251734"/>
              <a:gd name="connsiteY873" fmla="*/ 3023515 h 5808721"/>
              <a:gd name="connsiteX874" fmla="*/ 153678 w 6251734"/>
              <a:gd name="connsiteY874" fmla="*/ 3002555 h 5808721"/>
              <a:gd name="connsiteX875" fmla="*/ 124280 w 6251734"/>
              <a:gd name="connsiteY875" fmla="*/ 3015709 h 5808721"/>
              <a:gd name="connsiteX876" fmla="*/ 66009 w 6251734"/>
              <a:gd name="connsiteY876" fmla="*/ 3086095 h 5808721"/>
              <a:gd name="connsiteX877" fmla="*/ 107354 w 6251734"/>
              <a:gd name="connsiteY877" fmla="*/ 3145918 h 5808721"/>
              <a:gd name="connsiteX878" fmla="*/ 153101 w 6251734"/>
              <a:gd name="connsiteY878" fmla="*/ 3169496 h 5808721"/>
              <a:gd name="connsiteX879" fmla="*/ 158538 w 6251734"/>
              <a:gd name="connsiteY879" fmla="*/ 3159312 h 5808721"/>
              <a:gd name="connsiteX880" fmla="*/ 197758 w 6251734"/>
              <a:gd name="connsiteY880" fmla="*/ 3100495 h 5808721"/>
              <a:gd name="connsiteX881" fmla="*/ 210657 w 6251734"/>
              <a:gd name="connsiteY881" fmla="*/ 3084265 h 5808721"/>
              <a:gd name="connsiteX882" fmla="*/ 167482 w 6251734"/>
              <a:gd name="connsiteY882" fmla="*/ 3026495 h 5808721"/>
              <a:gd name="connsiteX883" fmla="*/ 663026 w 6251734"/>
              <a:gd name="connsiteY883" fmla="*/ 3002411 h 5808721"/>
              <a:gd name="connsiteX884" fmla="*/ 657566 w 6251734"/>
              <a:gd name="connsiteY884" fmla="*/ 3012654 h 5808721"/>
              <a:gd name="connsiteX885" fmla="*/ 618347 w 6251734"/>
              <a:gd name="connsiteY885" fmla="*/ 3071576 h 5808721"/>
              <a:gd name="connsiteX886" fmla="*/ 606027 w 6251734"/>
              <a:gd name="connsiteY886" fmla="*/ 3087098 h 5808721"/>
              <a:gd name="connsiteX887" fmla="*/ 648622 w 6251734"/>
              <a:gd name="connsiteY887" fmla="*/ 3144181 h 5808721"/>
              <a:gd name="connsiteX888" fmla="*/ 663100 w 6251734"/>
              <a:gd name="connsiteY888" fmla="*/ 3169333 h 5808721"/>
              <a:gd name="connsiteX889" fmla="*/ 691823 w 6251734"/>
              <a:gd name="connsiteY889" fmla="*/ 3156482 h 5808721"/>
              <a:gd name="connsiteX890" fmla="*/ 750094 w 6251734"/>
              <a:gd name="connsiteY890" fmla="*/ 3086095 h 5808721"/>
              <a:gd name="connsiteX891" fmla="*/ 708749 w 6251734"/>
              <a:gd name="connsiteY891" fmla="*/ 3026099 h 5808721"/>
              <a:gd name="connsiteX892" fmla="*/ 264344 w 6251734"/>
              <a:gd name="connsiteY892" fmla="*/ 2972075 h 5808721"/>
              <a:gd name="connsiteX893" fmla="*/ 216572 w 6251734"/>
              <a:gd name="connsiteY893" fmla="*/ 2981643 h 5808721"/>
              <a:gd name="connsiteX894" fmla="*/ 182153 w 6251734"/>
              <a:gd name="connsiteY894" fmla="*/ 2992125 h 5808721"/>
              <a:gd name="connsiteX895" fmla="*/ 185871 w 6251734"/>
              <a:gd name="connsiteY895" fmla="*/ 3000908 h 5808721"/>
              <a:gd name="connsiteX896" fmla="*/ 226227 w 6251734"/>
              <a:gd name="connsiteY896" fmla="*/ 3064676 h 5808721"/>
              <a:gd name="connsiteX897" fmla="*/ 245737 w 6251734"/>
              <a:gd name="connsiteY897" fmla="*/ 3040131 h 5808721"/>
              <a:gd name="connsiteX898" fmla="*/ 261518 w 6251734"/>
              <a:gd name="connsiteY898" fmla="*/ 3023133 h 5808721"/>
              <a:gd name="connsiteX899" fmla="*/ 549613 w 6251734"/>
              <a:gd name="connsiteY899" fmla="*/ 2971718 h 5808721"/>
              <a:gd name="connsiteX900" fmla="*/ 553247 w 6251734"/>
              <a:gd name="connsiteY900" fmla="*/ 3020858 h 5808721"/>
              <a:gd name="connsiteX901" fmla="*/ 570367 w 6251734"/>
              <a:gd name="connsiteY901" fmla="*/ 3039308 h 5808721"/>
              <a:gd name="connsiteX902" fmla="*/ 589651 w 6251734"/>
              <a:gd name="connsiteY902" fmla="*/ 3065152 h 5808721"/>
              <a:gd name="connsiteX903" fmla="*/ 617139 w 6251734"/>
              <a:gd name="connsiteY903" fmla="*/ 3023810 h 5808721"/>
              <a:gd name="connsiteX904" fmla="*/ 633701 w 6251734"/>
              <a:gd name="connsiteY904" fmla="*/ 2992672 h 5808721"/>
              <a:gd name="connsiteX905" fmla="*/ 599155 w 6251734"/>
              <a:gd name="connsiteY905" fmla="*/ 2981643 h 5808721"/>
              <a:gd name="connsiteX906" fmla="*/ 501023 w 6251734"/>
              <a:gd name="connsiteY906" fmla="*/ 2967017 h 5808721"/>
              <a:gd name="connsiteX907" fmla="*/ 514350 w 6251734"/>
              <a:gd name="connsiteY907" fmla="*/ 2978939 h 5808721"/>
              <a:gd name="connsiteX908" fmla="*/ 527186 w 6251734"/>
              <a:gd name="connsiteY908" fmla="*/ 2992772 h 5808721"/>
              <a:gd name="connsiteX909" fmla="*/ 525405 w 6251734"/>
              <a:gd name="connsiteY909" fmla="*/ 2968836 h 5808721"/>
              <a:gd name="connsiteX910" fmla="*/ 315586 w 6251734"/>
              <a:gd name="connsiteY910" fmla="*/ 2966960 h 5808721"/>
              <a:gd name="connsiteX911" fmla="*/ 290341 w 6251734"/>
              <a:gd name="connsiteY911" fmla="*/ 2968839 h 5808721"/>
              <a:gd name="connsiteX912" fmla="*/ 287715 w 6251734"/>
              <a:gd name="connsiteY912" fmla="*/ 2983640 h 5808721"/>
              <a:gd name="connsiteX913" fmla="*/ 287044 w 6251734"/>
              <a:gd name="connsiteY913" fmla="*/ 2995639 h 5808721"/>
              <a:gd name="connsiteX914" fmla="*/ 301753 w 6251734"/>
              <a:gd name="connsiteY914" fmla="*/ 2979796 h 5808721"/>
              <a:gd name="connsiteX915" fmla="*/ 408051 w 6251734"/>
              <a:gd name="connsiteY915" fmla="*/ 2960079 h 5808721"/>
              <a:gd name="connsiteX916" fmla="*/ 356209 w 6251734"/>
              <a:gd name="connsiteY916" fmla="*/ 2963937 h 5808721"/>
              <a:gd name="connsiteX917" fmla="*/ 318898 w 6251734"/>
              <a:gd name="connsiteY917" fmla="*/ 2996084 h 5808721"/>
              <a:gd name="connsiteX918" fmla="*/ 284805 w 6251734"/>
              <a:gd name="connsiteY918" fmla="*/ 3035702 h 5808721"/>
              <a:gd name="connsiteX919" fmla="*/ 282035 w 6251734"/>
              <a:gd name="connsiteY919" fmla="*/ 3085238 h 5808721"/>
              <a:gd name="connsiteX920" fmla="*/ 285866 w 6251734"/>
              <a:gd name="connsiteY920" fmla="*/ 3136706 h 5808721"/>
              <a:gd name="connsiteX921" fmla="*/ 318897 w 6251734"/>
              <a:gd name="connsiteY921" fmla="*/ 3175250 h 5808721"/>
              <a:gd name="connsiteX922" fmla="*/ 355604 w 6251734"/>
              <a:gd name="connsiteY922" fmla="*/ 3208055 h 5808721"/>
              <a:gd name="connsiteX923" fmla="*/ 408051 w 6251734"/>
              <a:gd name="connsiteY923" fmla="*/ 3212111 h 5808721"/>
              <a:gd name="connsiteX924" fmla="*/ 457727 w 6251734"/>
              <a:gd name="connsiteY924" fmla="*/ 3208414 h 5808721"/>
              <a:gd name="connsiteX925" fmla="*/ 497206 w 6251734"/>
              <a:gd name="connsiteY925" fmla="*/ 3174393 h 5808721"/>
              <a:gd name="connsiteX926" fmla="*/ 531308 w 6251734"/>
              <a:gd name="connsiteY926" fmla="*/ 3134766 h 5808721"/>
              <a:gd name="connsiteX927" fmla="*/ 534067 w 6251734"/>
              <a:gd name="connsiteY927" fmla="*/ 3085238 h 5808721"/>
              <a:gd name="connsiteX928" fmla="*/ 530360 w 6251734"/>
              <a:gd name="connsiteY928" fmla="*/ 3035422 h 5808721"/>
              <a:gd name="connsiteX929" fmla="*/ 497205 w 6251734"/>
              <a:gd name="connsiteY929" fmla="*/ 2996941 h 5808721"/>
              <a:gd name="connsiteX930" fmla="*/ 460323 w 6251734"/>
              <a:gd name="connsiteY930" fmla="*/ 2963980 h 5808721"/>
              <a:gd name="connsiteX931" fmla="*/ 407682 w 6251734"/>
              <a:gd name="connsiteY931" fmla="*/ 2919589 h 5808721"/>
              <a:gd name="connsiteX932" fmla="*/ 386715 w 6251734"/>
              <a:gd name="connsiteY932" fmla="*/ 2937654 h 5808721"/>
              <a:gd name="connsiteX933" fmla="*/ 408051 w 6251734"/>
              <a:gd name="connsiteY933" fmla="*/ 2936076 h 5808721"/>
              <a:gd name="connsiteX934" fmla="*/ 430998 w 6251734"/>
              <a:gd name="connsiteY934" fmla="*/ 2937773 h 5808721"/>
              <a:gd name="connsiteX935" fmla="*/ 421196 w 6251734"/>
              <a:gd name="connsiteY935" fmla="*/ 2929013 h 5808721"/>
              <a:gd name="connsiteX936" fmla="*/ 313772 w 6251734"/>
              <a:gd name="connsiteY936" fmla="*/ 2860695 h 5808721"/>
              <a:gd name="connsiteX937" fmla="*/ 303599 w 6251734"/>
              <a:gd name="connsiteY937" fmla="*/ 2894135 h 5808721"/>
              <a:gd name="connsiteX938" fmla="*/ 294668 w 6251734"/>
              <a:gd name="connsiteY938" fmla="*/ 2944460 h 5808721"/>
              <a:gd name="connsiteX939" fmla="*/ 343747 w 6251734"/>
              <a:gd name="connsiteY939" fmla="*/ 2940831 h 5808721"/>
              <a:gd name="connsiteX940" fmla="*/ 362122 w 6251734"/>
              <a:gd name="connsiteY940" fmla="*/ 2923781 h 5808721"/>
              <a:gd name="connsiteX941" fmla="*/ 386241 w 6251734"/>
              <a:gd name="connsiteY941" fmla="*/ 2904637 h 5808721"/>
              <a:gd name="connsiteX942" fmla="*/ 346622 w 6251734"/>
              <a:gd name="connsiteY942" fmla="*/ 2877008 h 5808721"/>
              <a:gd name="connsiteX943" fmla="*/ 501946 w 6251734"/>
              <a:gd name="connsiteY943" fmla="*/ 2858728 h 5808721"/>
              <a:gd name="connsiteX944" fmla="*/ 469255 w 6251734"/>
              <a:gd name="connsiteY944" fmla="*/ 2876151 h 5808721"/>
              <a:gd name="connsiteX945" fmla="*/ 429247 w 6251734"/>
              <a:gd name="connsiteY945" fmla="*/ 2902810 h 5808721"/>
              <a:gd name="connsiteX946" fmla="*/ 471695 w 6251734"/>
              <a:gd name="connsiteY946" fmla="*/ 2940782 h 5808721"/>
              <a:gd name="connsiteX947" fmla="*/ 522501 w 6251734"/>
              <a:gd name="connsiteY947" fmla="*/ 2944539 h 5808721"/>
              <a:gd name="connsiteX948" fmla="*/ 505240 w 6251734"/>
              <a:gd name="connsiteY948" fmla="*/ 2867440 h 5808721"/>
              <a:gd name="connsiteX949" fmla="*/ 219818 w 6251734"/>
              <a:gd name="connsiteY949" fmla="*/ 2828773 h 5808721"/>
              <a:gd name="connsiteX950" fmla="*/ 166307 w 6251734"/>
              <a:gd name="connsiteY950" fmla="*/ 2844350 h 5808721"/>
              <a:gd name="connsiteX951" fmla="*/ 158080 w 6251734"/>
              <a:gd name="connsiteY951" fmla="*/ 2935262 h 5808721"/>
              <a:gd name="connsiteX952" fmla="*/ 170445 w 6251734"/>
              <a:gd name="connsiteY952" fmla="*/ 2964470 h 5808721"/>
              <a:gd name="connsiteX953" fmla="*/ 179864 w 6251734"/>
              <a:gd name="connsiteY953" fmla="*/ 2961618 h 5808721"/>
              <a:gd name="connsiteX954" fmla="*/ 249179 w 6251734"/>
              <a:gd name="connsiteY954" fmla="*/ 2947823 h 5808721"/>
              <a:gd name="connsiteX955" fmla="*/ 267973 w 6251734"/>
              <a:gd name="connsiteY955" fmla="*/ 2946434 h 5808721"/>
              <a:gd name="connsiteX956" fmla="*/ 283574 w 6251734"/>
              <a:gd name="connsiteY956" fmla="*/ 2857908 h 5808721"/>
              <a:gd name="connsiteX957" fmla="*/ 286788 w 6251734"/>
              <a:gd name="connsiteY957" fmla="*/ 2847295 h 5808721"/>
              <a:gd name="connsiteX958" fmla="*/ 277993 w 6251734"/>
              <a:gd name="connsiteY958" fmla="*/ 2842929 h 5808721"/>
              <a:gd name="connsiteX959" fmla="*/ 219818 w 6251734"/>
              <a:gd name="connsiteY959" fmla="*/ 2828773 h 5808721"/>
              <a:gd name="connsiteX960" fmla="*/ 595924 w 6251734"/>
              <a:gd name="connsiteY960" fmla="*/ 2827916 h 5808721"/>
              <a:gd name="connsiteX961" fmla="*/ 558510 w 6251734"/>
              <a:gd name="connsiteY961" fmla="*/ 2835040 h 5808721"/>
              <a:gd name="connsiteX962" fmla="*/ 528370 w 6251734"/>
              <a:gd name="connsiteY962" fmla="*/ 2846540 h 5808721"/>
              <a:gd name="connsiteX963" fmla="*/ 546323 w 6251734"/>
              <a:gd name="connsiteY963" fmla="*/ 2927223 h 5808721"/>
              <a:gd name="connsiteX964" fmla="*/ 547742 w 6251734"/>
              <a:gd name="connsiteY964" fmla="*/ 2946405 h 5808721"/>
              <a:gd name="connsiteX965" fmla="*/ 566924 w 6251734"/>
              <a:gd name="connsiteY965" fmla="*/ 2947823 h 5808721"/>
              <a:gd name="connsiteX966" fmla="*/ 646399 w 6251734"/>
              <a:gd name="connsiteY966" fmla="*/ 2965508 h 5808721"/>
              <a:gd name="connsiteX967" fmla="*/ 658251 w 6251734"/>
              <a:gd name="connsiteY967" fmla="*/ 2934405 h 5808721"/>
              <a:gd name="connsiteX968" fmla="*/ 649797 w 6251734"/>
              <a:gd name="connsiteY968" fmla="*/ 2843494 h 5808721"/>
              <a:gd name="connsiteX969" fmla="*/ 595924 w 6251734"/>
              <a:gd name="connsiteY969" fmla="*/ 2827916 h 5808721"/>
              <a:gd name="connsiteX970" fmla="*/ 408051 w 6251734"/>
              <a:gd name="connsiteY970" fmla="*/ 2743195 h 5808721"/>
              <a:gd name="connsiteX971" fmla="*/ 337665 w 6251734"/>
              <a:gd name="connsiteY971" fmla="*/ 2801693 h 5808721"/>
              <a:gd name="connsiteX972" fmla="*/ 324723 w 6251734"/>
              <a:gd name="connsiteY972" fmla="*/ 2830683 h 5808721"/>
              <a:gd name="connsiteX973" fmla="*/ 334835 w 6251734"/>
              <a:gd name="connsiteY973" fmla="*/ 2835724 h 5808721"/>
              <a:gd name="connsiteX974" fmla="*/ 408327 w 6251734"/>
              <a:gd name="connsiteY974" fmla="*/ 2887107 h 5808721"/>
              <a:gd name="connsiteX975" fmla="*/ 422572 w 6251734"/>
              <a:gd name="connsiteY975" fmla="*/ 2875801 h 5808721"/>
              <a:gd name="connsiteX976" fmla="*/ 481495 w 6251734"/>
              <a:gd name="connsiteY976" fmla="*/ 2836582 h 5808721"/>
              <a:gd name="connsiteX977" fmla="*/ 491548 w 6251734"/>
              <a:gd name="connsiteY977" fmla="*/ 2831224 h 5808721"/>
              <a:gd name="connsiteX978" fmla="*/ 485785 w 6251734"/>
              <a:gd name="connsiteY978" fmla="*/ 2815980 h 5808721"/>
              <a:gd name="connsiteX979" fmla="*/ 408051 w 6251734"/>
              <a:gd name="connsiteY979" fmla="*/ 2743195 h 5808721"/>
              <a:gd name="connsiteX980" fmla="*/ 6236067 w 6251734"/>
              <a:gd name="connsiteY980" fmla="*/ 2687689 h 5808721"/>
              <a:gd name="connsiteX981" fmla="*/ 6246782 w 6251734"/>
              <a:gd name="connsiteY981" fmla="*/ 2691760 h 5808721"/>
              <a:gd name="connsiteX982" fmla="*/ 6247640 w 6251734"/>
              <a:gd name="connsiteY982" fmla="*/ 2713192 h 5808721"/>
              <a:gd name="connsiteX983" fmla="*/ 6216014 w 6251734"/>
              <a:gd name="connsiteY983" fmla="*/ 2748180 h 5808721"/>
              <a:gd name="connsiteX984" fmla="*/ 6222322 w 6251734"/>
              <a:gd name="connsiteY984" fmla="*/ 2756871 h 5808721"/>
              <a:gd name="connsiteX985" fmla="*/ 6209062 w 6251734"/>
              <a:gd name="connsiteY985" fmla="*/ 2846922 h 5808721"/>
              <a:gd name="connsiteX986" fmla="*/ 6151734 w 6251734"/>
              <a:gd name="connsiteY986" fmla="*/ 2873711 h 5808721"/>
              <a:gd name="connsiteX987" fmla="*/ 6133744 w 6251734"/>
              <a:gd name="connsiteY987" fmla="*/ 2871200 h 5808721"/>
              <a:gd name="connsiteX988" fmla="*/ 6125031 w 6251734"/>
              <a:gd name="connsiteY988" fmla="*/ 2893063 h 5808721"/>
              <a:gd name="connsiteX989" fmla="*/ 5925312 w 6251734"/>
              <a:gd name="connsiteY989" fmla="*/ 3375846 h 5808721"/>
              <a:gd name="connsiteX990" fmla="*/ 5917597 w 6251734"/>
              <a:gd name="connsiteY990" fmla="*/ 3266975 h 5808721"/>
              <a:gd name="connsiteX991" fmla="*/ 6056644 w 6251734"/>
              <a:gd name="connsiteY991" fmla="*/ 2907754 h 5808721"/>
              <a:gd name="connsiteX992" fmla="*/ 6068648 w 6251734"/>
              <a:gd name="connsiteY992" fmla="*/ 2877062 h 5808721"/>
              <a:gd name="connsiteX993" fmla="*/ 5680138 w 6251734"/>
              <a:gd name="connsiteY993" fmla="*/ 3041518 h 5808721"/>
              <a:gd name="connsiteX994" fmla="*/ 5576411 w 6251734"/>
              <a:gd name="connsiteY994" fmla="*/ 3046661 h 5808721"/>
              <a:gd name="connsiteX995" fmla="*/ 5660422 w 6251734"/>
              <a:gd name="connsiteY995" fmla="*/ 2986654 h 5808721"/>
              <a:gd name="connsiteX996" fmla="*/ 6069879 w 6251734"/>
              <a:gd name="connsiteY996" fmla="*/ 2807820 h 5808721"/>
              <a:gd name="connsiteX997" fmla="*/ 6065771 w 6251734"/>
              <a:gd name="connsiteY997" fmla="*/ 2780383 h 5808721"/>
              <a:gd name="connsiteX998" fmla="*/ 6086476 w 6251734"/>
              <a:gd name="connsiteY998" fmla="*/ 2736337 h 5808721"/>
              <a:gd name="connsiteX999" fmla="*/ 6143804 w 6251734"/>
              <a:gd name="connsiteY999" fmla="*/ 2709228 h 5808721"/>
              <a:gd name="connsiteX1000" fmla="*/ 6175080 w 6251734"/>
              <a:gd name="connsiteY1000" fmla="*/ 2713794 h 5808721"/>
              <a:gd name="connsiteX1001" fmla="*/ 6195368 w 6251734"/>
              <a:gd name="connsiteY1001" fmla="*/ 2725788 h 5808721"/>
              <a:gd name="connsiteX1002" fmla="*/ 6225351 w 6251734"/>
              <a:gd name="connsiteY1002" fmla="*/ 2692617 h 5808721"/>
              <a:gd name="connsiteX1003" fmla="*/ 6236067 w 6251734"/>
              <a:gd name="connsiteY1003" fmla="*/ 2687689 h 5808721"/>
              <a:gd name="connsiteX1004" fmla="*/ 408051 w 6251734"/>
              <a:gd name="connsiteY1004" fmla="*/ 2678044 h 5808721"/>
              <a:gd name="connsiteX1005" fmla="*/ 492060 w 6251734"/>
              <a:gd name="connsiteY1005" fmla="*/ 2747708 h 5808721"/>
              <a:gd name="connsiteX1006" fmla="*/ 519745 w 6251734"/>
              <a:gd name="connsiteY1006" fmla="*/ 2816195 h 5808721"/>
              <a:gd name="connsiteX1007" fmla="*/ 537283 w 6251734"/>
              <a:gd name="connsiteY1007" fmla="*/ 2806846 h 5808721"/>
              <a:gd name="connsiteX1008" fmla="*/ 696946 w 6251734"/>
              <a:gd name="connsiteY1008" fmla="*/ 2797202 h 5808721"/>
              <a:gd name="connsiteX1009" fmla="*/ 687302 w 6251734"/>
              <a:gd name="connsiteY1009" fmla="*/ 2956865 h 5808721"/>
              <a:gd name="connsiteX1010" fmla="*/ 677955 w 6251734"/>
              <a:gd name="connsiteY1010" fmla="*/ 2974402 h 5808721"/>
              <a:gd name="connsiteX1011" fmla="*/ 746440 w 6251734"/>
              <a:gd name="connsiteY1011" fmla="*/ 3002086 h 5808721"/>
              <a:gd name="connsiteX1012" fmla="*/ 816103 w 6251734"/>
              <a:gd name="connsiteY1012" fmla="*/ 3086095 h 5808721"/>
              <a:gd name="connsiteX1013" fmla="*/ 696624 w 6251734"/>
              <a:gd name="connsiteY1013" fmla="*/ 3191966 h 5808721"/>
              <a:gd name="connsiteX1014" fmla="*/ 678828 w 6251734"/>
              <a:gd name="connsiteY1014" fmla="*/ 3197383 h 5808721"/>
              <a:gd name="connsiteX1015" fmla="*/ 698388 w 6251734"/>
              <a:gd name="connsiteY1015" fmla="*/ 3240686 h 5808721"/>
              <a:gd name="connsiteX1016" fmla="*/ 696946 w 6251734"/>
              <a:gd name="connsiteY1016" fmla="*/ 3374132 h 5808721"/>
              <a:gd name="connsiteX1017" fmla="*/ 536961 w 6251734"/>
              <a:gd name="connsiteY1017" fmla="*/ 3364809 h 5808721"/>
              <a:gd name="connsiteX1018" fmla="*/ 519982 w 6251734"/>
              <a:gd name="connsiteY1018" fmla="*/ 3355715 h 5808721"/>
              <a:gd name="connsiteX1019" fmla="*/ 514243 w 6251734"/>
              <a:gd name="connsiteY1019" fmla="*/ 3374667 h 5808721"/>
              <a:gd name="connsiteX1020" fmla="*/ 408051 w 6251734"/>
              <a:gd name="connsiteY1020" fmla="*/ 3494146 h 5808721"/>
              <a:gd name="connsiteX1021" fmla="*/ 324419 w 6251734"/>
              <a:gd name="connsiteY1021" fmla="*/ 3424483 h 5808721"/>
              <a:gd name="connsiteX1022" fmla="*/ 296648 w 6251734"/>
              <a:gd name="connsiteY1022" fmla="*/ 3355999 h 5808721"/>
              <a:gd name="connsiteX1023" fmla="*/ 279143 w 6251734"/>
              <a:gd name="connsiteY1023" fmla="*/ 3365346 h 5808721"/>
              <a:gd name="connsiteX1024" fmla="*/ 119158 w 6251734"/>
              <a:gd name="connsiteY1024" fmla="*/ 3374990 h 5808721"/>
              <a:gd name="connsiteX1025" fmla="*/ 128803 w 6251734"/>
              <a:gd name="connsiteY1025" fmla="*/ 3215005 h 5808721"/>
              <a:gd name="connsiteX1026" fmla="*/ 138022 w 6251734"/>
              <a:gd name="connsiteY1026" fmla="*/ 3197737 h 5808721"/>
              <a:gd name="connsiteX1027" fmla="*/ 69663 w 6251734"/>
              <a:gd name="connsiteY1027" fmla="*/ 3170104 h 5808721"/>
              <a:gd name="connsiteX1028" fmla="*/ 0 w 6251734"/>
              <a:gd name="connsiteY1028" fmla="*/ 3086095 h 5808721"/>
              <a:gd name="connsiteX1029" fmla="*/ 119480 w 6251734"/>
              <a:gd name="connsiteY1029" fmla="*/ 2979903 h 5808721"/>
              <a:gd name="connsiteX1030" fmla="*/ 137725 w 6251734"/>
              <a:gd name="connsiteY1030" fmla="*/ 2974378 h 5808721"/>
              <a:gd name="connsiteX1031" fmla="*/ 117717 w 6251734"/>
              <a:gd name="connsiteY1031" fmla="*/ 2930147 h 5808721"/>
              <a:gd name="connsiteX1032" fmla="*/ 119158 w 6251734"/>
              <a:gd name="connsiteY1032" fmla="*/ 2796344 h 5808721"/>
              <a:gd name="connsiteX1033" fmla="*/ 183438 w 6251734"/>
              <a:gd name="connsiteY1033" fmla="*/ 2777860 h 5808721"/>
              <a:gd name="connsiteX1034" fmla="*/ 252960 w 6251734"/>
              <a:gd name="connsiteY1034" fmla="*/ 2794903 h 5808721"/>
              <a:gd name="connsiteX1035" fmla="*/ 296135 w 6251734"/>
              <a:gd name="connsiteY1035" fmla="*/ 2816430 h 5808721"/>
              <a:gd name="connsiteX1036" fmla="*/ 301859 w 6251734"/>
              <a:gd name="connsiteY1036" fmla="*/ 2797524 h 5808721"/>
              <a:gd name="connsiteX1037" fmla="*/ 408051 w 6251734"/>
              <a:gd name="connsiteY1037" fmla="*/ 2678044 h 5808721"/>
              <a:gd name="connsiteX1038" fmla="*/ 5013199 w 6251734"/>
              <a:gd name="connsiteY1038" fmla="*/ 2674617 h 5808721"/>
              <a:gd name="connsiteX1039" fmla="*/ 5013199 w 6251734"/>
              <a:gd name="connsiteY1039" fmla="*/ 3173535 h 5808721"/>
              <a:gd name="connsiteX1040" fmla="*/ 5299521 w 6251734"/>
              <a:gd name="connsiteY1040" fmla="*/ 3173535 h 5808721"/>
              <a:gd name="connsiteX1041" fmla="*/ 1456470 w 6251734"/>
              <a:gd name="connsiteY1041" fmla="*/ 2362577 h 5808721"/>
              <a:gd name="connsiteX1042" fmla="*/ 1669068 w 6251734"/>
              <a:gd name="connsiteY1042" fmla="*/ 2628325 h 5808721"/>
              <a:gd name="connsiteX1043" fmla="*/ 1485616 w 6251734"/>
              <a:gd name="connsiteY1043" fmla="*/ 2776629 h 5808721"/>
              <a:gd name="connsiteX1044" fmla="*/ 1306451 w 6251734"/>
              <a:gd name="connsiteY1044" fmla="*/ 2916361 h 5808721"/>
              <a:gd name="connsiteX1045" fmla="*/ 1094710 w 6251734"/>
              <a:gd name="connsiteY1045" fmla="*/ 2652328 h 5808721"/>
              <a:gd name="connsiteX1046" fmla="*/ 1275590 w 6251734"/>
              <a:gd name="connsiteY1046" fmla="*/ 2507453 h 5808721"/>
              <a:gd name="connsiteX1047" fmla="*/ 4655725 w 6251734"/>
              <a:gd name="connsiteY1047" fmla="*/ 2293138 h 5808721"/>
              <a:gd name="connsiteX1048" fmla="*/ 4792886 w 6251734"/>
              <a:gd name="connsiteY1048" fmla="*/ 2293138 h 5808721"/>
              <a:gd name="connsiteX1049" fmla="*/ 4792886 w 6251734"/>
              <a:gd name="connsiteY1049" fmla="*/ 3310694 h 5808721"/>
              <a:gd name="connsiteX1050" fmla="*/ 4655725 w 6251734"/>
              <a:gd name="connsiteY1050" fmla="*/ 3310694 h 5808721"/>
              <a:gd name="connsiteX1051" fmla="*/ 409649 w 6251734"/>
              <a:gd name="connsiteY1051" fmla="*/ 2273959 h 5808721"/>
              <a:gd name="connsiteX1052" fmla="*/ 459486 w 6251734"/>
              <a:gd name="connsiteY1052" fmla="*/ 2287996 h 5808721"/>
              <a:gd name="connsiteX1053" fmla="*/ 421017 w 6251734"/>
              <a:gd name="connsiteY1053" fmla="*/ 2278031 h 5808721"/>
              <a:gd name="connsiteX1054" fmla="*/ 4930045 w 6251734"/>
              <a:gd name="connsiteY1054" fmla="*/ 2273422 h 5808721"/>
              <a:gd name="connsiteX1055" fmla="*/ 5477829 w 6251734"/>
              <a:gd name="connsiteY1055" fmla="*/ 3311552 h 5808721"/>
              <a:gd name="connsiteX1056" fmla="*/ 4930045 w 6251734"/>
              <a:gd name="connsiteY1056" fmla="*/ 3311552 h 5808721"/>
              <a:gd name="connsiteX1057" fmla="*/ 5782627 w 6251734"/>
              <a:gd name="connsiteY1057" fmla="*/ 2202717 h 5808721"/>
              <a:gd name="connsiteX1058" fmla="*/ 5767752 w 6251734"/>
              <a:gd name="connsiteY1058" fmla="*/ 2214541 h 5808721"/>
              <a:gd name="connsiteX1059" fmla="*/ 5708935 w 6251734"/>
              <a:gd name="connsiteY1059" fmla="*/ 2253760 h 5808721"/>
              <a:gd name="connsiteX1060" fmla="*/ 5698749 w 6251734"/>
              <a:gd name="connsiteY1060" fmla="*/ 2259199 h 5808721"/>
              <a:gd name="connsiteX1061" fmla="*/ 5722156 w 6251734"/>
              <a:gd name="connsiteY1061" fmla="*/ 2304260 h 5808721"/>
              <a:gd name="connsiteX1062" fmla="*/ 5782152 w 6251734"/>
              <a:gd name="connsiteY1062" fmla="*/ 2345431 h 5808721"/>
              <a:gd name="connsiteX1063" fmla="*/ 5842148 w 6251734"/>
              <a:gd name="connsiteY1063" fmla="*/ 2304260 h 5808721"/>
              <a:gd name="connsiteX1064" fmla="*/ 5865804 w 6251734"/>
              <a:gd name="connsiteY1064" fmla="*/ 2258720 h 5808721"/>
              <a:gd name="connsiteX1065" fmla="*/ 5855368 w 6251734"/>
              <a:gd name="connsiteY1065" fmla="*/ 2253129 h 5808721"/>
              <a:gd name="connsiteX1066" fmla="*/ 5796551 w 6251734"/>
              <a:gd name="connsiteY1066" fmla="*/ 2213804 h 5808721"/>
              <a:gd name="connsiteX1067" fmla="*/ 5760901 w 6251734"/>
              <a:gd name="connsiteY1067" fmla="*/ 2151836 h 5808721"/>
              <a:gd name="connsiteX1068" fmla="*/ 5781715 w 6251734"/>
              <a:gd name="connsiteY1068" fmla="*/ 2169748 h 5808721"/>
              <a:gd name="connsiteX1069" fmla="*/ 5802358 w 6251734"/>
              <a:gd name="connsiteY1069" fmla="*/ 2151959 h 5808721"/>
              <a:gd name="connsiteX1070" fmla="*/ 5782152 w 6251734"/>
              <a:gd name="connsiteY1070" fmla="*/ 2153407 h 5808721"/>
              <a:gd name="connsiteX1071" fmla="*/ 5896549 w 6251734"/>
              <a:gd name="connsiteY1071" fmla="*/ 2145209 h 5808721"/>
              <a:gd name="connsiteX1072" fmla="*/ 5847314 w 6251734"/>
              <a:gd name="connsiteY1072" fmla="*/ 2148737 h 5808721"/>
              <a:gd name="connsiteX1073" fmla="*/ 5828117 w 6251734"/>
              <a:gd name="connsiteY1073" fmla="*/ 2166561 h 5808721"/>
              <a:gd name="connsiteX1074" fmla="*/ 5803118 w 6251734"/>
              <a:gd name="connsiteY1074" fmla="*/ 2186431 h 5808721"/>
              <a:gd name="connsiteX1075" fmla="*/ 5843581 w 6251734"/>
              <a:gd name="connsiteY1075" fmla="*/ 2213334 h 5808721"/>
              <a:gd name="connsiteX1076" fmla="*/ 5875307 w 6251734"/>
              <a:gd name="connsiteY1076" fmla="*/ 2230209 h 5808721"/>
              <a:gd name="connsiteX1077" fmla="*/ 5886604 w 6251734"/>
              <a:gd name="connsiteY1077" fmla="*/ 2194868 h 5808721"/>
              <a:gd name="connsiteX1078" fmla="*/ 5667701 w 6251734"/>
              <a:gd name="connsiteY1078" fmla="*/ 2144945 h 5808721"/>
              <a:gd name="connsiteX1079" fmla="*/ 5677700 w 6251734"/>
              <a:gd name="connsiteY1079" fmla="*/ 2194868 h 5808721"/>
              <a:gd name="connsiteX1080" fmla="*/ 5688842 w 6251734"/>
              <a:gd name="connsiteY1080" fmla="*/ 2229724 h 5808721"/>
              <a:gd name="connsiteX1081" fmla="*/ 5720722 w 6251734"/>
              <a:gd name="connsiteY1081" fmla="*/ 2212702 h 5808721"/>
              <a:gd name="connsiteX1082" fmla="*/ 5761232 w 6251734"/>
              <a:gd name="connsiteY1082" fmla="*/ 2185681 h 5808721"/>
              <a:gd name="connsiteX1083" fmla="*/ 5736186 w 6251734"/>
              <a:gd name="connsiteY1083" fmla="*/ 2165739 h 5808721"/>
              <a:gd name="connsiteX1084" fmla="*/ 5717789 w 6251734"/>
              <a:gd name="connsiteY1084" fmla="*/ 2148648 h 5808721"/>
              <a:gd name="connsiteX1085" fmla="*/ 6020742 w 6251734"/>
              <a:gd name="connsiteY1085" fmla="*/ 2124279 h 5808721"/>
              <a:gd name="connsiteX1086" fmla="*/ 5941024 w 6251734"/>
              <a:gd name="connsiteY1086" fmla="*/ 2142022 h 5808721"/>
              <a:gd name="connsiteX1087" fmla="*/ 5921776 w 6251734"/>
              <a:gd name="connsiteY1087" fmla="*/ 2143401 h 5808721"/>
              <a:gd name="connsiteX1088" fmla="*/ 5920303 w 6251734"/>
              <a:gd name="connsiteY1088" fmla="*/ 2163118 h 5808721"/>
              <a:gd name="connsiteX1089" fmla="*/ 5902447 w 6251734"/>
              <a:gd name="connsiteY1089" fmla="*/ 2242808 h 5808721"/>
              <a:gd name="connsiteX1090" fmla="*/ 5932987 w 6251734"/>
              <a:gd name="connsiteY1090" fmla="*/ 2254446 h 5808721"/>
              <a:gd name="connsiteX1091" fmla="*/ 6023897 w 6251734"/>
              <a:gd name="connsiteY1091" fmla="*/ 2245992 h 5808721"/>
              <a:gd name="connsiteX1092" fmla="*/ 6032350 w 6251734"/>
              <a:gd name="connsiteY1092" fmla="*/ 2154704 h 5808721"/>
              <a:gd name="connsiteX1093" fmla="*/ 5543504 w 6251734"/>
              <a:gd name="connsiteY1093" fmla="*/ 2123909 h 5808721"/>
              <a:gd name="connsiteX1094" fmla="*/ 5531953 w 6251734"/>
              <a:gd name="connsiteY1094" fmla="*/ 2154223 h 5808721"/>
              <a:gd name="connsiteX1095" fmla="*/ 5540407 w 6251734"/>
              <a:gd name="connsiteY1095" fmla="*/ 2245135 h 5808721"/>
              <a:gd name="connsiteX1096" fmla="*/ 5631317 w 6251734"/>
              <a:gd name="connsiteY1096" fmla="*/ 2253964 h 5808721"/>
              <a:gd name="connsiteX1097" fmla="*/ 5661749 w 6251734"/>
              <a:gd name="connsiteY1097" fmla="*/ 2242328 h 5808721"/>
              <a:gd name="connsiteX1098" fmla="*/ 5644001 w 6251734"/>
              <a:gd name="connsiteY1098" fmla="*/ 2163118 h 5808721"/>
              <a:gd name="connsiteX1099" fmla="*/ 5642504 w 6251734"/>
              <a:gd name="connsiteY1099" fmla="*/ 2143082 h 5808721"/>
              <a:gd name="connsiteX1100" fmla="*/ 5623279 w 6251734"/>
              <a:gd name="connsiteY1100" fmla="*/ 2141660 h 5808721"/>
              <a:gd name="connsiteX1101" fmla="*/ 5901217 w 6251734"/>
              <a:gd name="connsiteY1101" fmla="*/ 2096788 h 5808721"/>
              <a:gd name="connsiteX1102" fmla="*/ 5888451 w 6251734"/>
              <a:gd name="connsiteY1102" fmla="*/ 2110545 h 5808721"/>
              <a:gd name="connsiteX1103" fmla="*/ 5875630 w 6251734"/>
              <a:gd name="connsiteY1103" fmla="*/ 2122448 h 5808721"/>
              <a:gd name="connsiteX1104" fmla="*/ 5899439 w 6251734"/>
              <a:gd name="connsiteY1104" fmla="*/ 2120676 h 5808721"/>
              <a:gd name="connsiteX1105" fmla="*/ 5663018 w 6251734"/>
              <a:gd name="connsiteY1105" fmla="*/ 2095865 h 5808721"/>
              <a:gd name="connsiteX1106" fmla="*/ 5664871 w 6251734"/>
              <a:gd name="connsiteY1106" fmla="*/ 2120759 h 5808721"/>
              <a:gd name="connsiteX1107" fmla="*/ 5689742 w 6251734"/>
              <a:gd name="connsiteY1107" fmla="*/ 2122592 h 5808721"/>
              <a:gd name="connsiteX1108" fmla="*/ 5675852 w 6251734"/>
              <a:gd name="connsiteY1108" fmla="*/ 2109688 h 5808721"/>
              <a:gd name="connsiteX1109" fmla="*/ 5964361 w 6251734"/>
              <a:gd name="connsiteY1109" fmla="*/ 2025112 h 5808721"/>
              <a:gd name="connsiteX1110" fmla="*/ 5944467 w 6251734"/>
              <a:gd name="connsiteY1110" fmla="*/ 2050176 h 5808721"/>
              <a:gd name="connsiteX1111" fmla="*/ 5927363 w 6251734"/>
              <a:gd name="connsiteY1111" fmla="*/ 2068609 h 5808721"/>
              <a:gd name="connsiteX1112" fmla="*/ 5923685 w 6251734"/>
              <a:gd name="connsiteY1112" fmla="*/ 2117844 h 5808721"/>
              <a:gd name="connsiteX1113" fmla="*/ 5973632 w 6251734"/>
              <a:gd name="connsiteY1113" fmla="*/ 2107841 h 5808721"/>
              <a:gd name="connsiteX1114" fmla="*/ 6007981 w 6251734"/>
              <a:gd name="connsiteY1114" fmla="*/ 2096861 h 5808721"/>
              <a:gd name="connsiteX1115" fmla="*/ 5991239 w 6251734"/>
              <a:gd name="connsiteY1115" fmla="*/ 2065450 h 5808721"/>
              <a:gd name="connsiteX1116" fmla="*/ 5599967 w 6251734"/>
              <a:gd name="connsiteY1116" fmla="*/ 2024356 h 5808721"/>
              <a:gd name="connsiteX1117" fmla="*/ 5573064 w 6251734"/>
              <a:gd name="connsiteY1117" fmla="*/ 2064817 h 5808721"/>
              <a:gd name="connsiteX1118" fmla="*/ 5555981 w 6251734"/>
              <a:gd name="connsiteY1118" fmla="*/ 2096936 h 5808721"/>
              <a:gd name="connsiteX1119" fmla="*/ 5591049 w 6251734"/>
              <a:gd name="connsiteY1119" fmla="*/ 2108067 h 5808721"/>
              <a:gd name="connsiteX1120" fmla="*/ 5640623 w 6251734"/>
              <a:gd name="connsiteY1120" fmla="*/ 2117908 h 5808721"/>
              <a:gd name="connsiteX1121" fmla="*/ 5636873 w 6251734"/>
              <a:gd name="connsiteY1121" fmla="*/ 2067704 h 5808721"/>
              <a:gd name="connsiteX1122" fmla="*/ 5619836 w 6251734"/>
              <a:gd name="connsiteY1122" fmla="*/ 2049354 h 5808721"/>
              <a:gd name="connsiteX1123" fmla="*/ 5930674 w 6251734"/>
              <a:gd name="connsiteY1123" fmla="*/ 1983998 h 5808721"/>
              <a:gd name="connsiteX1124" fmla="*/ 5932171 w 6251734"/>
              <a:gd name="connsiteY1124" fmla="*/ 2004246 h 5808721"/>
              <a:gd name="connsiteX1125" fmla="*/ 5930734 w 6251734"/>
              <a:gd name="connsiteY1125" fmla="*/ 2023487 h 5808721"/>
              <a:gd name="connsiteX1126" fmla="*/ 5947705 w 6251734"/>
              <a:gd name="connsiteY1126" fmla="*/ 2003765 h 5808721"/>
              <a:gd name="connsiteX1127" fmla="*/ 5633693 w 6251734"/>
              <a:gd name="connsiteY1127" fmla="*/ 1983147 h 5808721"/>
              <a:gd name="connsiteX1128" fmla="*/ 5615905 w 6251734"/>
              <a:gd name="connsiteY1128" fmla="*/ 2003818 h 5808721"/>
              <a:gd name="connsiteX1129" fmla="*/ 5633640 w 6251734"/>
              <a:gd name="connsiteY1129" fmla="*/ 2024428 h 5808721"/>
              <a:gd name="connsiteX1130" fmla="*/ 5632133 w 6251734"/>
              <a:gd name="connsiteY1130" fmla="*/ 2004246 h 5808721"/>
              <a:gd name="connsiteX1131" fmla="*/ 5783009 w 6251734"/>
              <a:gd name="connsiteY1131" fmla="*/ 1940810 h 5808721"/>
              <a:gd name="connsiteX1132" fmla="*/ 5845588 w 6251734"/>
              <a:gd name="connsiteY1132" fmla="*/ 2003389 h 5808721"/>
              <a:gd name="connsiteX1133" fmla="*/ 5783009 w 6251734"/>
              <a:gd name="connsiteY1133" fmla="*/ 2065968 h 5808721"/>
              <a:gd name="connsiteX1134" fmla="*/ 5720429 w 6251734"/>
              <a:gd name="connsiteY1134" fmla="*/ 2003389 h 5808721"/>
              <a:gd name="connsiteX1135" fmla="*/ 5783009 w 6251734"/>
              <a:gd name="connsiteY1135" fmla="*/ 1940810 h 5808721"/>
              <a:gd name="connsiteX1136" fmla="*/ 6037483 w 6251734"/>
              <a:gd name="connsiteY1136" fmla="*/ 1919889 h 5808721"/>
              <a:gd name="connsiteX1137" fmla="*/ 6031666 w 6251734"/>
              <a:gd name="connsiteY1137" fmla="*/ 1930805 h 5808721"/>
              <a:gd name="connsiteX1138" fmla="*/ 5992446 w 6251734"/>
              <a:gd name="connsiteY1138" fmla="*/ 1989726 h 5808721"/>
              <a:gd name="connsiteX1139" fmla="*/ 5981262 w 6251734"/>
              <a:gd name="connsiteY1139" fmla="*/ 2003818 h 5808721"/>
              <a:gd name="connsiteX1140" fmla="*/ 5992446 w 6251734"/>
              <a:gd name="connsiteY1140" fmla="*/ 2017909 h 5808721"/>
              <a:gd name="connsiteX1141" fmla="*/ 6031666 w 6251734"/>
              <a:gd name="connsiteY1141" fmla="*/ 2076831 h 5808721"/>
              <a:gd name="connsiteX1142" fmla="*/ 6037189 w 6251734"/>
              <a:gd name="connsiteY1142" fmla="*/ 2087193 h 5808721"/>
              <a:gd name="connsiteX1143" fmla="*/ 6083022 w 6251734"/>
              <a:gd name="connsiteY1143" fmla="*/ 2063384 h 5808721"/>
              <a:gd name="connsiteX1144" fmla="*/ 6124194 w 6251734"/>
              <a:gd name="connsiteY1144" fmla="*/ 2003388 h 5808721"/>
              <a:gd name="connsiteX1145" fmla="*/ 6082849 w 6251734"/>
              <a:gd name="connsiteY1145" fmla="*/ 1943392 h 5808721"/>
              <a:gd name="connsiteX1146" fmla="*/ 5527012 w 6251734"/>
              <a:gd name="connsiteY1146" fmla="*/ 1919637 h 5808721"/>
              <a:gd name="connsiteX1147" fmla="*/ 5481281 w 6251734"/>
              <a:gd name="connsiteY1147" fmla="*/ 1943393 h 5808721"/>
              <a:gd name="connsiteX1148" fmla="*/ 5440109 w 6251734"/>
              <a:gd name="connsiteY1148" fmla="*/ 2003388 h 5808721"/>
              <a:gd name="connsiteX1149" fmla="*/ 5481454 w 6251734"/>
              <a:gd name="connsiteY1149" fmla="*/ 2063765 h 5808721"/>
              <a:gd name="connsiteX1150" fmla="*/ 5527292 w 6251734"/>
              <a:gd name="connsiteY1150" fmla="*/ 2087474 h 5808721"/>
              <a:gd name="connsiteX1151" fmla="*/ 5532638 w 6251734"/>
              <a:gd name="connsiteY1151" fmla="*/ 2077462 h 5808721"/>
              <a:gd name="connsiteX1152" fmla="*/ 5571857 w 6251734"/>
              <a:gd name="connsiteY1152" fmla="*/ 2018645 h 5808721"/>
              <a:gd name="connsiteX1153" fmla="*/ 5583642 w 6251734"/>
              <a:gd name="connsiteY1153" fmla="*/ 2003818 h 5808721"/>
              <a:gd name="connsiteX1154" fmla="*/ 5571857 w 6251734"/>
              <a:gd name="connsiteY1154" fmla="*/ 1988990 h 5808721"/>
              <a:gd name="connsiteX1155" fmla="*/ 5532638 w 6251734"/>
              <a:gd name="connsiteY1155" fmla="*/ 1930175 h 5808721"/>
              <a:gd name="connsiteX1156" fmla="*/ 5923650 w 6251734"/>
              <a:gd name="connsiteY1156" fmla="*/ 1888999 h 5808721"/>
              <a:gd name="connsiteX1157" fmla="*/ 5927348 w 6251734"/>
              <a:gd name="connsiteY1157" fmla="*/ 1939009 h 5808721"/>
              <a:gd name="connsiteX1158" fmla="*/ 5944467 w 6251734"/>
              <a:gd name="connsiteY1158" fmla="*/ 1957460 h 5808721"/>
              <a:gd name="connsiteX1159" fmla="*/ 5964311 w 6251734"/>
              <a:gd name="connsiteY1159" fmla="*/ 1982460 h 5808721"/>
              <a:gd name="connsiteX1160" fmla="*/ 5991239 w 6251734"/>
              <a:gd name="connsiteY1160" fmla="*/ 1941959 h 5808721"/>
              <a:gd name="connsiteX1161" fmla="*/ 6008190 w 6251734"/>
              <a:gd name="connsiteY1161" fmla="*/ 1910091 h 5808721"/>
              <a:gd name="connsiteX1162" fmla="*/ 5973255 w 6251734"/>
              <a:gd name="connsiteY1162" fmla="*/ 1898937 h 5808721"/>
              <a:gd name="connsiteX1163" fmla="*/ 5640660 w 6251734"/>
              <a:gd name="connsiteY1163" fmla="*/ 1888926 h 5808721"/>
              <a:gd name="connsiteX1164" fmla="*/ 5590672 w 6251734"/>
              <a:gd name="connsiteY1164" fmla="*/ 1898937 h 5808721"/>
              <a:gd name="connsiteX1165" fmla="*/ 5555674 w 6251734"/>
              <a:gd name="connsiteY1165" fmla="*/ 1910123 h 5808721"/>
              <a:gd name="connsiteX1166" fmla="*/ 5573064 w 6251734"/>
              <a:gd name="connsiteY1166" fmla="*/ 1942817 h 5808721"/>
              <a:gd name="connsiteX1167" fmla="*/ 5599967 w 6251734"/>
              <a:gd name="connsiteY1167" fmla="*/ 1983279 h 5808721"/>
              <a:gd name="connsiteX1168" fmla="*/ 5619836 w 6251734"/>
              <a:gd name="connsiteY1168" fmla="*/ 1958282 h 5808721"/>
              <a:gd name="connsiteX1169" fmla="*/ 5636890 w 6251734"/>
              <a:gd name="connsiteY1169" fmla="*/ 1939913 h 5808721"/>
              <a:gd name="connsiteX1170" fmla="*/ 5874649 w 6251734"/>
              <a:gd name="connsiteY1170" fmla="*/ 1884276 h 5808721"/>
              <a:gd name="connsiteX1171" fmla="*/ 5888451 w 6251734"/>
              <a:gd name="connsiteY1171" fmla="*/ 1897089 h 5808721"/>
              <a:gd name="connsiteX1172" fmla="*/ 5901285 w 6251734"/>
              <a:gd name="connsiteY1172" fmla="*/ 1910921 h 5808721"/>
              <a:gd name="connsiteX1173" fmla="*/ 5899440 w 6251734"/>
              <a:gd name="connsiteY1173" fmla="*/ 1886125 h 5808721"/>
              <a:gd name="connsiteX1174" fmla="*/ 5691290 w 6251734"/>
              <a:gd name="connsiteY1174" fmla="*/ 1884137 h 5808721"/>
              <a:gd name="connsiteX1175" fmla="*/ 5664888 w 6251734"/>
              <a:gd name="connsiteY1175" fmla="*/ 1886102 h 5808721"/>
              <a:gd name="connsiteX1176" fmla="*/ 5662969 w 6251734"/>
              <a:gd name="connsiteY1176" fmla="*/ 1911824 h 5808721"/>
              <a:gd name="connsiteX1177" fmla="*/ 5675852 w 6251734"/>
              <a:gd name="connsiteY1177" fmla="*/ 1897947 h 5808721"/>
              <a:gd name="connsiteX1178" fmla="*/ 5782152 w 6251734"/>
              <a:gd name="connsiteY1178" fmla="*/ 1877374 h 5808721"/>
              <a:gd name="connsiteX1179" fmla="*/ 5729852 w 6251734"/>
              <a:gd name="connsiteY1179" fmla="*/ 1881266 h 5808721"/>
              <a:gd name="connsiteX1180" fmla="*/ 5692997 w 6251734"/>
              <a:gd name="connsiteY1180" fmla="*/ 1914234 h 5808721"/>
              <a:gd name="connsiteX1181" fmla="*/ 5659921 w 6251734"/>
              <a:gd name="connsiteY1181" fmla="*/ 1952671 h 5808721"/>
              <a:gd name="connsiteX1182" fmla="*/ 5656136 w 6251734"/>
              <a:gd name="connsiteY1182" fmla="*/ 2003388 h 5808721"/>
              <a:gd name="connsiteX1183" fmla="*/ 5659980 w 6251734"/>
              <a:gd name="connsiteY1183" fmla="*/ 2055033 h 5808721"/>
              <a:gd name="connsiteX1184" fmla="*/ 5692997 w 6251734"/>
              <a:gd name="connsiteY1184" fmla="*/ 2093401 h 5808721"/>
              <a:gd name="connsiteX1185" fmla="*/ 5730401 w 6251734"/>
              <a:gd name="connsiteY1185" fmla="*/ 2125589 h 5808721"/>
              <a:gd name="connsiteX1186" fmla="*/ 5782152 w 6251734"/>
              <a:gd name="connsiteY1186" fmla="*/ 2129404 h 5808721"/>
              <a:gd name="connsiteX1187" fmla="*/ 5832915 w 6251734"/>
              <a:gd name="connsiteY1187" fmla="*/ 2125626 h 5808721"/>
              <a:gd name="connsiteX1188" fmla="*/ 5871306 w 6251734"/>
              <a:gd name="connsiteY1188" fmla="*/ 2092543 h 5808721"/>
              <a:gd name="connsiteX1189" fmla="*/ 5904394 w 6251734"/>
              <a:gd name="connsiteY1189" fmla="*/ 2054095 h 5808721"/>
              <a:gd name="connsiteX1190" fmla="*/ 5908167 w 6251734"/>
              <a:gd name="connsiteY1190" fmla="*/ 2003388 h 5808721"/>
              <a:gd name="connsiteX1191" fmla="*/ 5904460 w 6251734"/>
              <a:gd name="connsiteY1191" fmla="*/ 1953572 h 5808721"/>
              <a:gd name="connsiteX1192" fmla="*/ 5871306 w 6251734"/>
              <a:gd name="connsiteY1192" fmla="*/ 1915093 h 5808721"/>
              <a:gd name="connsiteX1193" fmla="*/ 5831778 w 6251734"/>
              <a:gd name="connsiteY1193" fmla="*/ 1881078 h 5808721"/>
              <a:gd name="connsiteX1194" fmla="*/ 5781317 w 6251734"/>
              <a:gd name="connsiteY1194" fmla="*/ 1837652 h 5808721"/>
              <a:gd name="connsiteX1195" fmla="*/ 5768933 w 6251734"/>
              <a:gd name="connsiteY1195" fmla="*/ 1846306 h 5808721"/>
              <a:gd name="connsiteX1196" fmla="*/ 5759134 w 6251734"/>
              <a:gd name="connsiteY1196" fmla="*/ 1855072 h 5808721"/>
              <a:gd name="connsiteX1197" fmla="*/ 5782152 w 6251734"/>
              <a:gd name="connsiteY1197" fmla="*/ 1853370 h 5808721"/>
              <a:gd name="connsiteX1198" fmla="*/ 5801220 w 6251734"/>
              <a:gd name="connsiteY1198" fmla="*/ 1854779 h 5808721"/>
              <a:gd name="connsiteX1199" fmla="*/ 5875814 w 6251734"/>
              <a:gd name="connsiteY1199" fmla="*/ 1778152 h 5808721"/>
              <a:gd name="connsiteX1200" fmla="*/ 5843355 w 6251734"/>
              <a:gd name="connsiteY1200" fmla="*/ 1794301 h 5808721"/>
              <a:gd name="connsiteX1201" fmla="*/ 5803931 w 6251734"/>
              <a:gd name="connsiteY1201" fmla="*/ 1821851 h 5808721"/>
              <a:gd name="connsiteX1202" fmla="*/ 5828117 w 6251734"/>
              <a:gd name="connsiteY1202" fmla="*/ 1841074 h 5808721"/>
              <a:gd name="connsiteX1203" fmla="*/ 5846484 w 6251734"/>
              <a:gd name="connsiteY1203" fmla="*/ 1858127 h 5808721"/>
              <a:gd name="connsiteX1204" fmla="*/ 5896602 w 6251734"/>
              <a:gd name="connsiteY1204" fmla="*/ 1861833 h 5808721"/>
              <a:gd name="connsiteX1205" fmla="*/ 5886604 w 6251734"/>
              <a:gd name="connsiteY1205" fmla="*/ 1811909 h 5808721"/>
              <a:gd name="connsiteX1206" fmla="*/ 5688619 w 6251734"/>
              <a:gd name="connsiteY1206" fmla="*/ 1778083 h 5808721"/>
              <a:gd name="connsiteX1207" fmla="*/ 5677700 w 6251734"/>
              <a:gd name="connsiteY1207" fmla="*/ 1812285 h 5808721"/>
              <a:gd name="connsiteX1208" fmla="*/ 5667775 w 6251734"/>
              <a:gd name="connsiteY1208" fmla="*/ 1861826 h 5808721"/>
              <a:gd name="connsiteX1209" fmla="*/ 5720592 w 6251734"/>
              <a:gd name="connsiteY1209" fmla="*/ 1857921 h 5808721"/>
              <a:gd name="connsiteX1210" fmla="*/ 5760892 w 6251734"/>
              <a:gd name="connsiteY1210" fmla="*/ 1821868 h 5808721"/>
              <a:gd name="connsiteX1211" fmla="*/ 5720722 w 6251734"/>
              <a:gd name="connsiteY1211" fmla="*/ 1795160 h 5808721"/>
              <a:gd name="connsiteX1212" fmla="*/ 1448754 w 6251734"/>
              <a:gd name="connsiteY1212" fmla="*/ 1765931 h 5808721"/>
              <a:gd name="connsiteX1213" fmla="*/ 1666496 w 6251734"/>
              <a:gd name="connsiteY1213" fmla="*/ 1868802 h 5808721"/>
              <a:gd name="connsiteX1214" fmla="*/ 1884238 w 6251734"/>
              <a:gd name="connsiteY1214" fmla="*/ 1765931 h 5808721"/>
              <a:gd name="connsiteX1215" fmla="*/ 1884238 w 6251734"/>
              <a:gd name="connsiteY1215" fmla="*/ 2016249 h 5808721"/>
              <a:gd name="connsiteX1216" fmla="*/ 1672497 w 6251734"/>
              <a:gd name="connsiteY1216" fmla="*/ 2089973 h 5808721"/>
              <a:gd name="connsiteX1217" fmla="*/ 1666496 w 6251734"/>
              <a:gd name="connsiteY1217" fmla="*/ 2089973 h 5808721"/>
              <a:gd name="connsiteX1218" fmla="*/ 1660495 w 6251734"/>
              <a:gd name="connsiteY1218" fmla="*/ 2089973 h 5808721"/>
              <a:gd name="connsiteX1219" fmla="*/ 1448754 w 6251734"/>
              <a:gd name="connsiteY1219" fmla="*/ 2016249 h 5808721"/>
              <a:gd name="connsiteX1220" fmla="*/ 5593918 w 6251734"/>
              <a:gd name="connsiteY1220" fmla="*/ 1746924 h 5808721"/>
              <a:gd name="connsiteX1221" fmla="*/ 5540407 w 6251734"/>
              <a:gd name="connsiteY1221" fmla="*/ 1762502 h 5808721"/>
              <a:gd name="connsiteX1222" fmla="*/ 5531953 w 6251734"/>
              <a:gd name="connsiteY1222" fmla="*/ 1853413 h 5808721"/>
              <a:gd name="connsiteX1223" fmla="*/ 5543203 w 6251734"/>
              <a:gd name="connsiteY1223" fmla="*/ 1882935 h 5808721"/>
              <a:gd name="connsiteX1224" fmla="*/ 5623279 w 6251734"/>
              <a:gd name="connsiteY1224" fmla="*/ 1865117 h 5808721"/>
              <a:gd name="connsiteX1225" fmla="*/ 5642525 w 6251734"/>
              <a:gd name="connsiteY1225" fmla="*/ 1863694 h 5808721"/>
              <a:gd name="connsiteX1226" fmla="*/ 5643880 w 6251734"/>
              <a:gd name="connsiteY1226" fmla="*/ 1845375 h 5808721"/>
              <a:gd name="connsiteX1227" fmla="*/ 5661631 w 6251734"/>
              <a:gd name="connsiteY1227" fmla="*/ 1765599 h 5808721"/>
              <a:gd name="connsiteX1228" fmla="*/ 5631317 w 6251734"/>
              <a:gd name="connsiteY1228" fmla="*/ 1754048 h 5808721"/>
              <a:gd name="connsiteX1229" fmla="*/ 5593918 w 6251734"/>
              <a:gd name="connsiteY1229" fmla="*/ 1746924 h 5808721"/>
              <a:gd name="connsiteX1230" fmla="*/ 5970024 w 6251734"/>
              <a:gd name="connsiteY1230" fmla="*/ 1746066 h 5808721"/>
              <a:gd name="connsiteX1231" fmla="*/ 5911854 w 6251734"/>
              <a:gd name="connsiteY1231" fmla="*/ 1760221 h 5808721"/>
              <a:gd name="connsiteX1232" fmla="*/ 5902511 w 6251734"/>
              <a:gd name="connsiteY1232" fmla="*/ 1764870 h 5808721"/>
              <a:gd name="connsiteX1233" fmla="*/ 5920424 w 6251734"/>
              <a:gd name="connsiteY1233" fmla="*/ 1845375 h 5808721"/>
              <a:gd name="connsiteX1234" fmla="*/ 5921779 w 6251734"/>
              <a:gd name="connsiteY1234" fmla="*/ 1863694 h 5808721"/>
              <a:gd name="connsiteX1235" fmla="*/ 5941024 w 6251734"/>
              <a:gd name="connsiteY1235" fmla="*/ 1865117 h 5808721"/>
              <a:gd name="connsiteX1236" fmla="*/ 6020799 w 6251734"/>
              <a:gd name="connsiteY1236" fmla="*/ 1882868 h 5808721"/>
              <a:gd name="connsiteX1237" fmla="*/ 6032350 w 6251734"/>
              <a:gd name="connsiteY1237" fmla="*/ 1852555 h 5808721"/>
              <a:gd name="connsiteX1238" fmla="*/ 6023897 w 6251734"/>
              <a:gd name="connsiteY1238" fmla="*/ 1761646 h 5808721"/>
              <a:gd name="connsiteX1239" fmla="*/ 5970024 w 6251734"/>
              <a:gd name="connsiteY1239" fmla="*/ 1746066 h 5808721"/>
              <a:gd name="connsiteX1240" fmla="*/ 289975 w 6251734"/>
              <a:gd name="connsiteY1240" fmla="*/ 1703570 h 5808721"/>
              <a:gd name="connsiteX1241" fmla="*/ 249460 w 6251734"/>
              <a:gd name="connsiteY1241" fmla="*/ 1738503 h 5808721"/>
              <a:gd name="connsiteX1242" fmla="*/ 283964 w 6251734"/>
              <a:gd name="connsiteY1242" fmla="*/ 1707642 h 5808721"/>
              <a:gd name="connsiteX1243" fmla="*/ 4368605 w 6251734"/>
              <a:gd name="connsiteY1243" fmla="*/ 1696916 h 5808721"/>
              <a:gd name="connsiteX1244" fmla="*/ 4478277 w 6251734"/>
              <a:gd name="connsiteY1244" fmla="*/ 1734211 h 5808721"/>
              <a:gd name="connsiteX1245" fmla="*/ 4710592 w 6251734"/>
              <a:gd name="connsiteY1245" fmla="*/ 1734211 h 5808721"/>
              <a:gd name="connsiteX1246" fmla="*/ 4710592 w 6251734"/>
              <a:gd name="connsiteY1246" fmla="*/ 2074541 h 5808721"/>
              <a:gd name="connsiteX1247" fmla="*/ 4473133 w 6251734"/>
              <a:gd name="connsiteY1247" fmla="*/ 2076255 h 5808721"/>
              <a:gd name="connsiteX1248" fmla="*/ 4245961 w 6251734"/>
              <a:gd name="connsiteY1248" fmla="*/ 2072826 h 5808721"/>
              <a:gd name="connsiteX1249" fmla="*/ 4245961 w 6251734"/>
              <a:gd name="connsiteY1249" fmla="*/ 1734211 h 5808721"/>
              <a:gd name="connsiteX1250" fmla="*/ 4368605 w 6251734"/>
              <a:gd name="connsiteY1250" fmla="*/ 1696916 h 5808721"/>
              <a:gd name="connsiteX1251" fmla="*/ 5782152 w 6251734"/>
              <a:gd name="connsiteY1251" fmla="*/ 1661348 h 5808721"/>
              <a:gd name="connsiteX1252" fmla="*/ 5722156 w 6251734"/>
              <a:gd name="connsiteY1252" fmla="*/ 1702693 h 5808721"/>
              <a:gd name="connsiteX1253" fmla="*/ 5698519 w 6251734"/>
              <a:gd name="connsiteY1253" fmla="*/ 1748314 h 5808721"/>
              <a:gd name="connsiteX1254" fmla="*/ 5708935 w 6251734"/>
              <a:gd name="connsiteY1254" fmla="*/ 1753875 h 5808721"/>
              <a:gd name="connsiteX1255" fmla="*/ 5767753 w 6251734"/>
              <a:gd name="connsiteY1255" fmla="*/ 1793094 h 5808721"/>
              <a:gd name="connsiteX1256" fmla="*/ 5783057 w 6251734"/>
              <a:gd name="connsiteY1256" fmla="*/ 1805259 h 5808721"/>
              <a:gd name="connsiteX1257" fmla="*/ 5855594 w 6251734"/>
              <a:gd name="connsiteY1257" fmla="*/ 1754507 h 5808721"/>
              <a:gd name="connsiteX1258" fmla="*/ 5866361 w 6251734"/>
              <a:gd name="connsiteY1258" fmla="*/ 1749129 h 5808721"/>
              <a:gd name="connsiteX1259" fmla="*/ 5842148 w 6251734"/>
              <a:gd name="connsiteY1259" fmla="*/ 1702521 h 5808721"/>
              <a:gd name="connsiteX1260" fmla="*/ 5782152 w 6251734"/>
              <a:gd name="connsiteY1260" fmla="*/ 1661348 h 5808721"/>
              <a:gd name="connsiteX1261" fmla="*/ 592360 w 6251734"/>
              <a:gd name="connsiteY1261" fmla="*/ 1640776 h 5808721"/>
              <a:gd name="connsiteX1262" fmla="*/ 599890 w 6251734"/>
              <a:gd name="connsiteY1262" fmla="*/ 1643860 h 5808721"/>
              <a:gd name="connsiteX1263" fmla="*/ 615617 w 6251734"/>
              <a:gd name="connsiteY1263" fmla="*/ 1651278 h 5808721"/>
              <a:gd name="connsiteX1264" fmla="*/ 493776 w 6251734"/>
              <a:gd name="connsiteY1264" fmla="*/ 1630488 h 5808721"/>
              <a:gd name="connsiteX1265" fmla="*/ 498063 w 6251734"/>
              <a:gd name="connsiteY1265" fmla="*/ 1633917 h 5808721"/>
              <a:gd name="connsiteX1266" fmla="*/ 493776 w 6251734"/>
              <a:gd name="connsiteY1266" fmla="*/ 1640776 h 5808721"/>
              <a:gd name="connsiteX1267" fmla="*/ 497205 w 6251734"/>
              <a:gd name="connsiteY1267" fmla="*/ 1641634 h 5808721"/>
              <a:gd name="connsiteX1268" fmla="*/ 510921 w 6251734"/>
              <a:gd name="connsiteY1268" fmla="*/ 1651062 h 5808721"/>
              <a:gd name="connsiteX1269" fmla="*/ 492919 w 6251734"/>
              <a:gd name="connsiteY1269" fmla="*/ 1655350 h 5808721"/>
              <a:gd name="connsiteX1270" fmla="*/ 471488 w 6251734"/>
              <a:gd name="connsiteY1270" fmla="*/ 1649348 h 5808721"/>
              <a:gd name="connsiteX1271" fmla="*/ 451771 w 6251734"/>
              <a:gd name="connsiteY1271" fmla="*/ 1667351 h 5808721"/>
              <a:gd name="connsiteX1272" fmla="*/ 440627 w 6251734"/>
              <a:gd name="connsiteY1272" fmla="*/ 1683638 h 5808721"/>
              <a:gd name="connsiteX1273" fmla="*/ 450914 w 6251734"/>
              <a:gd name="connsiteY1273" fmla="*/ 1689640 h 5808721"/>
              <a:gd name="connsiteX1274" fmla="*/ 460344 w 6251734"/>
              <a:gd name="connsiteY1274" fmla="*/ 1690497 h 5808721"/>
              <a:gd name="connsiteX1275" fmla="*/ 484347 w 6251734"/>
              <a:gd name="connsiteY1275" fmla="*/ 1686210 h 5808721"/>
              <a:gd name="connsiteX1276" fmla="*/ 490347 w 6251734"/>
              <a:gd name="connsiteY1276" fmla="*/ 1700784 h 5808721"/>
              <a:gd name="connsiteX1277" fmla="*/ 512636 w 6251734"/>
              <a:gd name="connsiteY1277" fmla="*/ 1711927 h 5808721"/>
              <a:gd name="connsiteX1278" fmla="*/ 525495 w 6251734"/>
              <a:gd name="connsiteY1278" fmla="*/ 1726501 h 5808721"/>
              <a:gd name="connsiteX1279" fmla="*/ 510064 w 6251734"/>
              <a:gd name="connsiteY1279" fmla="*/ 1736787 h 5808721"/>
              <a:gd name="connsiteX1280" fmla="*/ 494634 w 6251734"/>
              <a:gd name="connsiteY1280" fmla="*/ 1747070 h 5808721"/>
              <a:gd name="connsiteX1281" fmla="*/ 500634 w 6251734"/>
              <a:gd name="connsiteY1281" fmla="*/ 1756500 h 5808721"/>
              <a:gd name="connsiteX1282" fmla="*/ 516922 w 6251734"/>
              <a:gd name="connsiteY1282" fmla="*/ 1753071 h 5808721"/>
              <a:gd name="connsiteX1283" fmla="*/ 523780 w 6251734"/>
              <a:gd name="connsiteY1283" fmla="*/ 1751357 h 5808721"/>
              <a:gd name="connsiteX1284" fmla="*/ 542640 w 6251734"/>
              <a:gd name="connsiteY1284" fmla="*/ 1747928 h 5808721"/>
              <a:gd name="connsiteX1285" fmla="*/ 545211 w 6251734"/>
              <a:gd name="connsiteY1285" fmla="*/ 1745356 h 5808721"/>
              <a:gd name="connsiteX1286" fmla="*/ 555498 w 6251734"/>
              <a:gd name="connsiteY1286" fmla="*/ 1741075 h 5808721"/>
              <a:gd name="connsiteX1287" fmla="*/ 588931 w 6251734"/>
              <a:gd name="connsiteY1287" fmla="*/ 1744499 h 5808721"/>
              <a:gd name="connsiteX1288" fmla="*/ 600933 w 6251734"/>
              <a:gd name="connsiteY1288" fmla="*/ 1755643 h 5808721"/>
              <a:gd name="connsiteX1289" fmla="*/ 605219 w 6251734"/>
              <a:gd name="connsiteY1289" fmla="*/ 1752214 h 5808721"/>
              <a:gd name="connsiteX1290" fmla="*/ 609505 w 6251734"/>
              <a:gd name="connsiteY1290" fmla="*/ 1735930 h 5808721"/>
              <a:gd name="connsiteX1291" fmla="*/ 619792 w 6251734"/>
              <a:gd name="connsiteY1291" fmla="*/ 1739360 h 5808721"/>
              <a:gd name="connsiteX1292" fmla="*/ 643795 w 6251734"/>
              <a:gd name="connsiteY1292" fmla="*/ 1724786 h 5808721"/>
              <a:gd name="connsiteX1293" fmla="*/ 656654 w 6251734"/>
              <a:gd name="connsiteY1293" fmla="*/ 1733358 h 5808721"/>
              <a:gd name="connsiteX1294" fmla="*/ 651510 w 6251734"/>
              <a:gd name="connsiteY1294" fmla="*/ 1747928 h 5808721"/>
              <a:gd name="connsiteX1295" fmla="*/ 639509 w 6251734"/>
              <a:gd name="connsiteY1295" fmla="*/ 1742789 h 5808721"/>
              <a:gd name="connsiteX1296" fmla="*/ 623221 w 6251734"/>
              <a:gd name="connsiteY1296" fmla="*/ 1756500 h 5808721"/>
              <a:gd name="connsiteX1297" fmla="*/ 625793 w 6251734"/>
              <a:gd name="connsiteY1297" fmla="*/ 1763359 h 5808721"/>
              <a:gd name="connsiteX1298" fmla="*/ 642081 w 6251734"/>
              <a:gd name="connsiteY1298" fmla="*/ 1763359 h 5808721"/>
              <a:gd name="connsiteX1299" fmla="*/ 656654 w 6251734"/>
              <a:gd name="connsiteY1299" fmla="*/ 1767644 h 5808721"/>
              <a:gd name="connsiteX1300" fmla="*/ 658369 w 6251734"/>
              <a:gd name="connsiteY1300" fmla="*/ 1773647 h 5808721"/>
              <a:gd name="connsiteX1301" fmla="*/ 672085 w 6251734"/>
              <a:gd name="connsiteY1301" fmla="*/ 1778790 h 5808721"/>
              <a:gd name="connsiteX1302" fmla="*/ 672085 w 6251734"/>
              <a:gd name="connsiteY1302" fmla="*/ 1788218 h 5808721"/>
              <a:gd name="connsiteX1303" fmla="*/ 666085 w 6251734"/>
              <a:gd name="connsiteY1303" fmla="*/ 1786504 h 5808721"/>
              <a:gd name="connsiteX1304" fmla="*/ 654082 w 6251734"/>
              <a:gd name="connsiteY1304" fmla="*/ 1789076 h 5808721"/>
              <a:gd name="connsiteX1305" fmla="*/ 642081 w 6251734"/>
              <a:gd name="connsiteY1305" fmla="*/ 1791647 h 5808721"/>
              <a:gd name="connsiteX1306" fmla="*/ 618935 w 6251734"/>
              <a:gd name="connsiteY1306" fmla="*/ 1788218 h 5808721"/>
              <a:gd name="connsiteX1307" fmla="*/ 608648 w 6251734"/>
              <a:gd name="connsiteY1307" fmla="*/ 1798505 h 5808721"/>
              <a:gd name="connsiteX1308" fmla="*/ 601790 w 6251734"/>
              <a:gd name="connsiteY1308" fmla="*/ 1798505 h 5808721"/>
              <a:gd name="connsiteX1309" fmla="*/ 588074 w 6251734"/>
              <a:gd name="connsiteY1309" fmla="*/ 1793363 h 5808721"/>
              <a:gd name="connsiteX1310" fmla="*/ 576072 w 6251734"/>
              <a:gd name="connsiteY1310" fmla="*/ 1789076 h 5808721"/>
              <a:gd name="connsiteX1311" fmla="*/ 566643 w 6251734"/>
              <a:gd name="connsiteY1311" fmla="*/ 1788218 h 5808721"/>
              <a:gd name="connsiteX1312" fmla="*/ 562356 w 6251734"/>
              <a:gd name="connsiteY1312" fmla="*/ 1770216 h 5808721"/>
              <a:gd name="connsiteX1313" fmla="*/ 557213 w 6251734"/>
              <a:gd name="connsiteY1313" fmla="*/ 1769359 h 5808721"/>
              <a:gd name="connsiteX1314" fmla="*/ 550355 w 6251734"/>
              <a:gd name="connsiteY1314" fmla="*/ 1767644 h 5808721"/>
              <a:gd name="connsiteX1315" fmla="*/ 537496 w 6251734"/>
              <a:gd name="connsiteY1315" fmla="*/ 1770216 h 5808721"/>
              <a:gd name="connsiteX1316" fmla="*/ 528924 w 6251734"/>
              <a:gd name="connsiteY1316" fmla="*/ 1771073 h 5808721"/>
              <a:gd name="connsiteX1317" fmla="*/ 516065 w 6251734"/>
              <a:gd name="connsiteY1317" fmla="*/ 1773647 h 5808721"/>
              <a:gd name="connsiteX1318" fmla="*/ 507492 w 6251734"/>
              <a:gd name="connsiteY1318" fmla="*/ 1774503 h 5808721"/>
              <a:gd name="connsiteX1319" fmla="*/ 493776 w 6251734"/>
              <a:gd name="connsiteY1319" fmla="*/ 1786504 h 5808721"/>
              <a:gd name="connsiteX1320" fmla="*/ 474060 w 6251734"/>
              <a:gd name="connsiteY1320" fmla="*/ 1793363 h 5808721"/>
              <a:gd name="connsiteX1321" fmla="*/ 466344 w 6251734"/>
              <a:gd name="connsiteY1321" fmla="*/ 1797648 h 5808721"/>
              <a:gd name="connsiteX1322" fmla="*/ 458629 w 6251734"/>
              <a:gd name="connsiteY1322" fmla="*/ 1810508 h 5808721"/>
              <a:gd name="connsiteX1323" fmla="*/ 438912 w 6251734"/>
              <a:gd name="connsiteY1323" fmla="*/ 1831938 h 5808721"/>
              <a:gd name="connsiteX1324" fmla="*/ 441484 w 6251734"/>
              <a:gd name="connsiteY1324" fmla="*/ 1860230 h 5808721"/>
              <a:gd name="connsiteX1325" fmla="*/ 436341 w 6251734"/>
              <a:gd name="connsiteY1325" fmla="*/ 1874802 h 5808721"/>
              <a:gd name="connsiteX1326" fmla="*/ 431197 w 6251734"/>
              <a:gd name="connsiteY1326" fmla="*/ 1886803 h 5808721"/>
              <a:gd name="connsiteX1327" fmla="*/ 439770 w 6251734"/>
              <a:gd name="connsiteY1327" fmla="*/ 1896233 h 5808721"/>
              <a:gd name="connsiteX1328" fmla="*/ 444913 w 6251734"/>
              <a:gd name="connsiteY1328" fmla="*/ 1902233 h 5808721"/>
              <a:gd name="connsiteX1329" fmla="*/ 447485 w 6251734"/>
              <a:gd name="connsiteY1329" fmla="*/ 1914235 h 5808721"/>
              <a:gd name="connsiteX1330" fmla="*/ 456915 w 6251734"/>
              <a:gd name="connsiteY1330" fmla="*/ 1921951 h 5808721"/>
              <a:gd name="connsiteX1331" fmla="*/ 463773 w 6251734"/>
              <a:gd name="connsiteY1331" fmla="*/ 1933095 h 5808721"/>
              <a:gd name="connsiteX1332" fmla="*/ 474917 w 6251734"/>
              <a:gd name="connsiteY1332" fmla="*/ 1939095 h 5808721"/>
              <a:gd name="connsiteX1333" fmla="*/ 502349 w 6251734"/>
              <a:gd name="connsiteY1333" fmla="*/ 1939953 h 5808721"/>
              <a:gd name="connsiteX1334" fmla="*/ 521208 w 6251734"/>
              <a:gd name="connsiteY1334" fmla="*/ 1937380 h 5808721"/>
              <a:gd name="connsiteX1335" fmla="*/ 540925 w 6251734"/>
              <a:gd name="connsiteY1335" fmla="*/ 1931380 h 5808721"/>
              <a:gd name="connsiteX1336" fmla="*/ 552069 w 6251734"/>
              <a:gd name="connsiteY1336" fmla="*/ 1930522 h 5808721"/>
              <a:gd name="connsiteX1337" fmla="*/ 559785 w 6251734"/>
              <a:gd name="connsiteY1337" fmla="*/ 1941666 h 5808721"/>
              <a:gd name="connsiteX1338" fmla="*/ 570929 w 6251734"/>
              <a:gd name="connsiteY1338" fmla="*/ 1939095 h 5808721"/>
              <a:gd name="connsiteX1339" fmla="*/ 587217 w 6251734"/>
              <a:gd name="connsiteY1339" fmla="*/ 1945953 h 5808721"/>
              <a:gd name="connsiteX1340" fmla="*/ 583788 w 6251734"/>
              <a:gd name="connsiteY1340" fmla="*/ 1962240 h 5808721"/>
              <a:gd name="connsiteX1341" fmla="*/ 583788 w 6251734"/>
              <a:gd name="connsiteY1341" fmla="*/ 1968242 h 5808721"/>
              <a:gd name="connsiteX1342" fmla="*/ 585502 w 6251734"/>
              <a:gd name="connsiteY1342" fmla="*/ 1990529 h 5808721"/>
              <a:gd name="connsiteX1343" fmla="*/ 593217 w 6251734"/>
              <a:gd name="connsiteY1343" fmla="*/ 2001674 h 5808721"/>
              <a:gd name="connsiteX1344" fmla="*/ 598361 w 6251734"/>
              <a:gd name="connsiteY1344" fmla="*/ 2009389 h 5808721"/>
              <a:gd name="connsiteX1345" fmla="*/ 606933 w 6251734"/>
              <a:gd name="connsiteY1345" fmla="*/ 2021391 h 5808721"/>
              <a:gd name="connsiteX1346" fmla="*/ 609505 w 6251734"/>
              <a:gd name="connsiteY1346" fmla="*/ 2033392 h 5808721"/>
              <a:gd name="connsiteX1347" fmla="*/ 598361 w 6251734"/>
              <a:gd name="connsiteY1347" fmla="*/ 2045393 h 5808721"/>
              <a:gd name="connsiteX1348" fmla="*/ 593217 w 6251734"/>
              <a:gd name="connsiteY1348" fmla="*/ 2061682 h 5808721"/>
              <a:gd name="connsiteX1349" fmla="*/ 588931 w 6251734"/>
              <a:gd name="connsiteY1349" fmla="*/ 2071968 h 5808721"/>
              <a:gd name="connsiteX1350" fmla="*/ 595789 w 6251734"/>
              <a:gd name="connsiteY1350" fmla="*/ 2082255 h 5808721"/>
              <a:gd name="connsiteX1351" fmla="*/ 606076 w 6251734"/>
              <a:gd name="connsiteY1351" fmla="*/ 2095114 h 5808721"/>
              <a:gd name="connsiteX1352" fmla="*/ 608648 w 6251734"/>
              <a:gd name="connsiteY1352" fmla="*/ 2107115 h 5808721"/>
              <a:gd name="connsiteX1353" fmla="*/ 608648 w 6251734"/>
              <a:gd name="connsiteY1353" fmla="*/ 2116545 h 5808721"/>
              <a:gd name="connsiteX1354" fmla="*/ 613791 w 6251734"/>
              <a:gd name="connsiteY1354" fmla="*/ 2128547 h 5808721"/>
              <a:gd name="connsiteX1355" fmla="*/ 620649 w 6251734"/>
              <a:gd name="connsiteY1355" fmla="*/ 2144834 h 5808721"/>
              <a:gd name="connsiteX1356" fmla="*/ 624936 w 6251734"/>
              <a:gd name="connsiteY1356" fmla="*/ 2144834 h 5808721"/>
              <a:gd name="connsiteX1357" fmla="*/ 642938 w 6251734"/>
              <a:gd name="connsiteY1357" fmla="*/ 2137119 h 5808721"/>
              <a:gd name="connsiteX1358" fmla="*/ 665227 w 6251734"/>
              <a:gd name="connsiteY1358" fmla="*/ 2127690 h 5808721"/>
              <a:gd name="connsiteX1359" fmla="*/ 668656 w 6251734"/>
              <a:gd name="connsiteY1359" fmla="*/ 2118260 h 5808721"/>
              <a:gd name="connsiteX1360" fmla="*/ 683230 w 6251734"/>
              <a:gd name="connsiteY1360" fmla="*/ 2106258 h 5808721"/>
              <a:gd name="connsiteX1361" fmla="*/ 695231 w 6251734"/>
              <a:gd name="connsiteY1361" fmla="*/ 2088256 h 5808721"/>
              <a:gd name="connsiteX1362" fmla="*/ 695231 w 6251734"/>
              <a:gd name="connsiteY1362" fmla="*/ 2076254 h 5808721"/>
              <a:gd name="connsiteX1363" fmla="*/ 706375 w 6251734"/>
              <a:gd name="connsiteY1363" fmla="*/ 2072825 h 5808721"/>
              <a:gd name="connsiteX1364" fmla="*/ 710662 w 6251734"/>
              <a:gd name="connsiteY1364" fmla="*/ 2065110 h 5808721"/>
              <a:gd name="connsiteX1365" fmla="*/ 724378 w 6251734"/>
              <a:gd name="connsiteY1365" fmla="*/ 2052252 h 5808721"/>
              <a:gd name="connsiteX1366" fmla="*/ 719234 w 6251734"/>
              <a:gd name="connsiteY1366" fmla="*/ 2040250 h 5808721"/>
              <a:gd name="connsiteX1367" fmla="*/ 729521 w 6251734"/>
              <a:gd name="connsiteY1367" fmla="*/ 2028248 h 5808721"/>
              <a:gd name="connsiteX1368" fmla="*/ 728664 w 6251734"/>
              <a:gd name="connsiteY1368" fmla="*/ 2006817 h 5808721"/>
              <a:gd name="connsiteX1369" fmla="*/ 728664 w 6251734"/>
              <a:gd name="connsiteY1369" fmla="*/ 1992244 h 5808721"/>
              <a:gd name="connsiteX1370" fmla="*/ 735522 w 6251734"/>
              <a:gd name="connsiteY1370" fmla="*/ 1983671 h 5808721"/>
              <a:gd name="connsiteX1371" fmla="*/ 738951 w 6251734"/>
              <a:gd name="connsiteY1371" fmla="*/ 1966526 h 5808721"/>
              <a:gd name="connsiteX1372" fmla="*/ 750095 w 6251734"/>
              <a:gd name="connsiteY1372" fmla="*/ 1954526 h 5808721"/>
              <a:gd name="connsiteX1373" fmla="*/ 753524 w 6251734"/>
              <a:gd name="connsiteY1373" fmla="*/ 1931380 h 5808721"/>
              <a:gd name="connsiteX1374" fmla="*/ 760382 w 6251734"/>
              <a:gd name="connsiteY1374" fmla="*/ 1918520 h 5808721"/>
              <a:gd name="connsiteX1375" fmla="*/ 762954 w 6251734"/>
              <a:gd name="connsiteY1375" fmla="*/ 1903090 h 5808721"/>
              <a:gd name="connsiteX1376" fmla="*/ 756096 w 6251734"/>
              <a:gd name="connsiteY1376" fmla="*/ 1895375 h 5808721"/>
              <a:gd name="connsiteX1377" fmla="*/ 744094 w 6251734"/>
              <a:gd name="connsiteY1377" fmla="*/ 1897947 h 5808721"/>
              <a:gd name="connsiteX1378" fmla="*/ 737236 w 6251734"/>
              <a:gd name="connsiteY1378" fmla="*/ 1899662 h 5808721"/>
              <a:gd name="connsiteX1379" fmla="*/ 727807 w 6251734"/>
              <a:gd name="connsiteY1379" fmla="*/ 1896233 h 5808721"/>
              <a:gd name="connsiteX1380" fmla="*/ 727807 w 6251734"/>
              <a:gd name="connsiteY1380" fmla="*/ 1885088 h 5808721"/>
              <a:gd name="connsiteX1381" fmla="*/ 716662 w 6251734"/>
              <a:gd name="connsiteY1381" fmla="*/ 1880803 h 5808721"/>
              <a:gd name="connsiteX1382" fmla="*/ 710662 w 6251734"/>
              <a:gd name="connsiteY1382" fmla="*/ 1867944 h 5808721"/>
              <a:gd name="connsiteX1383" fmla="*/ 704661 w 6251734"/>
              <a:gd name="connsiteY1383" fmla="*/ 1855941 h 5808721"/>
              <a:gd name="connsiteX1384" fmla="*/ 695231 w 6251734"/>
              <a:gd name="connsiteY1384" fmla="*/ 1851655 h 5808721"/>
              <a:gd name="connsiteX1385" fmla="*/ 691802 w 6251734"/>
              <a:gd name="connsiteY1385" fmla="*/ 1834510 h 5808721"/>
              <a:gd name="connsiteX1386" fmla="*/ 701232 w 6251734"/>
              <a:gd name="connsiteY1386" fmla="*/ 1831082 h 5808721"/>
              <a:gd name="connsiteX1387" fmla="*/ 707233 w 6251734"/>
              <a:gd name="connsiteY1387" fmla="*/ 1836225 h 5808721"/>
              <a:gd name="connsiteX1388" fmla="*/ 713233 w 6251734"/>
              <a:gd name="connsiteY1388" fmla="*/ 1846511 h 5808721"/>
              <a:gd name="connsiteX1389" fmla="*/ 715805 w 6251734"/>
              <a:gd name="connsiteY1389" fmla="*/ 1859371 h 5808721"/>
              <a:gd name="connsiteX1390" fmla="*/ 730378 w 6251734"/>
              <a:gd name="connsiteY1390" fmla="*/ 1868802 h 5808721"/>
              <a:gd name="connsiteX1391" fmla="*/ 738951 w 6251734"/>
              <a:gd name="connsiteY1391" fmla="*/ 1879945 h 5808721"/>
              <a:gd name="connsiteX1392" fmla="*/ 759525 w 6251734"/>
              <a:gd name="connsiteY1392" fmla="*/ 1875660 h 5808721"/>
              <a:gd name="connsiteX1393" fmla="*/ 763811 w 6251734"/>
              <a:gd name="connsiteY1393" fmla="*/ 1864514 h 5808721"/>
              <a:gd name="connsiteX1394" fmla="*/ 767240 w 6251734"/>
              <a:gd name="connsiteY1394" fmla="*/ 1852513 h 5808721"/>
              <a:gd name="connsiteX1395" fmla="*/ 762954 w 6251734"/>
              <a:gd name="connsiteY1395" fmla="*/ 1837940 h 5808721"/>
              <a:gd name="connsiteX1396" fmla="*/ 762954 w 6251734"/>
              <a:gd name="connsiteY1396" fmla="*/ 1825938 h 5808721"/>
              <a:gd name="connsiteX1397" fmla="*/ 758668 w 6251734"/>
              <a:gd name="connsiteY1397" fmla="*/ 1815651 h 5808721"/>
              <a:gd name="connsiteX1398" fmla="*/ 762097 w 6251734"/>
              <a:gd name="connsiteY1398" fmla="*/ 1816508 h 5808721"/>
              <a:gd name="connsiteX1399" fmla="*/ 774098 w 6251734"/>
              <a:gd name="connsiteY1399" fmla="*/ 1820794 h 5808721"/>
              <a:gd name="connsiteX1400" fmla="*/ 782671 w 6251734"/>
              <a:gd name="connsiteY1400" fmla="*/ 1837084 h 5808721"/>
              <a:gd name="connsiteX1401" fmla="*/ 790386 w 6251734"/>
              <a:gd name="connsiteY1401" fmla="*/ 1844797 h 5808721"/>
              <a:gd name="connsiteX1402" fmla="*/ 796387 w 6251734"/>
              <a:gd name="connsiteY1402" fmla="*/ 1851655 h 5808721"/>
              <a:gd name="connsiteX1403" fmla="*/ 800673 w 6251734"/>
              <a:gd name="connsiteY1403" fmla="*/ 1863658 h 5808721"/>
              <a:gd name="connsiteX1404" fmla="*/ 809245 w 6251734"/>
              <a:gd name="connsiteY1404" fmla="*/ 1873945 h 5808721"/>
              <a:gd name="connsiteX1405" fmla="*/ 810960 w 6251734"/>
              <a:gd name="connsiteY1405" fmla="*/ 1870514 h 5808721"/>
              <a:gd name="connsiteX1406" fmla="*/ 620127 w 6251734"/>
              <a:gd name="connsiteY1406" fmla="*/ 1653407 h 5808721"/>
              <a:gd name="connsiteX1407" fmla="*/ 615617 w 6251734"/>
              <a:gd name="connsiteY1407" fmla="*/ 1651278 h 5808721"/>
              <a:gd name="connsiteX1408" fmla="*/ 671583 w 6251734"/>
              <a:gd name="connsiteY1408" fmla="*/ 1676556 h 5808721"/>
              <a:gd name="connsiteX1409" fmla="*/ 792958 w 6251734"/>
              <a:gd name="connsiteY1409" fmla="*/ 2119974 h 5808721"/>
              <a:gd name="connsiteX1410" fmla="*/ 511779 w 6251734"/>
              <a:gd name="connsiteY1410" fmla="*/ 2287139 h 5808721"/>
              <a:gd name="connsiteX1411" fmla="*/ 630079 w 6251734"/>
              <a:gd name="connsiteY1411" fmla="*/ 2251133 h 5808721"/>
              <a:gd name="connsiteX1412" fmla="*/ 613791 w 6251734"/>
              <a:gd name="connsiteY1412" fmla="*/ 2251993 h 5808721"/>
              <a:gd name="connsiteX1413" fmla="*/ 597504 w 6251734"/>
              <a:gd name="connsiteY1413" fmla="*/ 2245133 h 5808721"/>
              <a:gd name="connsiteX1414" fmla="*/ 588074 w 6251734"/>
              <a:gd name="connsiteY1414" fmla="*/ 2243418 h 5808721"/>
              <a:gd name="connsiteX1415" fmla="*/ 572643 w 6251734"/>
              <a:gd name="connsiteY1415" fmla="*/ 2245990 h 5808721"/>
              <a:gd name="connsiteX1416" fmla="*/ 560642 w 6251734"/>
              <a:gd name="connsiteY1416" fmla="*/ 2251993 h 5808721"/>
              <a:gd name="connsiteX1417" fmla="*/ 550355 w 6251734"/>
              <a:gd name="connsiteY1417" fmla="*/ 2251133 h 5808721"/>
              <a:gd name="connsiteX1418" fmla="*/ 537496 w 6251734"/>
              <a:gd name="connsiteY1418" fmla="*/ 2251993 h 5808721"/>
              <a:gd name="connsiteX1419" fmla="*/ 541782 w 6251734"/>
              <a:gd name="connsiteY1419" fmla="*/ 2241705 h 5808721"/>
              <a:gd name="connsiteX1420" fmla="*/ 530638 w 6251734"/>
              <a:gd name="connsiteY1420" fmla="*/ 2239989 h 5808721"/>
              <a:gd name="connsiteX1421" fmla="*/ 523780 w 6251734"/>
              <a:gd name="connsiteY1421" fmla="*/ 2248563 h 5808721"/>
              <a:gd name="connsiteX1422" fmla="*/ 517779 w 6251734"/>
              <a:gd name="connsiteY1422" fmla="*/ 2259708 h 5808721"/>
              <a:gd name="connsiteX1423" fmla="*/ 496348 w 6251734"/>
              <a:gd name="connsiteY1423" fmla="*/ 2255421 h 5808721"/>
              <a:gd name="connsiteX1424" fmla="*/ 484347 w 6251734"/>
              <a:gd name="connsiteY1424" fmla="*/ 2252849 h 5808721"/>
              <a:gd name="connsiteX1425" fmla="*/ 485204 w 6251734"/>
              <a:gd name="connsiteY1425" fmla="*/ 2248563 h 5808721"/>
              <a:gd name="connsiteX1426" fmla="*/ 497205 w 6251734"/>
              <a:gd name="connsiteY1426" fmla="*/ 2239989 h 5808721"/>
              <a:gd name="connsiteX1427" fmla="*/ 509207 w 6251734"/>
              <a:gd name="connsiteY1427" fmla="*/ 2233132 h 5808721"/>
              <a:gd name="connsiteX1428" fmla="*/ 503206 w 6251734"/>
              <a:gd name="connsiteY1428" fmla="*/ 2226275 h 5808721"/>
              <a:gd name="connsiteX1429" fmla="*/ 497205 w 6251734"/>
              <a:gd name="connsiteY1429" fmla="*/ 2231417 h 5808721"/>
              <a:gd name="connsiteX1430" fmla="*/ 472345 w 6251734"/>
              <a:gd name="connsiteY1430" fmla="*/ 2232275 h 5808721"/>
              <a:gd name="connsiteX1431" fmla="*/ 451771 w 6251734"/>
              <a:gd name="connsiteY1431" fmla="*/ 2233989 h 5808721"/>
              <a:gd name="connsiteX1432" fmla="*/ 448342 w 6251734"/>
              <a:gd name="connsiteY1432" fmla="*/ 2227131 h 5808721"/>
              <a:gd name="connsiteX1433" fmla="*/ 433769 w 6251734"/>
              <a:gd name="connsiteY1433" fmla="*/ 2233989 h 5808721"/>
              <a:gd name="connsiteX1434" fmla="*/ 413195 w 6251734"/>
              <a:gd name="connsiteY1434" fmla="*/ 2237419 h 5808721"/>
              <a:gd name="connsiteX1435" fmla="*/ 402908 w 6251734"/>
              <a:gd name="connsiteY1435" fmla="*/ 2239132 h 5808721"/>
              <a:gd name="connsiteX1436" fmla="*/ 402051 w 6251734"/>
              <a:gd name="connsiteY1436" fmla="*/ 2233132 h 5808721"/>
              <a:gd name="connsiteX1437" fmla="*/ 391764 w 6251734"/>
              <a:gd name="connsiteY1437" fmla="*/ 2241705 h 5808721"/>
              <a:gd name="connsiteX1438" fmla="*/ 379762 w 6251734"/>
              <a:gd name="connsiteY1438" fmla="*/ 2243418 h 5808721"/>
              <a:gd name="connsiteX1439" fmla="*/ 378048 w 6251734"/>
              <a:gd name="connsiteY1439" fmla="*/ 2257136 h 5808721"/>
              <a:gd name="connsiteX1440" fmla="*/ 393304 w 6251734"/>
              <a:gd name="connsiteY1440" fmla="*/ 2268105 h 5808721"/>
              <a:gd name="connsiteX1441" fmla="*/ 409649 w 6251734"/>
              <a:gd name="connsiteY1441" fmla="*/ 2273959 h 5808721"/>
              <a:gd name="connsiteX1442" fmla="*/ 353398 w 6251734"/>
              <a:gd name="connsiteY1442" fmla="*/ 2258117 h 5808721"/>
              <a:gd name="connsiteX1443" fmla="*/ 167164 w 6251734"/>
              <a:gd name="connsiteY1443" fmla="*/ 1913378 h 5808721"/>
              <a:gd name="connsiteX1444" fmla="*/ 170593 w 6251734"/>
              <a:gd name="connsiteY1444" fmla="*/ 1910806 h 5808721"/>
              <a:gd name="connsiteX1445" fmla="*/ 173165 w 6251734"/>
              <a:gd name="connsiteY1445" fmla="*/ 1921951 h 5808721"/>
              <a:gd name="connsiteX1446" fmla="*/ 179166 w 6251734"/>
              <a:gd name="connsiteY1446" fmla="*/ 1930522 h 5808721"/>
              <a:gd name="connsiteX1447" fmla="*/ 186024 w 6251734"/>
              <a:gd name="connsiteY1447" fmla="*/ 1939953 h 5808721"/>
              <a:gd name="connsiteX1448" fmla="*/ 181737 w 6251734"/>
              <a:gd name="connsiteY1448" fmla="*/ 1954526 h 5808721"/>
              <a:gd name="connsiteX1449" fmla="*/ 190310 w 6251734"/>
              <a:gd name="connsiteY1449" fmla="*/ 1978528 h 5808721"/>
              <a:gd name="connsiteX1450" fmla="*/ 189453 w 6251734"/>
              <a:gd name="connsiteY1450" fmla="*/ 2007674 h 5808721"/>
              <a:gd name="connsiteX1451" fmla="*/ 208312 w 6251734"/>
              <a:gd name="connsiteY1451" fmla="*/ 2052252 h 5808721"/>
              <a:gd name="connsiteX1452" fmla="*/ 215170 w 6251734"/>
              <a:gd name="connsiteY1452" fmla="*/ 2066825 h 5808721"/>
              <a:gd name="connsiteX1453" fmla="*/ 227172 w 6251734"/>
              <a:gd name="connsiteY1453" fmla="*/ 2076254 h 5808721"/>
              <a:gd name="connsiteX1454" fmla="*/ 233172 w 6251734"/>
              <a:gd name="connsiteY1454" fmla="*/ 2101972 h 5808721"/>
              <a:gd name="connsiteX1455" fmla="*/ 240888 w 6251734"/>
              <a:gd name="connsiteY1455" fmla="*/ 2124260 h 5808721"/>
              <a:gd name="connsiteX1456" fmla="*/ 250317 w 6251734"/>
              <a:gd name="connsiteY1456" fmla="*/ 2136262 h 5808721"/>
              <a:gd name="connsiteX1457" fmla="*/ 257175 w 6251734"/>
              <a:gd name="connsiteY1457" fmla="*/ 2149122 h 5808721"/>
              <a:gd name="connsiteX1458" fmla="*/ 264891 w 6251734"/>
              <a:gd name="connsiteY1458" fmla="*/ 2161123 h 5808721"/>
              <a:gd name="connsiteX1459" fmla="*/ 279464 w 6251734"/>
              <a:gd name="connsiteY1459" fmla="*/ 2189412 h 5808721"/>
              <a:gd name="connsiteX1460" fmla="*/ 286322 w 6251734"/>
              <a:gd name="connsiteY1460" fmla="*/ 2199699 h 5808721"/>
              <a:gd name="connsiteX1461" fmla="*/ 306039 w 6251734"/>
              <a:gd name="connsiteY1461" fmla="*/ 2211701 h 5808721"/>
              <a:gd name="connsiteX1462" fmla="*/ 318897 w 6251734"/>
              <a:gd name="connsiteY1462" fmla="*/ 2221987 h 5808721"/>
              <a:gd name="connsiteX1463" fmla="*/ 320612 w 6251734"/>
              <a:gd name="connsiteY1463" fmla="*/ 2215986 h 5808721"/>
              <a:gd name="connsiteX1464" fmla="*/ 312897 w 6251734"/>
              <a:gd name="connsiteY1464" fmla="*/ 2207414 h 5808721"/>
              <a:gd name="connsiteX1465" fmla="*/ 304324 w 6251734"/>
              <a:gd name="connsiteY1465" fmla="*/ 2196269 h 5808721"/>
              <a:gd name="connsiteX1466" fmla="*/ 300038 w 6251734"/>
              <a:gd name="connsiteY1466" fmla="*/ 2186840 h 5808721"/>
              <a:gd name="connsiteX1467" fmla="*/ 290608 w 6251734"/>
              <a:gd name="connsiteY1467" fmla="*/ 2173981 h 5808721"/>
              <a:gd name="connsiteX1468" fmla="*/ 294894 w 6251734"/>
              <a:gd name="connsiteY1468" fmla="*/ 2166267 h 5808721"/>
              <a:gd name="connsiteX1469" fmla="*/ 298323 w 6251734"/>
              <a:gd name="connsiteY1469" fmla="*/ 2161123 h 5808721"/>
              <a:gd name="connsiteX1470" fmla="*/ 294894 w 6251734"/>
              <a:gd name="connsiteY1470" fmla="*/ 2148263 h 5808721"/>
              <a:gd name="connsiteX1471" fmla="*/ 303467 w 6251734"/>
              <a:gd name="connsiteY1471" fmla="*/ 2119974 h 5808721"/>
              <a:gd name="connsiteX1472" fmla="*/ 303467 w 6251734"/>
              <a:gd name="connsiteY1472" fmla="*/ 2104544 h 5808721"/>
              <a:gd name="connsiteX1473" fmla="*/ 312897 w 6251734"/>
              <a:gd name="connsiteY1473" fmla="*/ 2097686 h 5808721"/>
              <a:gd name="connsiteX1474" fmla="*/ 326613 w 6251734"/>
              <a:gd name="connsiteY1474" fmla="*/ 2088256 h 5808721"/>
              <a:gd name="connsiteX1475" fmla="*/ 324898 w 6251734"/>
              <a:gd name="connsiteY1475" fmla="*/ 2079683 h 5808721"/>
              <a:gd name="connsiteX1476" fmla="*/ 329184 w 6251734"/>
              <a:gd name="connsiteY1476" fmla="*/ 2071111 h 5808721"/>
              <a:gd name="connsiteX1477" fmla="*/ 330042 w 6251734"/>
              <a:gd name="connsiteY1477" fmla="*/ 2057396 h 5808721"/>
              <a:gd name="connsiteX1478" fmla="*/ 325755 w 6251734"/>
              <a:gd name="connsiteY1478" fmla="*/ 2046251 h 5808721"/>
              <a:gd name="connsiteX1479" fmla="*/ 327470 w 6251734"/>
              <a:gd name="connsiteY1479" fmla="*/ 2035106 h 5808721"/>
              <a:gd name="connsiteX1480" fmla="*/ 336900 w 6251734"/>
              <a:gd name="connsiteY1480" fmla="*/ 2021391 h 5808721"/>
              <a:gd name="connsiteX1481" fmla="*/ 342043 w 6251734"/>
              <a:gd name="connsiteY1481" fmla="*/ 2008532 h 5808721"/>
              <a:gd name="connsiteX1482" fmla="*/ 336900 w 6251734"/>
              <a:gd name="connsiteY1482" fmla="*/ 2001674 h 5808721"/>
              <a:gd name="connsiteX1483" fmla="*/ 324041 w 6251734"/>
              <a:gd name="connsiteY1483" fmla="*/ 1994816 h 5808721"/>
              <a:gd name="connsiteX1484" fmla="*/ 315468 w 6251734"/>
              <a:gd name="connsiteY1484" fmla="*/ 1983671 h 5808721"/>
              <a:gd name="connsiteX1485" fmla="*/ 299181 w 6251734"/>
              <a:gd name="connsiteY1485" fmla="*/ 1982814 h 5808721"/>
              <a:gd name="connsiteX1486" fmla="*/ 295752 w 6251734"/>
              <a:gd name="connsiteY1486" fmla="*/ 1977671 h 5808721"/>
              <a:gd name="connsiteX1487" fmla="*/ 282893 w 6251734"/>
              <a:gd name="connsiteY1487" fmla="*/ 1972528 h 5808721"/>
              <a:gd name="connsiteX1488" fmla="*/ 281178 w 6251734"/>
              <a:gd name="connsiteY1488" fmla="*/ 1965669 h 5808721"/>
              <a:gd name="connsiteX1489" fmla="*/ 271749 w 6251734"/>
              <a:gd name="connsiteY1489" fmla="*/ 1963955 h 5808721"/>
              <a:gd name="connsiteX1490" fmla="*/ 270034 w 6251734"/>
              <a:gd name="connsiteY1490" fmla="*/ 1957954 h 5808721"/>
              <a:gd name="connsiteX1491" fmla="*/ 269177 w 6251734"/>
              <a:gd name="connsiteY1491" fmla="*/ 1948525 h 5808721"/>
              <a:gd name="connsiteX1492" fmla="*/ 264033 w 6251734"/>
              <a:gd name="connsiteY1492" fmla="*/ 1939095 h 5808721"/>
              <a:gd name="connsiteX1493" fmla="*/ 259747 w 6251734"/>
              <a:gd name="connsiteY1493" fmla="*/ 1933095 h 5808721"/>
              <a:gd name="connsiteX1494" fmla="*/ 248603 w 6251734"/>
              <a:gd name="connsiteY1494" fmla="*/ 1931380 h 5808721"/>
              <a:gd name="connsiteX1495" fmla="*/ 239173 w 6251734"/>
              <a:gd name="connsiteY1495" fmla="*/ 1926236 h 5808721"/>
              <a:gd name="connsiteX1496" fmla="*/ 236601 w 6251734"/>
              <a:gd name="connsiteY1496" fmla="*/ 1917664 h 5808721"/>
              <a:gd name="connsiteX1497" fmla="*/ 232315 w 6251734"/>
              <a:gd name="connsiteY1497" fmla="*/ 1908233 h 5808721"/>
              <a:gd name="connsiteX1498" fmla="*/ 226314 w 6251734"/>
              <a:gd name="connsiteY1498" fmla="*/ 1903948 h 5808721"/>
              <a:gd name="connsiteX1499" fmla="*/ 214313 w 6251734"/>
              <a:gd name="connsiteY1499" fmla="*/ 1906521 h 5808721"/>
              <a:gd name="connsiteX1500" fmla="*/ 213456 w 6251734"/>
              <a:gd name="connsiteY1500" fmla="*/ 1898805 h 5808721"/>
              <a:gd name="connsiteX1501" fmla="*/ 206598 w 6251734"/>
              <a:gd name="connsiteY1501" fmla="*/ 1897090 h 5808721"/>
              <a:gd name="connsiteX1502" fmla="*/ 201454 w 6251734"/>
              <a:gd name="connsiteY1502" fmla="*/ 1900518 h 5808721"/>
              <a:gd name="connsiteX1503" fmla="*/ 198882 w 6251734"/>
              <a:gd name="connsiteY1503" fmla="*/ 1903948 h 5808721"/>
              <a:gd name="connsiteX1504" fmla="*/ 192882 w 6251734"/>
              <a:gd name="connsiteY1504" fmla="*/ 1912520 h 5808721"/>
              <a:gd name="connsiteX1505" fmla="*/ 191167 w 6251734"/>
              <a:gd name="connsiteY1505" fmla="*/ 1910806 h 5808721"/>
              <a:gd name="connsiteX1506" fmla="*/ 188595 w 6251734"/>
              <a:gd name="connsiteY1506" fmla="*/ 1907378 h 5808721"/>
              <a:gd name="connsiteX1507" fmla="*/ 185166 w 6251734"/>
              <a:gd name="connsiteY1507" fmla="*/ 1895375 h 5808721"/>
              <a:gd name="connsiteX1508" fmla="*/ 188595 w 6251734"/>
              <a:gd name="connsiteY1508" fmla="*/ 1885946 h 5808721"/>
              <a:gd name="connsiteX1509" fmla="*/ 187738 w 6251734"/>
              <a:gd name="connsiteY1509" fmla="*/ 1873087 h 5808721"/>
              <a:gd name="connsiteX1510" fmla="*/ 188595 w 6251734"/>
              <a:gd name="connsiteY1510" fmla="*/ 1862801 h 5808721"/>
              <a:gd name="connsiteX1511" fmla="*/ 187738 w 6251734"/>
              <a:gd name="connsiteY1511" fmla="*/ 1855084 h 5808721"/>
              <a:gd name="connsiteX1512" fmla="*/ 183452 w 6251734"/>
              <a:gd name="connsiteY1512" fmla="*/ 1853370 h 5808721"/>
              <a:gd name="connsiteX1513" fmla="*/ 197168 w 6251734"/>
              <a:gd name="connsiteY1513" fmla="*/ 1817366 h 5808721"/>
              <a:gd name="connsiteX1514" fmla="*/ 195453 w 6251734"/>
              <a:gd name="connsiteY1514" fmla="*/ 1828509 h 5808721"/>
              <a:gd name="connsiteX1515" fmla="*/ 194596 w 6251734"/>
              <a:gd name="connsiteY1515" fmla="*/ 1835368 h 5808721"/>
              <a:gd name="connsiteX1516" fmla="*/ 193739 w 6251734"/>
              <a:gd name="connsiteY1516" fmla="*/ 1843085 h 5808721"/>
              <a:gd name="connsiteX1517" fmla="*/ 196311 w 6251734"/>
              <a:gd name="connsiteY1517" fmla="*/ 1843941 h 5808721"/>
              <a:gd name="connsiteX1518" fmla="*/ 201454 w 6251734"/>
              <a:gd name="connsiteY1518" fmla="*/ 1847369 h 5808721"/>
              <a:gd name="connsiteX1519" fmla="*/ 203169 w 6251734"/>
              <a:gd name="connsiteY1519" fmla="*/ 1847369 h 5808721"/>
              <a:gd name="connsiteX1520" fmla="*/ 207455 w 6251734"/>
              <a:gd name="connsiteY1520" fmla="*/ 1852513 h 5808721"/>
              <a:gd name="connsiteX1521" fmla="*/ 206598 w 6251734"/>
              <a:gd name="connsiteY1521" fmla="*/ 1859371 h 5808721"/>
              <a:gd name="connsiteX1522" fmla="*/ 208312 w 6251734"/>
              <a:gd name="connsiteY1522" fmla="*/ 1861087 h 5808721"/>
              <a:gd name="connsiteX1523" fmla="*/ 213456 w 6251734"/>
              <a:gd name="connsiteY1523" fmla="*/ 1863658 h 5808721"/>
              <a:gd name="connsiteX1524" fmla="*/ 220314 w 6251734"/>
              <a:gd name="connsiteY1524" fmla="*/ 1862801 h 5808721"/>
              <a:gd name="connsiteX1525" fmla="*/ 223743 w 6251734"/>
              <a:gd name="connsiteY1525" fmla="*/ 1867085 h 5808721"/>
              <a:gd name="connsiteX1526" fmla="*/ 225457 w 6251734"/>
              <a:gd name="connsiteY1526" fmla="*/ 1870514 h 5808721"/>
              <a:gd name="connsiteX1527" fmla="*/ 228886 w 6251734"/>
              <a:gd name="connsiteY1527" fmla="*/ 1867085 h 5808721"/>
              <a:gd name="connsiteX1528" fmla="*/ 230601 w 6251734"/>
              <a:gd name="connsiteY1528" fmla="*/ 1862801 h 5808721"/>
              <a:gd name="connsiteX1529" fmla="*/ 227172 w 6251734"/>
              <a:gd name="connsiteY1529" fmla="*/ 1860230 h 5808721"/>
              <a:gd name="connsiteX1530" fmla="*/ 222028 w 6251734"/>
              <a:gd name="connsiteY1530" fmla="*/ 1856798 h 5808721"/>
              <a:gd name="connsiteX1531" fmla="*/ 216027 w 6251734"/>
              <a:gd name="connsiteY1531" fmla="*/ 1855084 h 5808721"/>
              <a:gd name="connsiteX1532" fmla="*/ 210027 w 6251734"/>
              <a:gd name="connsiteY1532" fmla="*/ 1854227 h 5808721"/>
              <a:gd name="connsiteX1533" fmla="*/ 210027 w 6251734"/>
              <a:gd name="connsiteY1533" fmla="*/ 1847369 h 5808721"/>
              <a:gd name="connsiteX1534" fmla="*/ 210027 w 6251734"/>
              <a:gd name="connsiteY1534" fmla="*/ 1839654 h 5808721"/>
              <a:gd name="connsiteX1535" fmla="*/ 205740 w 6251734"/>
              <a:gd name="connsiteY1535" fmla="*/ 1838796 h 5808721"/>
              <a:gd name="connsiteX1536" fmla="*/ 201454 w 6251734"/>
              <a:gd name="connsiteY1536" fmla="*/ 1834510 h 5808721"/>
              <a:gd name="connsiteX1537" fmla="*/ 204883 w 6251734"/>
              <a:gd name="connsiteY1537" fmla="*/ 1827653 h 5808721"/>
              <a:gd name="connsiteX1538" fmla="*/ 215170 w 6251734"/>
              <a:gd name="connsiteY1538" fmla="*/ 1823367 h 5808721"/>
              <a:gd name="connsiteX1539" fmla="*/ 220314 w 6251734"/>
              <a:gd name="connsiteY1539" fmla="*/ 1819081 h 5808721"/>
              <a:gd name="connsiteX1540" fmla="*/ 223743 w 6251734"/>
              <a:gd name="connsiteY1540" fmla="*/ 1811365 h 5808721"/>
              <a:gd name="connsiteX1541" fmla="*/ 227172 w 6251734"/>
              <a:gd name="connsiteY1541" fmla="*/ 1802793 h 5808721"/>
              <a:gd name="connsiteX1542" fmla="*/ 228886 w 6251734"/>
              <a:gd name="connsiteY1542" fmla="*/ 1793363 h 5808721"/>
              <a:gd name="connsiteX1543" fmla="*/ 234030 w 6251734"/>
              <a:gd name="connsiteY1543" fmla="*/ 1786504 h 5808721"/>
              <a:gd name="connsiteX1544" fmla="*/ 246031 w 6251734"/>
              <a:gd name="connsiteY1544" fmla="*/ 1777076 h 5808721"/>
              <a:gd name="connsiteX1545" fmla="*/ 252889 w 6251734"/>
              <a:gd name="connsiteY1545" fmla="*/ 1771073 h 5808721"/>
              <a:gd name="connsiteX1546" fmla="*/ 255461 w 6251734"/>
              <a:gd name="connsiteY1546" fmla="*/ 1765075 h 5808721"/>
              <a:gd name="connsiteX1547" fmla="*/ 261462 w 6251734"/>
              <a:gd name="connsiteY1547" fmla="*/ 1762502 h 5808721"/>
              <a:gd name="connsiteX1548" fmla="*/ 269177 w 6251734"/>
              <a:gd name="connsiteY1548" fmla="*/ 1758215 h 5808721"/>
              <a:gd name="connsiteX1549" fmla="*/ 271749 w 6251734"/>
              <a:gd name="connsiteY1549" fmla="*/ 1750501 h 5808721"/>
              <a:gd name="connsiteX1550" fmla="*/ 274320 w 6251734"/>
              <a:gd name="connsiteY1550" fmla="*/ 1747928 h 5808721"/>
              <a:gd name="connsiteX1551" fmla="*/ 282893 w 6251734"/>
              <a:gd name="connsiteY1551" fmla="*/ 1741932 h 5808721"/>
              <a:gd name="connsiteX1552" fmla="*/ 286322 w 6251734"/>
              <a:gd name="connsiteY1552" fmla="*/ 1739360 h 5808721"/>
              <a:gd name="connsiteX1553" fmla="*/ 293180 w 6251734"/>
              <a:gd name="connsiteY1553" fmla="*/ 1740217 h 5808721"/>
              <a:gd name="connsiteX1554" fmla="*/ 302610 w 6251734"/>
              <a:gd name="connsiteY1554" fmla="*/ 1742789 h 5808721"/>
              <a:gd name="connsiteX1555" fmla="*/ 307753 w 6251734"/>
              <a:gd name="connsiteY1555" fmla="*/ 1741932 h 5808721"/>
              <a:gd name="connsiteX1556" fmla="*/ 309468 w 6251734"/>
              <a:gd name="connsiteY1556" fmla="*/ 1735930 h 5808721"/>
              <a:gd name="connsiteX1557" fmla="*/ 308610 w 6251734"/>
              <a:gd name="connsiteY1557" fmla="*/ 1732501 h 5808721"/>
              <a:gd name="connsiteX1558" fmla="*/ 304324 w 6251734"/>
              <a:gd name="connsiteY1558" fmla="*/ 1730788 h 5808721"/>
              <a:gd name="connsiteX1559" fmla="*/ 306039 w 6251734"/>
              <a:gd name="connsiteY1559" fmla="*/ 1723929 h 5808721"/>
              <a:gd name="connsiteX1560" fmla="*/ 312039 w 6251734"/>
              <a:gd name="connsiteY1560" fmla="*/ 1719643 h 5808721"/>
              <a:gd name="connsiteX1561" fmla="*/ 320612 w 6251734"/>
              <a:gd name="connsiteY1561" fmla="*/ 1714500 h 5808721"/>
              <a:gd name="connsiteX1562" fmla="*/ 325755 w 6251734"/>
              <a:gd name="connsiteY1562" fmla="*/ 1718786 h 5808721"/>
              <a:gd name="connsiteX1563" fmla="*/ 326613 w 6251734"/>
              <a:gd name="connsiteY1563" fmla="*/ 1721357 h 5808721"/>
              <a:gd name="connsiteX1564" fmla="*/ 319755 w 6251734"/>
              <a:gd name="connsiteY1564" fmla="*/ 1725643 h 5808721"/>
              <a:gd name="connsiteX1565" fmla="*/ 323184 w 6251734"/>
              <a:gd name="connsiteY1565" fmla="*/ 1731644 h 5808721"/>
              <a:gd name="connsiteX1566" fmla="*/ 330899 w 6251734"/>
              <a:gd name="connsiteY1566" fmla="*/ 1731644 h 5808721"/>
              <a:gd name="connsiteX1567" fmla="*/ 336042 w 6251734"/>
              <a:gd name="connsiteY1567" fmla="*/ 1728216 h 5808721"/>
              <a:gd name="connsiteX1568" fmla="*/ 337757 w 6251734"/>
              <a:gd name="connsiteY1568" fmla="*/ 1723929 h 5808721"/>
              <a:gd name="connsiteX1569" fmla="*/ 337757 w 6251734"/>
              <a:gd name="connsiteY1569" fmla="*/ 1717072 h 5808721"/>
              <a:gd name="connsiteX1570" fmla="*/ 336900 w 6251734"/>
              <a:gd name="connsiteY1570" fmla="*/ 1711070 h 5808721"/>
              <a:gd name="connsiteX1571" fmla="*/ 339471 w 6251734"/>
              <a:gd name="connsiteY1571" fmla="*/ 1706785 h 5808721"/>
              <a:gd name="connsiteX1572" fmla="*/ 342900 w 6251734"/>
              <a:gd name="connsiteY1572" fmla="*/ 1704213 h 5808721"/>
              <a:gd name="connsiteX1573" fmla="*/ 345472 w 6251734"/>
              <a:gd name="connsiteY1573" fmla="*/ 1699927 h 5808721"/>
              <a:gd name="connsiteX1574" fmla="*/ 345472 w 6251734"/>
              <a:gd name="connsiteY1574" fmla="*/ 1693069 h 5808721"/>
              <a:gd name="connsiteX1575" fmla="*/ 351473 w 6251734"/>
              <a:gd name="connsiteY1575" fmla="*/ 1684495 h 5808721"/>
              <a:gd name="connsiteX1576" fmla="*/ 354045 w 6251734"/>
              <a:gd name="connsiteY1576" fmla="*/ 1680211 h 5808721"/>
              <a:gd name="connsiteX1577" fmla="*/ 345472 w 6251734"/>
              <a:gd name="connsiteY1577" fmla="*/ 1676780 h 5808721"/>
              <a:gd name="connsiteX1578" fmla="*/ 315281 w 6251734"/>
              <a:gd name="connsiteY1578" fmla="*/ 1686424 h 5808721"/>
              <a:gd name="connsiteX1579" fmla="*/ 289975 w 6251734"/>
              <a:gd name="connsiteY1579" fmla="*/ 1703570 h 5808721"/>
              <a:gd name="connsiteX1580" fmla="*/ 311879 w 6251734"/>
              <a:gd name="connsiteY1580" fmla="*/ 1684683 h 5808721"/>
              <a:gd name="connsiteX1581" fmla="*/ 440627 w 6251734"/>
              <a:gd name="connsiteY1581" fmla="*/ 1634775 h 5808721"/>
              <a:gd name="connsiteX1582" fmla="*/ 493776 w 6251734"/>
              <a:gd name="connsiteY1582" fmla="*/ 1630488 h 5808721"/>
              <a:gd name="connsiteX1583" fmla="*/ 5782152 w 6251734"/>
              <a:gd name="connsiteY1583" fmla="*/ 1596198 h 5808721"/>
              <a:gd name="connsiteX1584" fmla="*/ 5866161 w 6251734"/>
              <a:gd name="connsiteY1584" fmla="*/ 1665861 h 5808721"/>
              <a:gd name="connsiteX1585" fmla="*/ 5894202 w 6251734"/>
              <a:gd name="connsiteY1585" fmla="*/ 1735228 h 5808721"/>
              <a:gd name="connsiteX1586" fmla="*/ 5937599 w 6251734"/>
              <a:gd name="connsiteY1586" fmla="*/ 1713557 h 5808721"/>
              <a:gd name="connsiteX1587" fmla="*/ 6007126 w 6251734"/>
              <a:gd name="connsiteY1587" fmla="*/ 1696509 h 5808721"/>
              <a:gd name="connsiteX1588" fmla="*/ 6071045 w 6251734"/>
              <a:gd name="connsiteY1588" fmla="*/ 1715354 h 5808721"/>
              <a:gd name="connsiteX1589" fmla="*/ 6061402 w 6251734"/>
              <a:gd name="connsiteY1589" fmla="*/ 1875016 h 5808721"/>
              <a:gd name="connsiteX1590" fmla="*/ 6052430 w 6251734"/>
              <a:gd name="connsiteY1590" fmla="*/ 1891847 h 5808721"/>
              <a:gd name="connsiteX1591" fmla="*/ 6120539 w 6251734"/>
              <a:gd name="connsiteY1591" fmla="*/ 1919379 h 5808721"/>
              <a:gd name="connsiteX1592" fmla="*/ 6190203 w 6251734"/>
              <a:gd name="connsiteY1592" fmla="*/ 2003388 h 5808721"/>
              <a:gd name="connsiteX1593" fmla="*/ 6120539 w 6251734"/>
              <a:gd name="connsiteY1593" fmla="*/ 2087623 h 5808721"/>
              <a:gd name="connsiteX1594" fmla="*/ 6052202 w 6251734"/>
              <a:gd name="connsiteY1594" fmla="*/ 2115361 h 5808721"/>
              <a:gd name="connsiteX1595" fmla="*/ 6061402 w 6251734"/>
              <a:gd name="connsiteY1595" fmla="*/ 2132621 h 5808721"/>
              <a:gd name="connsiteX1596" fmla="*/ 6071045 w 6251734"/>
              <a:gd name="connsiteY1596" fmla="*/ 2292283 h 5808721"/>
              <a:gd name="connsiteX1597" fmla="*/ 5911061 w 6251734"/>
              <a:gd name="connsiteY1597" fmla="*/ 2282960 h 5808721"/>
              <a:gd name="connsiteX1598" fmla="*/ 5893744 w 6251734"/>
              <a:gd name="connsiteY1598" fmla="*/ 2273685 h 5808721"/>
              <a:gd name="connsiteX1599" fmla="*/ 5865784 w 6251734"/>
              <a:gd name="connsiteY1599" fmla="*/ 2342634 h 5808721"/>
              <a:gd name="connsiteX1600" fmla="*/ 5782152 w 6251734"/>
              <a:gd name="connsiteY1600" fmla="*/ 2412297 h 5808721"/>
              <a:gd name="connsiteX1601" fmla="*/ 5698520 w 6251734"/>
              <a:gd name="connsiteY1601" fmla="*/ 2342634 h 5808721"/>
              <a:gd name="connsiteX1602" fmla="*/ 5670749 w 6251734"/>
              <a:gd name="connsiteY1602" fmla="*/ 2274150 h 5808721"/>
              <a:gd name="connsiteX1603" fmla="*/ 5653242 w 6251734"/>
              <a:gd name="connsiteY1603" fmla="*/ 2283496 h 5808721"/>
              <a:gd name="connsiteX1604" fmla="*/ 5493258 w 6251734"/>
              <a:gd name="connsiteY1604" fmla="*/ 2293141 h 5808721"/>
              <a:gd name="connsiteX1605" fmla="*/ 5502902 w 6251734"/>
              <a:gd name="connsiteY1605" fmla="*/ 2133155 h 5808721"/>
              <a:gd name="connsiteX1606" fmla="*/ 5512498 w 6251734"/>
              <a:gd name="connsiteY1606" fmla="*/ 2115182 h 5808721"/>
              <a:gd name="connsiteX1607" fmla="*/ 5443764 w 6251734"/>
              <a:gd name="connsiteY1607" fmla="*/ 2087397 h 5808721"/>
              <a:gd name="connsiteX1608" fmla="*/ 5374100 w 6251734"/>
              <a:gd name="connsiteY1608" fmla="*/ 2003388 h 5808721"/>
              <a:gd name="connsiteX1609" fmla="*/ 5443764 w 6251734"/>
              <a:gd name="connsiteY1609" fmla="*/ 1919379 h 5808721"/>
              <a:gd name="connsiteX1610" fmla="*/ 5512121 w 6251734"/>
              <a:gd name="connsiteY1610" fmla="*/ 1891747 h 5808721"/>
              <a:gd name="connsiteX1611" fmla="*/ 5502902 w 6251734"/>
              <a:gd name="connsiteY1611" fmla="*/ 1874480 h 5808721"/>
              <a:gd name="connsiteX1612" fmla="*/ 5493258 w 6251734"/>
              <a:gd name="connsiteY1612" fmla="*/ 1714497 h 5808721"/>
              <a:gd name="connsiteX1613" fmla="*/ 5653242 w 6251734"/>
              <a:gd name="connsiteY1613" fmla="*/ 1724143 h 5808721"/>
              <a:gd name="connsiteX1614" fmla="*/ 5670795 w 6251734"/>
              <a:gd name="connsiteY1614" fmla="*/ 1733514 h 5808721"/>
              <a:gd name="connsiteX1615" fmla="*/ 5698143 w 6251734"/>
              <a:gd name="connsiteY1615" fmla="*/ 1665860 h 5808721"/>
              <a:gd name="connsiteX1616" fmla="*/ 5782152 w 6251734"/>
              <a:gd name="connsiteY1616" fmla="*/ 1596198 h 5808721"/>
              <a:gd name="connsiteX1617" fmla="*/ 3595306 w 6251734"/>
              <a:gd name="connsiteY1617" fmla="*/ 1531906 h 5808721"/>
              <a:gd name="connsiteX1618" fmla="*/ 3477006 w 6251734"/>
              <a:gd name="connsiteY1618" fmla="*/ 1651922 h 5808721"/>
              <a:gd name="connsiteX1619" fmla="*/ 3595306 w 6251734"/>
              <a:gd name="connsiteY1619" fmla="*/ 1771933 h 5808721"/>
              <a:gd name="connsiteX1620" fmla="*/ 3713607 w 6251734"/>
              <a:gd name="connsiteY1620" fmla="*/ 1651922 h 5808721"/>
              <a:gd name="connsiteX1621" fmla="*/ 3595306 w 6251734"/>
              <a:gd name="connsiteY1621" fmla="*/ 1531906 h 5808721"/>
              <a:gd name="connsiteX1622" fmla="*/ 1682785 w 6251734"/>
              <a:gd name="connsiteY1622" fmla="*/ 1496755 h 5808721"/>
              <a:gd name="connsiteX1623" fmla="*/ 2037137 w 6251734"/>
              <a:gd name="connsiteY1623" fmla="*/ 1655346 h 5808721"/>
              <a:gd name="connsiteX1624" fmla="*/ 2042829 w 6251734"/>
              <a:gd name="connsiteY1624" fmla="*/ 1655346 h 5808721"/>
              <a:gd name="connsiteX1625" fmla="*/ 2042829 w 6251734"/>
              <a:gd name="connsiteY1625" fmla="*/ 1657894 h 5808721"/>
              <a:gd name="connsiteX1626" fmla="*/ 2050545 w 6251734"/>
              <a:gd name="connsiteY1626" fmla="*/ 1661347 h 5808721"/>
              <a:gd name="connsiteX1627" fmla="*/ 2042829 w 6251734"/>
              <a:gd name="connsiteY1627" fmla="*/ 1664864 h 5808721"/>
              <a:gd name="connsiteX1628" fmla="*/ 2042829 w 6251734"/>
              <a:gd name="connsiteY1628" fmla="*/ 1878511 h 5808721"/>
              <a:gd name="connsiteX1629" fmla="*/ 2057832 w 6251734"/>
              <a:gd name="connsiteY1629" fmla="*/ 1884660 h 5808721"/>
              <a:gd name="connsiteX1630" fmla="*/ 2068547 w 6251734"/>
              <a:gd name="connsiteY1630" fmla="*/ 1910806 h 5808721"/>
              <a:gd name="connsiteX1631" fmla="*/ 2057832 w 6251734"/>
              <a:gd name="connsiteY1631" fmla="*/ 1937274 h 5808721"/>
              <a:gd name="connsiteX1632" fmla="*/ 2057578 w 6251734"/>
              <a:gd name="connsiteY1632" fmla="*/ 1937375 h 5808721"/>
              <a:gd name="connsiteX1633" fmla="*/ 2065332 w 6251734"/>
              <a:gd name="connsiteY1633" fmla="*/ 1965456 h 5808721"/>
              <a:gd name="connsiteX1634" fmla="*/ 2069404 w 6251734"/>
              <a:gd name="connsiteY1634" fmla="*/ 2078827 h 5808721"/>
              <a:gd name="connsiteX1635" fmla="*/ 2038543 w 6251734"/>
              <a:gd name="connsiteY1635" fmla="*/ 2078827 h 5808721"/>
              <a:gd name="connsiteX1636" fmla="*/ 2027398 w 6251734"/>
              <a:gd name="connsiteY1636" fmla="*/ 2078827 h 5808721"/>
              <a:gd name="connsiteX1637" fmla="*/ 1996538 w 6251734"/>
              <a:gd name="connsiteY1637" fmla="*/ 2078827 h 5808721"/>
              <a:gd name="connsiteX1638" fmla="*/ 2001360 w 6251734"/>
              <a:gd name="connsiteY1638" fmla="*/ 1965456 h 5808721"/>
              <a:gd name="connsiteX1639" fmla="*/ 2008928 w 6251734"/>
              <a:gd name="connsiteY1639" fmla="*/ 1938341 h 5808721"/>
              <a:gd name="connsiteX1640" fmla="*/ 2005539 w 6251734"/>
              <a:gd name="connsiteY1640" fmla="*/ 1936952 h 5808721"/>
              <a:gd name="connsiteX1641" fmla="*/ 1994823 w 6251734"/>
              <a:gd name="connsiteY1641" fmla="*/ 1910806 h 5808721"/>
              <a:gd name="connsiteX1642" fmla="*/ 2005539 w 6251734"/>
              <a:gd name="connsiteY1642" fmla="*/ 1884660 h 5808721"/>
              <a:gd name="connsiteX1643" fmla="*/ 2019683 w 6251734"/>
              <a:gd name="connsiteY1643" fmla="*/ 1878863 h 5808721"/>
              <a:gd name="connsiteX1644" fmla="*/ 2019683 w 6251734"/>
              <a:gd name="connsiteY1644" fmla="*/ 1675413 h 5808721"/>
              <a:gd name="connsiteX1645" fmla="*/ 1672498 w 6251734"/>
              <a:gd name="connsiteY1645" fmla="*/ 1833654 h 5808721"/>
              <a:gd name="connsiteX1646" fmla="*/ 1300450 w 6251734"/>
              <a:gd name="connsiteY1646" fmla="*/ 1665634 h 5808721"/>
              <a:gd name="connsiteX1647" fmla="*/ 5080921 w 6251734"/>
              <a:gd name="connsiteY1647" fmla="*/ 1438462 h 5808721"/>
              <a:gd name="connsiteX1648" fmla="*/ 5143500 w 6251734"/>
              <a:gd name="connsiteY1648" fmla="*/ 1438462 h 5808721"/>
              <a:gd name="connsiteX1649" fmla="*/ 5158931 w 6251734"/>
              <a:gd name="connsiteY1649" fmla="*/ 1457322 h 5808721"/>
              <a:gd name="connsiteX1650" fmla="*/ 5143500 w 6251734"/>
              <a:gd name="connsiteY1650" fmla="*/ 1476181 h 5808721"/>
              <a:gd name="connsiteX1651" fmla="*/ 5080921 w 6251734"/>
              <a:gd name="connsiteY1651" fmla="*/ 1476181 h 5808721"/>
              <a:gd name="connsiteX1652" fmla="*/ 5065490 w 6251734"/>
              <a:gd name="connsiteY1652" fmla="*/ 1457322 h 5808721"/>
              <a:gd name="connsiteX1653" fmla="*/ 5080921 w 6251734"/>
              <a:gd name="connsiteY1653" fmla="*/ 1438462 h 5808721"/>
              <a:gd name="connsiteX1654" fmla="*/ 2660050 w 6251734"/>
              <a:gd name="connsiteY1654" fmla="*/ 1421316 h 5808721"/>
              <a:gd name="connsiteX1655" fmla="*/ 2760348 w 6251734"/>
              <a:gd name="connsiteY1655" fmla="*/ 1591909 h 5808721"/>
              <a:gd name="connsiteX1656" fmla="*/ 2643762 w 6251734"/>
              <a:gd name="connsiteY1656" fmla="*/ 1672490 h 5808721"/>
              <a:gd name="connsiteX1657" fmla="*/ 2797210 w 6251734"/>
              <a:gd name="connsiteY1657" fmla="*/ 1599624 h 5808721"/>
              <a:gd name="connsiteX1658" fmla="*/ 2660050 w 6251734"/>
              <a:gd name="connsiteY1658" fmla="*/ 1421316 h 5808721"/>
              <a:gd name="connsiteX1659" fmla="*/ 5060347 w 6251734"/>
              <a:gd name="connsiteY1659" fmla="*/ 1398171 h 5808721"/>
              <a:gd name="connsiteX1660" fmla="*/ 5164075 w 6251734"/>
              <a:gd name="connsiteY1660" fmla="*/ 1398171 h 5808721"/>
              <a:gd name="connsiteX1661" fmla="*/ 5189792 w 6251734"/>
              <a:gd name="connsiteY1661" fmla="*/ 1417031 h 5808721"/>
              <a:gd name="connsiteX1662" fmla="*/ 5164075 w 6251734"/>
              <a:gd name="connsiteY1662" fmla="*/ 1435890 h 5808721"/>
              <a:gd name="connsiteX1663" fmla="*/ 5060347 w 6251734"/>
              <a:gd name="connsiteY1663" fmla="*/ 1435890 h 5808721"/>
              <a:gd name="connsiteX1664" fmla="*/ 5034629 w 6251734"/>
              <a:gd name="connsiteY1664" fmla="*/ 1417031 h 5808721"/>
              <a:gd name="connsiteX1665" fmla="*/ 5060347 w 6251734"/>
              <a:gd name="connsiteY1665" fmla="*/ 1398171 h 5808721"/>
              <a:gd name="connsiteX1666" fmla="*/ 3397282 w 6251734"/>
              <a:gd name="connsiteY1666" fmla="*/ 1360456 h 5808721"/>
              <a:gd name="connsiteX1667" fmla="*/ 3287554 w 6251734"/>
              <a:gd name="connsiteY1667" fmla="*/ 1471897 h 5808721"/>
              <a:gd name="connsiteX1668" fmla="*/ 3397282 w 6251734"/>
              <a:gd name="connsiteY1668" fmla="*/ 1582484 h 5808721"/>
              <a:gd name="connsiteX1669" fmla="*/ 3507010 w 6251734"/>
              <a:gd name="connsiteY1669" fmla="*/ 1471897 h 5808721"/>
              <a:gd name="connsiteX1670" fmla="*/ 3397282 w 6251734"/>
              <a:gd name="connsiteY1670" fmla="*/ 1360456 h 5808721"/>
              <a:gd name="connsiteX1671" fmla="*/ 5060347 w 6251734"/>
              <a:gd name="connsiteY1671" fmla="*/ 1358738 h 5808721"/>
              <a:gd name="connsiteX1672" fmla="*/ 5164075 w 6251734"/>
              <a:gd name="connsiteY1672" fmla="*/ 1358738 h 5808721"/>
              <a:gd name="connsiteX1673" fmla="*/ 5189792 w 6251734"/>
              <a:gd name="connsiteY1673" fmla="*/ 1377598 h 5808721"/>
              <a:gd name="connsiteX1674" fmla="*/ 5164075 w 6251734"/>
              <a:gd name="connsiteY1674" fmla="*/ 1396458 h 5808721"/>
              <a:gd name="connsiteX1675" fmla="*/ 5060347 w 6251734"/>
              <a:gd name="connsiteY1675" fmla="*/ 1396458 h 5808721"/>
              <a:gd name="connsiteX1676" fmla="*/ 5034629 w 6251734"/>
              <a:gd name="connsiteY1676" fmla="*/ 1377598 h 5808721"/>
              <a:gd name="connsiteX1677" fmla="*/ 5060347 w 6251734"/>
              <a:gd name="connsiteY1677" fmla="*/ 1358738 h 5808721"/>
              <a:gd name="connsiteX1678" fmla="*/ 3329559 w 6251734"/>
              <a:gd name="connsiteY1678" fmla="*/ 1134999 h 5808721"/>
              <a:gd name="connsiteX1679" fmla="*/ 3233547 w 6251734"/>
              <a:gd name="connsiteY1679" fmla="*/ 1232725 h 5808721"/>
              <a:gd name="connsiteX1680" fmla="*/ 3329559 w 6251734"/>
              <a:gd name="connsiteY1680" fmla="*/ 1330451 h 5808721"/>
              <a:gd name="connsiteX1681" fmla="*/ 3425571 w 6251734"/>
              <a:gd name="connsiteY1681" fmla="*/ 1232725 h 5808721"/>
              <a:gd name="connsiteX1682" fmla="*/ 3329559 w 6251734"/>
              <a:gd name="connsiteY1682" fmla="*/ 1134999 h 5808721"/>
              <a:gd name="connsiteX1683" fmla="*/ 2545178 w 6251734"/>
              <a:gd name="connsiteY1683" fmla="*/ 997834 h 5808721"/>
              <a:gd name="connsiteX1684" fmla="*/ 2649763 w 6251734"/>
              <a:gd name="connsiteY1684" fmla="*/ 1038125 h 5808721"/>
              <a:gd name="connsiteX1685" fmla="*/ 2649763 w 6251734"/>
              <a:gd name="connsiteY1685" fmla="*/ 1040697 h 5808721"/>
              <a:gd name="connsiteX1686" fmla="*/ 2654049 w 6251734"/>
              <a:gd name="connsiteY1686" fmla="*/ 1040697 h 5808721"/>
              <a:gd name="connsiteX1687" fmla="*/ 2654049 w 6251734"/>
              <a:gd name="connsiteY1687" fmla="*/ 1116135 h 5808721"/>
              <a:gd name="connsiteX1688" fmla="*/ 2649763 w 6251734"/>
              <a:gd name="connsiteY1688" fmla="*/ 1116135 h 5808721"/>
              <a:gd name="connsiteX1689" fmla="*/ 2632618 w 6251734"/>
              <a:gd name="connsiteY1689" fmla="*/ 1138423 h 5808721"/>
              <a:gd name="connsiteX1690" fmla="*/ 2632618 w 6251734"/>
              <a:gd name="connsiteY1690" fmla="*/ 1309873 h 5808721"/>
              <a:gd name="connsiteX1691" fmla="*/ 2648905 w 6251734"/>
              <a:gd name="connsiteY1691" fmla="*/ 1351879 h 5808721"/>
              <a:gd name="connsiteX1692" fmla="*/ 2810926 w 6251734"/>
              <a:gd name="connsiteY1692" fmla="*/ 1669918 h 5808721"/>
              <a:gd name="connsiteX1693" fmla="*/ 2546035 w 6251734"/>
              <a:gd name="connsiteY1693" fmla="*/ 1728211 h 5808721"/>
              <a:gd name="connsiteX1694" fmla="*/ 2281144 w 6251734"/>
              <a:gd name="connsiteY1694" fmla="*/ 1669918 h 5808721"/>
              <a:gd name="connsiteX1695" fmla="*/ 2447452 w 6251734"/>
              <a:gd name="connsiteY1695" fmla="*/ 1351879 h 5808721"/>
              <a:gd name="connsiteX1696" fmla="*/ 2470597 w 6251734"/>
              <a:gd name="connsiteY1696" fmla="*/ 1309873 h 5808721"/>
              <a:gd name="connsiteX1697" fmla="*/ 2470597 w 6251734"/>
              <a:gd name="connsiteY1697" fmla="*/ 1139281 h 5808721"/>
              <a:gd name="connsiteX1698" fmla="*/ 2440594 w 6251734"/>
              <a:gd name="connsiteY1698" fmla="*/ 1116135 h 5808721"/>
              <a:gd name="connsiteX1699" fmla="*/ 2438022 w 6251734"/>
              <a:gd name="connsiteY1699" fmla="*/ 1116135 h 5808721"/>
              <a:gd name="connsiteX1700" fmla="*/ 2438022 w 6251734"/>
              <a:gd name="connsiteY1700" fmla="*/ 1040697 h 5808721"/>
              <a:gd name="connsiteX1701" fmla="*/ 2440594 w 6251734"/>
              <a:gd name="connsiteY1701" fmla="*/ 1040697 h 5808721"/>
              <a:gd name="connsiteX1702" fmla="*/ 2440594 w 6251734"/>
              <a:gd name="connsiteY1702" fmla="*/ 1038125 h 5808721"/>
              <a:gd name="connsiteX1703" fmla="*/ 2545178 w 6251734"/>
              <a:gd name="connsiteY1703" fmla="*/ 997834 h 5808721"/>
              <a:gd name="connsiteX1704" fmla="*/ 1963962 w 6251734"/>
              <a:gd name="connsiteY1704" fmla="*/ 956688 h 5808721"/>
              <a:gd name="connsiteX1705" fmla="*/ 2026541 w 6251734"/>
              <a:gd name="connsiteY1705" fmla="*/ 956688 h 5808721"/>
              <a:gd name="connsiteX1706" fmla="*/ 2042829 w 6251734"/>
              <a:gd name="connsiteY1706" fmla="*/ 975549 h 5808721"/>
              <a:gd name="connsiteX1707" fmla="*/ 2027398 w 6251734"/>
              <a:gd name="connsiteY1707" fmla="*/ 994408 h 5808721"/>
              <a:gd name="connsiteX1708" fmla="*/ 1963962 w 6251734"/>
              <a:gd name="connsiteY1708" fmla="*/ 994408 h 5808721"/>
              <a:gd name="connsiteX1709" fmla="*/ 1948531 w 6251734"/>
              <a:gd name="connsiteY1709" fmla="*/ 975549 h 5808721"/>
              <a:gd name="connsiteX1710" fmla="*/ 1963962 w 6251734"/>
              <a:gd name="connsiteY1710" fmla="*/ 956688 h 5808721"/>
              <a:gd name="connsiteX1711" fmla="*/ 3402425 w 6251734"/>
              <a:gd name="connsiteY1711" fmla="*/ 943831 h 5808721"/>
              <a:gd name="connsiteX1712" fmla="*/ 3330416 w 6251734"/>
              <a:gd name="connsiteY1712" fmla="*/ 1016699 h 5808721"/>
              <a:gd name="connsiteX1713" fmla="*/ 3402425 w 6251734"/>
              <a:gd name="connsiteY1713" fmla="*/ 1089565 h 5808721"/>
              <a:gd name="connsiteX1714" fmla="*/ 3474434 w 6251734"/>
              <a:gd name="connsiteY1714" fmla="*/ 1016699 h 5808721"/>
              <a:gd name="connsiteX1715" fmla="*/ 3402425 w 6251734"/>
              <a:gd name="connsiteY1715" fmla="*/ 943831 h 5808721"/>
              <a:gd name="connsiteX1716" fmla="*/ 4083082 w 6251734"/>
              <a:gd name="connsiteY1716" fmla="*/ 928402 h 5808721"/>
              <a:gd name="connsiteX1717" fmla="*/ 3939064 w 6251734"/>
              <a:gd name="connsiteY1717" fmla="*/ 1072419 h 5808721"/>
              <a:gd name="connsiteX1718" fmla="*/ 4083082 w 6251734"/>
              <a:gd name="connsiteY1718" fmla="*/ 1216437 h 5808721"/>
              <a:gd name="connsiteX1719" fmla="*/ 4227100 w 6251734"/>
              <a:gd name="connsiteY1719" fmla="*/ 1072419 h 5808721"/>
              <a:gd name="connsiteX1720" fmla="*/ 4083082 w 6251734"/>
              <a:gd name="connsiteY1720" fmla="*/ 928402 h 5808721"/>
              <a:gd name="connsiteX1721" fmla="*/ 1944245 w 6251734"/>
              <a:gd name="connsiteY1721" fmla="*/ 916397 h 5808721"/>
              <a:gd name="connsiteX1722" fmla="*/ 2047973 w 6251734"/>
              <a:gd name="connsiteY1722" fmla="*/ 916397 h 5808721"/>
              <a:gd name="connsiteX1723" fmla="*/ 2073690 w 6251734"/>
              <a:gd name="connsiteY1723" fmla="*/ 935258 h 5808721"/>
              <a:gd name="connsiteX1724" fmla="*/ 2047973 w 6251734"/>
              <a:gd name="connsiteY1724" fmla="*/ 954117 h 5808721"/>
              <a:gd name="connsiteX1725" fmla="*/ 1944245 w 6251734"/>
              <a:gd name="connsiteY1725" fmla="*/ 954117 h 5808721"/>
              <a:gd name="connsiteX1726" fmla="*/ 1918527 w 6251734"/>
              <a:gd name="connsiteY1726" fmla="*/ 935258 h 5808721"/>
              <a:gd name="connsiteX1727" fmla="*/ 1944245 w 6251734"/>
              <a:gd name="connsiteY1727" fmla="*/ 916397 h 5808721"/>
              <a:gd name="connsiteX1728" fmla="*/ 1944245 w 6251734"/>
              <a:gd name="connsiteY1728" fmla="*/ 876106 h 5808721"/>
              <a:gd name="connsiteX1729" fmla="*/ 2047973 w 6251734"/>
              <a:gd name="connsiteY1729" fmla="*/ 876106 h 5808721"/>
              <a:gd name="connsiteX1730" fmla="*/ 2073690 w 6251734"/>
              <a:gd name="connsiteY1730" fmla="*/ 894967 h 5808721"/>
              <a:gd name="connsiteX1731" fmla="*/ 2047973 w 6251734"/>
              <a:gd name="connsiteY1731" fmla="*/ 913826 h 5808721"/>
              <a:gd name="connsiteX1732" fmla="*/ 1944245 w 6251734"/>
              <a:gd name="connsiteY1732" fmla="*/ 913826 h 5808721"/>
              <a:gd name="connsiteX1733" fmla="*/ 1918527 w 6251734"/>
              <a:gd name="connsiteY1733" fmla="*/ 894967 h 5808721"/>
              <a:gd name="connsiteX1734" fmla="*/ 1944245 w 6251734"/>
              <a:gd name="connsiteY1734" fmla="*/ 876106 h 5808721"/>
              <a:gd name="connsiteX1735" fmla="*/ 5177790 w 6251734"/>
              <a:gd name="connsiteY1735" fmla="*/ 825530 h 5808721"/>
              <a:gd name="connsiteX1736" fmla="*/ 5272088 w 6251734"/>
              <a:gd name="connsiteY1736" fmla="*/ 1060415 h 5808721"/>
              <a:gd name="connsiteX1737" fmla="*/ 5177790 w 6251734"/>
              <a:gd name="connsiteY1737" fmla="*/ 825530 h 5808721"/>
              <a:gd name="connsiteX1738" fmla="*/ 5101495 w 6251734"/>
              <a:gd name="connsiteY1738" fmla="*/ 760378 h 5808721"/>
              <a:gd name="connsiteX1739" fmla="*/ 5107496 w 6251734"/>
              <a:gd name="connsiteY1739" fmla="*/ 760378 h 5808721"/>
              <a:gd name="connsiteX1740" fmla="*/ 5108353 w 6251734"/>
              <a:gd name="connsiteY1740" fmla="*/ 760378 h 5808721"/>
              <a:gd name="connsiteX1741" fmla="*/ 5114354 w 6251734"/>
              <a:gd name="connsiteY1741" fmla="*/ 760378 h 5808721"/>
              <a:gd name="connsiteX1742" fmla="*/ 5275516 w 6251734"/>
              <a:gd name="connsiteY1742" fmla="*/ 1171000 h 5808721"/>
              <a:gd name="connsiteX1743" fmla="*/ 5192363 w 6251734"/>
              <a:gd name="connsiteY1743" fmla="*/ 1351880 h 5808721"/>
              <a:gd name="connsiteX1744" fmla="*/ 5120354 w 6251734"/>
              <a:gd name="connsiteY1744" fmla="*/ 1351880 h 5808721"/>
              <a:gd name="connsiteX1745" fmla="*/ 5107496 w 6251734"/>
              <a:gd name="connsiteY1745" fmla="*/ 1351880 h 5808721"/>
              <a:gd name="connsiteX1746" fmla="*/ 5029486 w 6251734"/>
              <a:gd name="connsiteY1746" fmla="*/ 1351880 h 5808721"/>
              <a:gd name="connsiteX1747" fmla="*/ 4943761 w 6251734"/>
              <a:gd name="connsiteY1747" fmla="*/ 1171000 h 5808721"/>
              <a:gd name="connsiteX1748" fmla="*/ 5101495 w 6251734"/>
              <a:gd name="connsiteY1748" fmla="*/ 760378 h 5808721"/>
              <a:gd name="connsiteX1749" fmla="*/ 3975068 w 6251734"/>
              <a:gd name="connsiteY1749" fmla="*/ 748379 h 5808721"/>
              <a:gd name="connsiteX1750" fmla="*/ 4329113 w 6251734"/>
              <a:gd name="connsiteY1750" fmla="*/ 991837 h 5808721"/>
              <a:gd name="connsiteX1751" fmla="*/ 4023074 w 6251734"/>
              <a:gd name="connsiteY1751" fmla="*/ 1384458 h 5808721"/>
              <a:gd name="connsiteX1752" fmla="*/ 3545586 w 6251734"/>
              <a:gd name="connsiteY1752" fmla="*/ 1825939 h 5808721"/>
              <a:gd name="connsiteX1753" fmla="*/ 3975068 w 6251734"/>
              <a:gd name="connsiteY1753" fmla="*/ 748379 h 5808721"/>
              <a:gd name="connsiteX1754" fmla="*/ 912543 w 6251734"/>
              <a:gd name="connsiteY1754" fmla="*/ 703049 h 5808721"/>
              <a:gd name="connsiteX1755" fmla="*/ 921544 w 6251734"/>
              <a:gd name="connsiteY1755" fmla="*/ 710657 h 5808721"/>
              <a:gd name="connsiteX1756" fmla="*/ 942953 w 6251734"/>
              <a:gd name="connsiteY1756" fmla="*/ 752806 h 5808721"/>
              <a:gd name="connsiteX1757" fmla="*/ 953423 w 6251734"/>
              <a:gd name="connsiteY1757" fmla="*/ 749943 h 5808721"/>
              <a:gd name="connsiteX1758" fmla="*/ 1032987 w 6251734"/>
              <a:gd name="connsiteY1758" fmla="*/ 794666 h 5808721"/>
              <a:gd name="connsiteX1759" fmla="*/ 1041260 w 6251734"/>
              <a:gd name="connsiteY1759" fmla="*/ 842585 h 5808721"/>
              <a:gd name="connsiteX1760" fmla="*/ 1028104 w 6251734"/>
              <a:gd name="connsiteY1760" fmla="*/ 872891 h 5808721"/>
              <a:gd name="connsiteX1761" fmla="*/ 1072875 w 6251734"/>
              <a:gd name="connsiteY1761" fmla="*/ 914092 h 5808721"/>
              <a:gd name="connsiteX1762" fmla="*/ 1425608 w 6251734"/>
              <a:gd name="connsiteY1762" fmla="*/ 1247295 h 5808721"/>
              <a:gd name="connsiteX1763" fmla="*/ 1321023 w 6251734"/>
              <a:gd name="connsiteY1763" fmla="*/ 1216434 h 5808721"/>
              <a:gd name="connsiteX1764" fmla="*/ 1018681 w 6251734"/>
              <a:gd name="connsiteY1764" fmla="*/ 943748 h 5808721"/>
              <a:gd name="connsiteX1765" fmla="*/ 1011064 w 6251734"/>
              <a:gd name="connsiteY1765" fmla="*/ 936811 h 5808721"/>
              <a:gd name="connsiteX1766" fmla="*/ 1026129 w 6251734"/>
              <a:gd name="connsiteY1766" fmla="*/ 1357885 h 5808721"/>
              <a:gd name="connsiteX1767" fmla="*/ 993553 w 6251734"/>
              <a:gd name="connsiteY1767" fmla="*/ 1456468 h 5808721"/>
              <a:gd name="connsiteX1768" fmla="*/ 966978 w 6251734"/>
              <a:gd name="connsiteY1768" fmla="*/ 1357028 h 5808721"/>
              <a:gd name="connsiteX1769" fmla="*/ 946039 w 6251734"/>
              <a:gd name="connsiteY1769" fmla="*/ 912474 h 5808721"/>
              <a:gd name="connsiteX1770" fmla="*/ 933546 w 6251734"/>
              <a:gd name="connsiteY1770" fmla="*/ 910931 h 5808721"/>
              <a:gd name="connsiteX1771" fmla="*/ 885540 w 6251734"/>
              <a:gd name="connsiteY1771" fmla="*/ 870104 h 5808721"/>
              <a:gd name="connsiteX1772" fmla="*/ 896028 w 6251734"/>
              <a:gd name="connsiteY1772" fmla="*/ 778968 h 5808721"/>
              <a:gd name="connsiteX1773" fmla="*/ 914412 w 6251734"/>
              <a:gd name="connsiteY1773" fmla="*/ 764338 h 5808721"/>
              <a:gd name="connsiteX1774" fmla="*/ 894112 w 6251734"/>
              <a:gd name="connsiteY1774" fmla="*/ 724373 h 5808721"/>
              <a:gd name="connsiteX1775" fmla="*/ 900970 w 6251734"/>
              <a:gd name="connsiteY1775" fmla="*/ 703799 h 5808721"/>
              <a:gd name="connsiteX1776" fmla="*/ 912543 w 6251734"/>
              <a:gd name="connsiteY1776" fmla="*/ 703049 h 5808721"/>
              <a:gd name="connsiteX1777" fmla="*/ 2061687 w 6251734"/>
              <a:gd name="connsiteY1777" fmla="*/ 342898 h 5808721"/>
              <a:gd name="connsiteX1778" fmla="*/ 2155984 w 6251734"/>
              <a:gd name="connsiteY1778" fmla="*/ 577785 h 5808721"/>
              <a:gd name="connsiteX1779" fmla="*/ 2061687 w 6251734"/>
              <a:gd name="connsiteY1779" fmla="*/ 342898 h 5808721"/>
              <a:gd name="connsiteX1780" fmla="*/ 1985392 w 6251734"/>
              <a:gd name="connsiteY1780" fmla="*/ 278605 h 5808721"/>
              <a:gd name="connsiteX1781" fmla="*/ 1991393 w 6251734"/>
              <a:gd name="connsiteY1781" fmla="*/ 278605 h 5808721"/>
              <a:gd name="connsiteX1782" fmla="*/ 1992250 w 6251734"/>
              <a:gd name="connsiteY1782" fmla="*/ 278605 h 5808721"/>
              <a:gd name="connsiteX1783" fmla="*/ 1998250 w 6251734"/>
              <a:gd name="connsiteY1783" fmla="*/ 278605 h 5808721"/>
              <a:gd name="connsiteX1784" fmla="*/ 2159413 w 6251734"/>
              <a:gd name="connsiteY1784" fmla="*/ 689228 h 5808721"/>
              <a:gd name="connsiteX1785" fmla="*/ 2076260 w 6251734"/>
              <a:gd name="connsiteY1785" fmla="*/ 870108 h 5808721"/>
              <a:gd name="connsiteX1786" fmla="*/ 2004251 w 6251734"/>
              <a:gd name="connsiteY1786" fmla="*/ 870108 h 5808721"/>
              <a:gd name="connsiteX1787" fmla="*/ 1991393 w 6251734"/>
              <a:gd name="connsiteY1787" fmla="*/ 870108 h 5808721"/>
              <a:gd name="connsiteX1788" fmla="*/ 1913383 w 6251734"/>
              <a:gd name="connsiteY1788" fmla="*/ 870108 h 5808721"/>
              <a:gd name="connsiteX1789" fmla="*/ 1827658 w 6251734"/>
              <a:gd name="connsiteY1789" fmla="*/ 689228 h 5808721"/>
              <a:gd name="connsiteX1790" fmla="*/ 1985392 w 6251734"/>
              <a:gd name="connsiteY1790" fmla="*/ 278605 h 5808721"/>
              <a:gd name="connsiteX1791" fmla="*/ 2776633 w 6251734"/>
              <a:gd name="connsiteY1791" fmla="*/ 269173 h 5808721"/>
              <a:gd name="connsiteX1792" fmla="*/ 2994375 w 6251734"/>
              <a:gd name="connsiteY1792" fmla="*/ 372043 h 5808721"/>
              <a:gd name="connsiteX1793" fmla="*/ 3212117 w 6251734"/>
              <a:gd name="connsiteY1793" fmla="*/ 269173 h 5808721"/>
              <a:gd name="connsiteX1794" fmla="*/ 3212117 w 6251734"/>
              <a:gd name="connsiteY1794" fmla="*/ 519491 h 5808721"/>
              <a:gd name="connsiteX1795" fmla="*/ 3000376 w 6251734"/>
              <a:gd name="connsiteY1795" fmla="*/ 593215 h 5808721"/>
              <a:gd name="connsiteX1796" fmla="*/ 2994375 w 6251734"/>
              <a:gd name="connsiteY1796" fmla="*/ 593215 h 5808721"/>
              <a:gd name="connsiteX1797" fmla="*/ 2988374 w 6251734"/>
              <a:gd name="connsiteY1797" fmla="*/ 593215 h 5808721"/>
              <a:gd name="connsiteX1798" fmla="*/ 2776633 w 6251734"/>
              <a:gd name="connsiteY1798" fmla="*/ 519491 h 5808721"/>
              <a:gd name="connsiteX1799" fmla="*/ 4064357 w 6251734"/>
              <a:gd name="connsiteY1799" fmla="*/ 122787 h 5808721"/>
              <a:gd name="connsiteX1800" fmla="*/ 4135375 w 6251734"/>
              <a:gd name="connsiteY1800" fmla="*/ 158590 h 5808721"/>
              <a:gd name="connsiteX1801" fmla="*/ 4367690 w 6251734"/>
              <a:gd name="connsiteY1801" fmla="*/ 158590 h 5808721"/>
              <a:gd name="connsiteX1802" fmla="*/ 4367690 w 6251734"/>
              <a:gd name="connsiteY1802" fmla="*/ 498920 h 5808721"/>
              <a:gd name="connsiteX1803" fmla="*/ 4130231 w 6251734"/>
              <a:gd name="connsiteY1803" fmla="*/ 500634 h 5808721"/>
              <a:gd name="connsiteX1804" fmla="*/ 3903059 w 6251734"/>
              <a:gd name="connsiteY1804" fmla="*/ 497205 h 5808721"/>
              <a:gd name="connsiteX1805" fmla="*/ 3903059 w 6251734"/>
              <a:gd name="connsiteY1805" fmla="*/ 158590 h 5808721"/>
              <a:gd name="connsiteX1806" fmla="*/ 4064357 w 6251734"/>
              <a:gd name="connsiteY1806" fmla="*/ 122787 h 5808721"/>
              <a:gd name="connsiteX1807" fmla="*/ 3009805 w 6251734"/>
              <a:gd name="connsiteY1807" fmla="*/ 0 h 5808721"/>
              <a:gd name="connsiteX1808" fmla="*/ 3364979 w 6251734"/>
              <a:gd name="connsiteY1808" fmla="*/ 158588 h 5808721"/>
              <a:gd name="connsiteX1809" fmla="*/ 3370707 w 6251734"/>
              <a:gd name="connsiteY1809" fmla="*/ 158588 h 5808721"/>
              <a:gd name="connsiteX1810" fmla="*/ 3370707 w 6251734"/>
              <a:gd name="connsiteY1810" fmla="*/ 161146 h 5808721"/>
              <a:gd name="connsiteX1811" fmla="*/ 3378423 w 6251734"/>
              <a:gd name="connsiteY1811" fmla="*/ 164591 h 5808721"/>
              <a:gd name="connsiteX1812" fmla="*/ 3370707 w 6251734"/>
              <a:gd name="connsiteY1812" fmla="*/ 168108 h 5808721"/>
              <a:gd name="connsiteX1813" fmla="*/ 3370707 w 6251734"/>
              <a:gd name="connsiteY1813" fmla="*/ 381755 h 5808721"/>
              <a:gd name="connsiteX1814" fmla="*/ 3385709 w 6251734"/>
              <a:gd name="connsiteY1814" fmla="*/ 387903 h 5808721"/>
              <a:gd name="connsiteX1815" fmla="*/ 3396425 w 6251734"/>
              <a:gd name="connsiteY1815" fmla="*/ 414049 h 5808721"/>
              <a:gd name="connsiteX1816" fmla="*/ 3385388 w 6251734"/>
              <a:gd name="connsiteY1816" fmla="*/ 440517 h 5808721"/>
              <a:gd name="connsiteX1817" fmla="*/ 3384653 w 6251734"/>
              <a:gd name="connsiteY1817" fmla="*/ 440813 h 5808721"/>
              <a:gd name="connsiteX1818" fmla="*/ 3392352 w 6251734"/>
              <a:gd name="connsiteY1818" fmla="*/ 468698 h 5808721"/>
              <a:gd name="connsiteX1819" fmla="*/ 3396424 w 6251734"/>
              <a:gd name="connsiteY1819" fmla="*/ 582069 h 5808721"/>
              <a:gd name="connsiteX1820" fmla="*/ 3366421 w 6251734"/>
              <a:gd name="connsiteY1820" fmla="*/ 582069 h 5808721"/>
              <a:gd name="connsiteX1821" fmla="*/ 3324416 w 6251734"/>
              <a:gd name="connsiteY1821" fmla="*/ 582069 h 5808721"/>
              <a:gd name="connsiteX1822" fmla="*/ 3329238 w 6251734"/>
              <a:gd name="connsiteY1822" fmla="*/ 468698 h 5808721"/>
              <a:gd name="connsiteX1823" fmla="*/ 3336806 w 6251734"/>
              <a:gd name="connsiteY1823" fmla="*/ 441584 h 5808721"/>
              <a:gd name="connsiteX1824" fmla="*/ 3333417 w 6251734"/>
              <a:gd name="connsiteY1824" fmla="*/ 440196 h 5808721"/>
              <a:gd name="connsiteX1825" fmla="*/ 3322701 w 6251734"/>
              <a:gd name="connsiteY1825" fmla="*/ 414049 h 5808721"/>
              <a:gd name="connsiteX1826" fmla="*/ 3333417 w 6251734"/>
              <a:gd name="connsiteY1826" fmla="*/ 387903 h 5808721"/>
              <a:gd name="connsiteX1827" fmla="*/ 3347562 w 6251734"/>
              <a:gd name="connsiteY1827" fmla="*/ 382106 h 5808721"/>
              <a:gd name="connsiteX1828" fmla="*/ 3347562 w 6251734"/>
              <a:gd name="connsiteY1828" fmla="*/ 178657 h 5808721"/>
              <a:gd name="connsiteX1829" fmla="*/ 3000375 w 6251734"/>
              <a:gd name="connsiteY1829" fmla="*/ 336899 h 5808721"/>
              <a:gd name="connsiteX1830" fmla="*/ 2628328 w 6251734"/>
              <a:gd name="connsiteY1830" fmla="*/ 168878 h 5808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Lst>
            <a:rect l="l" t="t" r="r" b="b"/>
            <a:pathLst>
              <a:path w="6251734" h="5808721">
                <a:moveTo>
                  <a:pt x="3807697" y="5598000"/>
                </a:moveTo>
                <a:lnTo>
                  <a:pt x="3792649" y="5610966"/>
                </a:lnTo>
                <a:lnTo>
                  <a:pt x="3724407" y="5654281"/>
                </a:lnTo>
                <a:lnTo>
                  <a:pt x="3737518" y="5683584"/>
                </a:lnTo>
                <a:cubicBezTo>
                  <a:pt x="3757635" y="5720397"/>
                  <a:pt x="3781865" y="5741855"/>
                  <a:pt x="3807904" y="5741855"/>
                </a:cubicBezTo>
                <a:cubicBezTo>
                  <a:pt x="3833943" y="5741855"/>
                  <a:pt x="3858174" y="5720397"/>
                  <a:pt x="3878291" y="5683584"/>
                </a:cubicBezTo>
                <a:lnTo>
                  <a:pt x="3891370" y="5654352"/>
                </a:lnTo>
                <a:lnTo>
                  <a:pt x="3821929" y="5610228"/>
                </a:lnTo>
                <a:close/>
                <a:moveTo>
                  <a:pt x="3827101" y="5549255"/>
                </a:moveTo>
                <a:lnTo>
                  <a:pt x="3807904" y="5550689"/>
                </a:lnTo>
                <a:lnTo>
                  <a:pt x="3788212" y="5549599"/>
                </a:lnTo>
                <a:lnTo>
                  <a:pt x="3807470" y="5566172"/>
                </a:lnTo>
                <a:close/>
                <a:moveTo>
                  <a:pt x="3694058" y="5544387"/>
                </a:moveTo>
                <a:lnTo>
                  <a:pt x="3703452" y="5591293"/>
                </a:lnTo>
                <a:lnTo>
                  <a:pt x="3714172" y="5626491"/>
                </a:lnTo>
                <a:lnTo>
                  <a:pt x="3722717" y="5622628"/>
                </a:lnTo>
                <a:lnTo>
                  <a:pt x="3788068" y="5581136"/>
                </a:lnTo>
                <a:lnTo>
                  <a:pt x="3748826" y="5547419"/>
                </a:lnTo>
                <a:close/>
                <a:moveTo>
                  <a:pt x="3922198" y="5542152"/>
                </a:moveTo>
                <a:lnTo>
                  <a:pt x="3867799" y="5546215"/>
                </a:lnTo>
                <a:lnTo>
                  <a:pt x="3827145" y="5581244"/>
                </a:lnTo>
                <a:lnTo>
                  <a:pt x="3901775" y="5626039"/>
                </a:lnTo>
                <a:lnTo>
                  <a:pt x="3912357" y="5591293"/>
                </a:lnTo>
                <a:close/>
                <a:moveTo>
                  <a:pt x="3568695" y="5521810"/>
                </a:moveTo>
                <a:lnTo>
                  <a:pt x="3557706" y="5550648"/>
                </a:lnTo>
                <a:cubicBezTo>
                  <a:pt x="3545907" y="5590927"/>
                  <a:pt x="3547836" y="5623235"/>
                  <a:pt x="3566160" y="5641559"/>
                </a:cubicBezTo>
                <a:cubicBezTo>
                  <a:pt x="3586774" y="5662535"/>
                  <a:pt x="3625087" y="5662456"/>
                  <a:pt x="3672538" y="5645312"/>
                </a:cubicBezTo>
                <a:lnTo>
                  <a:pt x="3686711" y="5638905"/>
                </a:lnTo>
                <a:lnTo>
                  <a:pt x="3683653" y="5628857"/>
                </a:lnTo>
                <a:cubicBezTo>
                  <a:pt x="3678238" y="5607150"/>
                  <a:pt x="3673570" y="5583954"/>
                  <a:pt x="3669753" y="5559542"/>
                </a:cubicBezTo>
                <a:lnTo>
                  <a:pt x="3668350" y="5540767"/>
                </a:lnTo>
                <a:lnTo>
                  <a:pt x="3579717" y="5525147"/>
                </a:lnTo>
                <a:close/>
                <a:moveTo>
                  <a:pt x="4046585" y="5520939"/>
                </a:moveTo>
                <a:lnTo>
                  <a:pt x="3966777" y="5538822"/>
                </a:lnTo>
                <a:lnTo>
                  <a:pt x="3947602" y="5540254"/>
                </a:lnTo>
                <a:lnTo>
                  <a:pt x="3946176" y="5559542"/>
                </a:lnTo>
                <a:cubicBezTo>
                  <a:pt x="3942392" y="5583954"/>
                  <a:pt x="3937761" y="5607150"/>
                  <a:pt x="3932381" y="5628857"/>
                </a:cubicBezTo>
                <a:lnTo>
                  <a:pt x="3929132" y="5639587"/>
                </a:lnTo>
                <a:lnTo>
                  <a:pt x="3958740" y="5650869"/>
                </a:lnTo>
                <a:cubicBezTo>
                  <a:pt x="3999019" y="5662668"/>
                  <a:pt x="4031327" y="5660739"/>
                  <a:pt x="4049650" y="5642415"/>
                </a:cubicBezTo>
                <a:cubicBezTo>
                  <a:pt x="4067974" y="5623770"/>
                  <a:pt x="4069903" y="5591382"/>
                  <a:pt x="4058104" y="5551128"/>
                </a:cubicBezTo>
                <a:close/>
                <a:moveTo>
                  <a:pt x="3688846" y="5493292"/>
                </a:moveTo>
                <a:lnTo>
                  <a:pt x="3690677" y="5517905"/>
                </a:lnTo>
                <a:lnTo>
                  <a:pt x="3706306" y="5520689"/>
                </a:lnTo>
                <a:lnTo>
                  <a:pt x="3718556" y="5521412"/>
                </a:lnTo>
                <a:lnTo>
                  <a:pt x="3700748" y="5506112"/>
                </a:lnTo>
                <a:close/>
                <a:moveTo>
                  <a:pt x="3927084" y="5491676"/>
                </a:moveTo>
                <a:lnTo>
                  <a:pt x="3913348" y="5506970"/>
                </a:lnTo>
                <a:lnTo>
                  <a:pt x="3898270" y="5519961"/>
                </a:lnTo>
                <a:lnTo>
                  <a:pt x="3925127" y="5517962"/>
                </a:lnTo>
                <a:close/>
                <a:moveTo>
                  <a:pt x="2666906" y="5428104"/>
                </a:moveTo>
                <a:lnTo>
                  <a:pt x="2906936" y="5566121"/>
                </a:lnTo>
                <a:lnTo>
                  <a:pt x="2986661" y="5428961"/>
                </a:lnTo>
                <a:close/>
                <a:moveTo>
                  <a:pt x="2421698" y="5427947"/>
                </a:moveTo>
                <a:lnTo>
                  <a:pt x="2911499" y="5711122"/>
                </a:lnTo>
                <a:lnTo>
                  <a:pt x="2873313" y="5777171"/>
                </a:lnTo>
                <a:lnTo>
                  <a:pt x="2383512" y="5493996"/>
                </a:lnTo>
                <a:close/>
                <a:moveTo>
                  <a:pt x="3626020" y="5422235"/>
                </a:moveTo>
                <a:lnTo>
                  <a:pt x="3598818" y="5461243"/>
                </a:lnTo>
                <a:lnTo>
                  <a:pt x="3581388" y="5494011"/>
                </a:lnTo>
                <a:lnTo>
                  <a:pt x="3616801" y="5504746"/>
                </a:lnTo>
                <a:lnTo>
                  <a:pt x="3666318" y="5513566"/>
                </a:lnTo>
                <a:lnTo>
                  <a:pt x="3662700" y="5465131"/>
                </a:lnTo>
                <a:lnTo>
                  <a:pt x="3644732" y="5445778"/>
                </a:lnTo>
                <a:close/>
                <a:moveTo>
                  <a:pt x="3990100" y="5421513"/>
                </a:moveTo>
                <a:lnTo>
                  <a:pt x="3953357" y="5462423"/>
                </a:lnTo>
                <a:lnTo>
                  <a:pt x="3949475" y="5514925"/>
                </a:lnTo>
                <a:lnTo>
                  <a:pt x="4025703" y="5497859"/>
                </a:lnTo>
                <a:lnTo>
                  <a:pt x="4034309" y="5494362"/>
                </a:lnTo>
                <a:lnTo>
                  <a:pt x="4016993" y="5461874"/>
                </a:lnTo>
                <a:close/>
                <a:moveTo>
                  <a:pt x="3956426" y="5380419"/>
                </a:moveTo>
                <a:lnTo>
                  <a:pt x="3957923" y="5400670"/>
                </a:lnTo>
                <a:lnTo>
                  <a:pt x="3956295" y="5422687"/>
                </a:lnTo>
                <a:lnTo>
                  <a:pt x="3964989" y="5412959"/>
                </a:lnTo>
                <a:lnTo>
                  <a:pt x="3973699" y="5400468"/>
                </a:lnTo>
                <a:close/>
                <a:moveTo>
                  <a:pt x="3659650" y="5376790"/>
                </a:moveTo>
                <a:lnTo>
                  <a:pt x="3650822" y="5386669"/>
                </a:lnTo>
                <a:lnTo>
                  <a:pt x="3641492" y="5400048"/>
                </a:lnTo>
                <a:lnTo>
                  <a:pt x="3659392" y="5420848"/>
                </a:lnTo>
                <a:lnTo>
                  <a:pt x="3657885" y="5400670"/>
                </a:lnTo>
                <a:close/>
                <a:moveTo>
                  <a:pt x="2450878" y="5356093"/>
                </a:moveTo>
                <a:lnTo>
                  <a:pt x="3103247" y="5381811"/>
                </a:lnTo>
                <a:lnTo>
                  <a:pt x="2950656" y="5644988"/>
                </a:lnTo>
                <a:close/>
                <a:moveTo>
                  <a:pt x="3808763" y="5338091"/>
                </a:moveTo>
                <a:cubicBezTo>
                  <a:pt x="3843053" y="5338091"/>
                  <a:pt x="3871342" y="5365523"/>
                  <a:pt x="3871342" y="5400671"/>
                </a:cubicBezTo>
                <a:cubicBezTo>
                  <a:pt x="3871342" y="5434961"/>
                  <a:pt x="3843053" y="5463250"/>
                  <a:pt x="3808763" y="5463250"/>
                </a:cubicBezTo>
                <a:cubicBezTo>
                  <a:pt x="3774473" y="5463250"/>
                  <a:pt x="3746183" y="5435818"/>
                  <a:pt x="3746183" y="5400671"/>
                </a:cubicBezTo>
                <a:cubicBezTo>
                  <a:pt x="3746183" y="5366381"/>
                  <a:pt x="3773615" y="5338091"/>
                  <a:pt x="3808763" y="5338091"/>
                </a:cubicBezTo>
                <a:close/>
                <a:moveTo>
                  <a:pt x="3553198" y="5318476"/>
                </a:moveTo>
                <a:lnTo>
                  <a:pt x="3524133" y="5330284"/>
                </a:lnTo>
                <a:cubicBezTo>
                  <a:pt x="3487320" y="5350400"/>
                  <a:pt x="3465862" y="5374631"/>
                  <a:pt x="3465862" y="5400670"/>
                </a:cubicBezTo>
                <a:cubicBezTo>
                  <a:pt x="3465862" y="5426709"/>
                  <a:pt x="3487440" y="5450819"/>
                  <a:pt x="3524359" y="5470831"/>
                </a:cubicBezTo>
                <a:lnTo>
                  <a:pt x="3552494" y="5483326"/>
                </a:lnTo>
                <a:lnTo>
                  <a:pt x="3557534" y="5473887"/>
                </a:lnTo>
                <a:lnTo>
                  <a:pt x="3608797" y="5400567"/>
                </a:lnTo>
                <a:lnTo>
                  <a:pt x="3596753" y="5385414"/>
                </a:lnTo>
                <a:cubicBezTo>
                  <a:pt x="3582180" y="5365463"/>
                  <a:pt x="3569066" y="5345769"/>
                  <a:pt x="3557534" y="5326597"/>
                </a:cubicBezTo>
                <a:close/>
                <a:moveTo>
                  <a:pt x="4062445" y="5317336"/>
                </a:moveTo>
                <a:lnTo>
                  <a:pt x="4057165" y="5327229"/>
                </a:lnTo>
                <a:lnTo>
                  <a:pt x="4006091" y="5400156"/>
                </a:lnTo>
                <a:lnTo>
                  <a:pt x="4017343" y="5414333"/>
                </a:lnTo>
                <a:cubicBezTo>
                  <a:pt x="4031916" y="5434318"/>
                  <a:pt x="4045029" y="5454048"/>
                  <a:pt x="4056562" y="5473256"/>
                </a:cubicBezTo>
                <a:lnTo>
                  <a:pt x="4061849" y="5483174"/>
                </a:lnTo>
                <a:lnTo>
                  <a:pt x="4091676" y="5471057"/>
                </a:lnTo>
                <a:cubicBezTo>
                  <a:pt x="4128489" y="5450940"/>
                  <a:pt x="4149947" y="5426709"/>
                  <a:pt x="4149947" y="5400670"/>
                </a:cubicBezTo>
                <a:cubicBezTo>
                  <a:pt x="4149947" y="5374631"/>
                  <a:pt x="4128368" y="5350401"/>
                  <a:pt x="4091450" y="5330284"/>
                </a:cubicBezTo>
                <a:close/>
                <a:moveTo>
                  <a:pt x="3949551" y="5287441"/>
                </a:moveTo>
                <a:lnTo>
                  <a:pt x="3953173" y="5336435"/>
                </a:lnTo>
                <a:lnTo>
                  <a:pt x="3969364" y="5353884"/>
                </a:lnTo>
                <a:lnTo>
                  <a:pt x="3988964" y="5378578"/>
                </a:lnTo>
                <a:lnTo>
                  <a:pt x="4016993" y="5338385"/>
                </a:lnTo>
                <a:lnTo>
                  <a:pt x="4033793" y="5306800"/>
                </a:lnTo>
                <a:lnTo>
                  <a:pt x="3999007" y="5296218"/>
                </a:lnTo>
                <a:close/>
                <a:moveTo>
                  <a:pt x="3666333" y="5286416"/>
                </a:moveTo>
                <a:lnTo>
                  <a:pt x="3590106" y="5303482"/>
                </a:lnTo>
                <a:lnTo>
                  <a:pt x="3581629" y="5306926"/>
                </a:lnTo>
                <a:lnTo>
                  <a:pt x="3598818" y="5339241"/>
                </a:lnTo>
                <a:lnTo>
                  <a:pt x="3625164" y="5378866"/>
                </a:lnTo>
                <a:lnTo>
                  <a:pt x="3662590" y="5337028"/>
                </a:lnTo>
                <a:close/>
                <a:moveTo>
                  <a:pt x="1925384" y="5284084"/>
                </a:moveTo>
                <a:cubicBezTo>
                  <a:pt x="1892808" y="5284084"/>
                  <a:pt x="1867091" y="5310659"/>
                  <a:pt x="1867091" y="5343235"/>
                </a:cubicBezTo>
                <a:cubicBezTo>
                  <a:pt x="1867091" y="5375810"/>
                  <a:pt x="1892808" y="5402385"/>
                  <a:pt x="1925384" y="5402385"/>
                </a:cubicBezTo>
                <a:cubicBezTo>
                  <a:pt x="1957959" y="5402385"/>
                  <a:pt x="1983677" y="5375810"/>
                  <a:pt x="1983677" y="5343235"/>
                </a:cubicBezTo>
                <a:cubicBezTo>
                  <a:pt x="1983677" y="5310659"/>
                  <a:pt x="1957959" y="5284084"/>
                  <a:pt x="1925384" y="5284084"/>
                </a:cubicBezTo>
                <a:close/>
                <a:moveTo>
                  <a:pt x="3715682" y="5281518"/>
                </a:moveTo>
                <a:lnTo>
                  <a:pt x="3690553" y="5283388"/>
                </a:lnTo>
                <a:lnTo>
                  <a:pt x="3688737" y="5307799"/>
                </a:lnTo>
                <a:lnTo>
                  <a:pt x="3700748" y="5294372"/>
                </a:lnTo>
                <a:close/>
                <a:moveTo>
                  <a:pt x="3897255" y="5279649"/>
                </a:moveTo>
                <a:lnTo>
                  <a:pt x="3913348" y="5293515"/>
                </a:lnTo>
                <a:lnTo>
                  <a:pt x="3927113" y="5308350"/>
                </a:lnTo>
                <a:lnTo>
                  <a:pt x="3925236" y="5283126"/>
                </a:lnTo>
                <a:lnTo>
                  <a:pt x="3909502" y="5280333"/>
                </a:lnTo>
                <a:close/>
                <a:moveTo>
                  <a:pt x="3807904" y="5274654"/>
                </a:moveTo>
                <a:lnTo>
                  <a:pt x="3756063" y="5278512"/>
                </a:lnTo>
                <a:lnTo>
                  <a:pt x="3718751" y="5310660"/>
                </a:lnTo>
                <a:lnTo>
                  <a:pt x="3685778" y="5347555"/>
                </a:lnTo>
                <a:lnTo>
                  <a:pt x="3681889" y="5399812"/>
                </a:lnTo>
                <a:lnTo>
                  <a:pt x="3685732" y="5451455"/>
                </a:lnTo>
                <a:lnTo>
                  <a:pt x="3718751" y="5489824"/>
                </a:lnTo>
                <a:lnTo>
                  <a:pt x="3758175" y="5523751"/>
                </a:lnTo>
                <a:lnTo>
                  <a:pt x="3807904" y="5526686"/>
                </a:lnTo>
                <a:lnTo>
                  <a:pt x="3857581" y="5522989"/>
                </a:lnTo>
                <a:lnTo>
                  <a:pt x="3897060" y="5488968"/>
                </a:lnTo>
                <a:lnTo>
                  <a:pt x="3930031" y="5452075"/>
                </a:lnTo>
                <a:lnTo>
                  <a:pt x="3933920" y="5399812"/>
                </a:lnTo>
                <a:lnTo>
                  <a:pt x="3930213" y="5349995"/>
                </a:lnTo>
                <a:lnTo>
                  <a:pt x="3897060" y="5311517"/>
                </a:lnTo>
                <a:lnTo>
                  <a:pt x="3857442" y="5277423"/>
                </a:lnTo>
                <a:close/>
                <a:moveTo>
                  <a:pt x="3807355" y="5234320"/>
                </a:moveTo>
                <a:lnTo>
                  <a:pt x="3786569" y="5252229"/>
                </a:lnTo>
                <a:lnTo>
                  <a:pt x="3807904" y="5250651"/>
                </a:lnTo>
                <a:lnTo>
                  <a:pt x="3827599" y="5251741"/>
                </a:lnTo>
                <a:close/>
                <a:moveTo>
                  <a:pt x="1827657" y="5200074"/>
                </a:moveTo>
                <a:cubicBezTo>
                  <a:pt x="1797654" y="5200074"/>
                  <a:pt x="1773650" y="5224934"/>
                  <a:pt x="1773650" y="5254938"/>
                </a:cubicBezTo>
                <a:cubicBezTo>
                  <a:pt x="1773650" y="5284942"/>
                  <a:pt x="1797654" y="5309802"/>
                  <a:pt x="1827657" y="5309802"/>
                </a:cubicBezTo>
                <a:cubicBezTo>
                  <a:pt x="1857661" y="5309802"/>
                  <a:pt x="1881664" y="5284942"/>
                  <a:pt x="1881664" y="5254938"/>
                </a:cubicBezTo>
                <a:cubicBezTo>
                  <a:pt x="1881664" y="5224934"/>
                  <a:pt x="1857661" y="5200074"/>
                  <a:pt x="1827657" y="5200074"/>
                </a:cubicBezTo>
                <a:close/>
                <a:moveTo>
                  <a:pt x="3713592" y="5175036"/>
                </a:moveTo>
                <a:lnTo>
                  <a:pt x="3703452" y="5208333"/>
                </a:lnTo>
                <a:lnTo>
                  <a:pt x="3693280" y="5259127"/>
                </a:lnTo>
                <a:lnTo>
                  <a:pt x="3746245" y="5255210"/>
                </a:lnTo>
                <a:lnTo>
                  <a:pt x="3787708" y="5219522"/>
                </a:lnTo>
                <a:close/>
                <a:moveTo>
                  <a:pt x="3901951" y="5174164"/>
                </a:moveTo>
                <a:lnTo>
                  <a:pt x="3827088" y="5219192"/>
                </a:lnTo>
                <a:lnTo>
                  <a:pt x="3867424" y="5253946"/>
                </a:lnTo>
                <a:lnTo>
                  <a:pt x="3922098" y="5256973"/>
                </a:lnTo>
                <a:lnTo>
                  <a:pt x="3912357" y="5208333"/>
                </a:lnTo>
                <a:close/>
                <a:moveTo>
                  <a:pt x="4932831" y="5171785"/>
                </a:moveTo>
                <a:cubicBezTo>
                  <a:pt x="4907114" y="5167928"/>
                  <a:pt x="4879896" y="5173928"/>
                  <a:pt x="4857179" y="5190645"/>
                </a:cubicBezTo>
                <a:cubicBezTo>
                  <a:pt x="4811745" y="5224077"/>
                  <a:pt x="4802315" y="5287514"/>
                  <a:pt x="4836605" y="5332091"/>
                </a:cubicBezTo>
                <a:cubicBezTo>
                  <a:pt x="4869181" y="5377525"/>
                  <a:pt x="4932617" y="5386955"/>
                  <a:pt x="4978051" y="5353523"/>
                </a:cubicBezTo>
                <a:cubicBezTo>
                  <a:pt x="5023486" y="5320947"/>
                  <a:pt x="5032916" y="5256653"/>
                  <a:pt x="4999483" y="5212076"/>
                </a:cubicBezTo>
                <a:cubicBezTo>
                  <a:pt x="4982766" y="5189359"/>
                  <a:pt x="4958549" y="5175643"/>
                  <a:pt x="4932831" y="5171785"/>
                </a:cubicBezTo>
                <a:close/>
                <a:moveTo>
                  <a:pt x="3619671" y="5143348"/>
                </a:moveTo>
                <a:cubicBezTo>
                  <a:pt x="3596806" y="5141780"/>
                  <a:pt x="3578376" y="5146710"/>
                  <a:pt x="3566160" y="5158925"/>
                </a:cubicBezTo>
                <a:cubicBezTo>
                  <a:pt x="3547836" y="5177249"/>
                  <a:pt x="3545907" y="5209557"/>
                  <a:pt x="3557706" y="5249836"/>
                </a:cubicBezTo>
                <a:lnTo>
                  <a:pt x="3569257" y="5280149"/>
                </a:lnTo>
                <a:lnTo>
                  <a:pt x="3649032" y="5262398"/>
                </a:lnTo>
                <a:lnTo>
                  <a:pt x="3668214" y="5260980"/>
                </a:lnTo>
                <a:lnTo>
                  <a:pt x="3669632" y="5241797"/>
                </a:lnTo>
                <a:cubicBezTo>
                  <a:pt x="3673416" y="5217386"/>
                  <a:pt x="3678047" y="5194190"/>
                  <a:pt x="3683427" y="5172482"/>
                </a:cubicBezTo>
                <a:lnTo>
                  <a:pt x="3686676" y="5161753"/>
                </a:lnTo>
                <a:lnTo>
                  <a:pt x="3657070" y="5150472"/>
                </a:lnTo>
                <a:cubicBezTo>
                  <a:pt x="3643644" y="5146539"/>
                  <a:pt x="3631103" y="5144131"/>
                  <a:pt x="3619671" y="5143348"/>
                </a:cubicBezTo>
                <a:close/>
                <a:moveTo>
                  <a:pt x="3995778" y="5142491"/>
                </a:moveTo>
                <a:cubicBezTo>
                  <a:pt x="3984325" y="5143275"/>
                  <a:pt x="3971781" y="5145682"/>
                  <a:pt x="3958364" y="5149615"/>
                </a:cubicBezTo>
                <a:lnTo>
                  <a:pt x="3928865" y="5160870"/>
                </a:lnTo>
                <a:lnTo>
                  <a:pt x="3932381" y="5172482"/>
                </a:lnTo>
                <a:cubicBezTo>
                  <a:pt x="3937761" y="5194190"/>
                  <a:pt x="3942392" y="5217386"/>
                  <a:pt x="3946176" y="5241797"/>
                </a:cubicBezTo>
                <a:lnTo>
                  <a:pt x="3947566" y="5260592"/>
                </a:lnTo>
                <a:lnTo>
                  <a:pt x="4036092" y="5276193"/>
                </a:lnTo>
                <a:lnTo>
                  <a:pt x="4046530" y="5279354"/>
                </a:lnTo>
                <a:lnTo>
                  <a:pt x="4058104" y="5248980"/>
                </a:lnTo>
                <a:cubicBezTo>
                  <a:pt x="4069903" y="5208700"/>
                  <a:pt x="4067974" y="5176393"/>
                  <a:pt x="4049650" y="5158069"/>
                </a:cubicBezTo>
                <a:cubicBezTo>
                  <a:pt x="4037220" y="5145853"/>
                  <a:pt x="4018682" y="5140924"/>
                  <a:pt x="3995778" y="5142491"/>
                </a:cubicBezTo>
                <a:close/>
                <a:moveTo>
                  <a:pt x="1795082" y="5089489"/>
                </a:moveTo>
                <a:cubicBezTo>
                  <a:pt x="1769364" y="5089489"/>
                  <a:pt x="1747933" y="5110920"/>
                  <a:pt x="1747933" y="5137495"/>
                </a:cubicBezTo>
                <a:cubicBezTo>
                  <a:pt x="1747933" y="5164069"/>
                  <a:pt x="1768507" y="5185501"/>
                  <a:pt x="1795082" y="5185501"/>
                </a:cubicBezTo>
                <a:cubicBezTo>
                  <a:pt x="1801511" y="5185501"/>
                  <a:pt x="1807672" y="5184161"/>
                  <a:pt x="1813298" y="5181737"/>
                </a:cubicBezTo>
                <a:lnTo>
                  <a:pt x="1824372" y="5174153"/>
                </a:lnTo>
                <a:lnTo>
                  <a:pt x="1839840" y="5131531"/>
                </a:lnTo>
                <a:lnTo>
                  <a:pt x="1828621" y="5103526"/>
                </a:lnTo>
                <a:cubicBezTo>
                  <a:pt x="1820156" y="5094847"/>
                  <a:pt x="1808369" y="5089489"/>
                  <a:pt x="1795082" y="5089489"/>
                </a:cubicBezTo>
                <a:close/>
                <a:moveTo>
                  <a:pt x="3807904" y="5057770"/>
                </a:moveTo>
                <a:cubicBezTo>
                  <a:pt x="3781865" y="5057770"/>
                  <a:pt x="3757635" y="5079228"/>
                  <a:pt x="3737518" y="5116041"/>
                </a:cubicBezTo>
                <a:lnTo>
                  <a:pt x="3724435" y="5145282"/>
                </a:lnTo>
                <a:lnTo>
                  <a:pt x="3733832" y="5150300"/>
                </a:lnTo>
                <a:cubicBezTo>
                  <a:pt x="3753004" y="5161833"/>
                  <a:pt x="3772698" y="5174946"/>
                  <a:pt x="3792649" y="5189519"/>
                </a:cubicBezTo>
                <a:lnTo>
                  <a:pt x="3807599" y="5202400"/>
                </a:lnTo>
                <a:lnTo>
                  <a:pt x="3821568" y="5190377"/>
                </a:lnTo>
                <a:cubicBezTo>
                  <a:pt x="3841553" y="5175804"/>
                  <a:pt x="3861283" y="5162690"/>
                  <a:pt x="3880491" y="5151158"/>
                </a:cubicBezTo>
                <a:lnTo>
                  <a:pt x="3891401" y="5145342"/>
                </a:lnTo>
                <a:lnTo>
                  <a:pt x="3878291" y="5116041"/>
                </a:lnTo>
                <a:cubicBezTo>
                  <a:pt x="3858174" y="5079228"/>
                  <a:pt x="3833943" y="5057770"/>
                  <a:pt x="3807904" y="5057770"/>
                </a:cubicBezTo>
                <a:close/>
                <a:moveTo>
                  <a:pt x="1830229" y="4995190"/>
                </a:moveTo>
                <a:cubicBezTo>
                  <a:pt x="1810512" y="4995190"/>
                  <a:pt x="1795082" y="5011478"/>
                  <a:pt x="1795082" y="5031195"/>
                </a:cubicBezTo>
                <a:cubicBezTo>
                  <a:pt x="1795082" y="5050913"/>
                  <a:pt x="1810512" y="5067200"/>
                  <a:pt x="1830229" y="5067200"/>
                </a:cubicBezTo>
                <a:cubicBezTo>
                  <a:pt x="1849089" y="5067200"/>
                  <a:pt x="1865376" y="5050913"/>
                  <a:pt x="1865376" y="5031195"/>
                </a:cubicBezTo>
                <a:cubicBezTo>
                  <a:pt x="1865376" y="5011478"/>
                  <a:pt x="1849946" y="4995190"/>
                  <a:pt x="1830229" y="4995190"/>
                </a:cubicBezTo>
                <a:close/>
                <a:moveTo>
                  <a:pt x="3807904" y="4992618"/>
                </a:moveTo>
                <a:cubicBezTo>
                  <a:pt x="3849481" y="4992618"/>
                  <a:pt x="3886985" y="5038267"/>
                  <a:pt x="3914096" y="5112098"/>
                </a:cubicBezTo>
                <a:lnTo>
                  <a:pt x="3919610" y="5130307"/>
                </a:lnTo>
                <a:lnTo>
                  <a:pt x="3936279" y="5121422"/>
                </a:lnTo>
                <a:cubicBezTo>
                  <a:pt x="3972069" y="5104920"/>
                  <a:pt x="4004698" y="5095222"/>
                  <a:pt x="4032023" y="5093293"/>
                </a:cubicBezTo>
                <a:cubicBezTo>
                  <a:pt x="4059348" y="5091364"/>
                  <a:pt x="4081369" y="5097204"/>
                  <a:pt x="4095942" y="5111777"/>
                </a:cubicBezTo>
                <a:cubicBezTo>
                  <a:pt x="4125517" y="5140924"/>
                  <a:pt x="4119945" y="5199860"/>
                  <a:pt x="4086941" y="5271440"/>
                </a:cubicBezTo>
                <a:lnTo>
                  <a:pt x="4077682" y="5288787"/>
                </a:lnTo>
                <a:lnTo>
                  <a:pt x="4096476" y="5294478"/>
                </a:lnTo>
                <a:cubicBezTo>
                  <a:pt x="4170307" y="5321589"/>
                  <a:pt x="4215956" y="5359094"/>
                  <a:pt x="4215956" y="5400670"/>
                </a:cubicBezTo>
                <a:cubicBezTo>
                  <a:pt x="4215956" y="5431531"/>
                  <a:pt x="4190279" y="5460343"/>
                  <a:pt x="4146292" y="5484302"/>
                </a:cubicBezTo>
                <a:lnTo>
                  <a:pt x="4077351" y="5512259"/>
                </a:lnTo>
                <a:lnTo>
                  <a:pt x="4086298" y="5529044"/>
                </a:lnTo>
                <a:cubicBezTo>
                  <a:pt x="4119302" y="5600625"/>
                  <a:pt x="4125089" y="5659561"/>
                  <a:pt x="4095942" y="5688707"/>
                </a:cubicBezTo>
                <a:cubicBezTo>
                  <a:pt x="4074082" y="5710888"/>
                  <a:pt x="4035586" y="5713179"/>
                  <a:pt x="3987551" y="5698969"/>
                </a:cubicBezTo>
                <a:lnTo>
                  <a:pt x="3919857" y="5670215"/>
                </a:lnTo>
                <a:lnTo>
                  <a:pt x="3914096" y="5689242"/>
                </a:lnTo>
                <a:cubicBezTo>
                  <a:pt x="3886985" y="5763073"/>
                  <a:pt x="3849481" y="5808721"/>
                  <a:pt x="3807904" y="5808721"/>
                </a:cubicBezTo>
                <a:cubicBezTo>
                  <a:pt x="3766756" y="5808721"/>
                  <a:pt x="3729251" y="5763073"/>
                  <a:pt x="3702033" y="5689242"/>
                </a:cubicBezTo>
                <a:lnTo>
                  <a:pt x="3696238" y="5670203"/>
                </a:lnTo>
                <a:lnTo>
                  <a:pt x="3627147" y="5699451"/>
                </a:lnTo>
                <a:cubicBezTo>
                  <a:pt x="3579033" y="5713635"/>
                  <a:pt x="3540336" y="5711425"/>
                  <a:pt x="3518154" y="5689565"/>
                </a:cubicBezTo>
                <a:cubicBezTo>
                  <a:pt x="3489007" y="5659990"/>
                  <a:pt x="3494794" y="5601054"/>
                  <a:pt x="3527798" y="5529580"/>
                </a:cubicBezTo>
                <a:lnTo>
                  <a:pt x="3537061" y="5512231"/>
                </a:lnTo>
                <a:lnTo>
                  <a:pt x="3519332" y="5506862"/>
                </a:lnTo>
                <a:cubicBezTo>
                  <a:pt x="3445502" y="5479751"/>
                  <a:pt x="3399853" y="5442247"/>
                  <a:pt x="3399853" y="5400670"/>
                </a:cubicBezTo>
                <a:cubicBezTo>
                  <a:pt x="3399853" y="5369488"/>
                  <a:pt x="3425530" y="5340596"/>
                  <a:pt x="3469516" y="5316662"/>
                </a:cubicBezTo>
                <a:lnTo>
                  <a:pt x="3537546" y="5289161"/>
                </a:lnTo>
                <a:lnTo>
                  <a:pt x="3527798" y="5270904"/>
                </a:lnTo>
                <a:cubicBezTo>
                  <a:pt x="3494794" y="5199430"/>
                  <a:pt x="3489007" y="5140494"/>
                  <a:pt x="3518154" y="5110919"/>
                </a:cubicBezTo>
                <a:cubicBezTo>
                  <a:pt x="3532942" y="5096346"/>
                  <a:pt x="3555069" y="5090506"/>
                  <a:pt x="3582435" y="5092435"/>
                </a:cubicBezTo>
                <a:cubicBezTo>
                  <a:pt x="3609800" y="5094364"/>
                  <a:pt x="3642402" y="5104061"/>
                  <a:pt x="3678139" y="5120564"/>
                </a:cubicBezTo>
                <a:lnTo>
                  <a:pt x="3696224" y="5130220"/>
                </a:lnTo>
                <a:lnTo>
                  <a:pt x="3701712" y="5112098"/>
                </a:lnTo>
                <a:cubicBezTo>
                  <a:pt x="3728823" y="5038267"/>
                  <a:pt x="3766328" y="4992618"/>
                  <a:pt x="3807904" y="4992618"/>
                </a:cubicBezTo>
                <a:close/>
                <a:moveTo>
                  <a:pt x="2165414" y="4987475"/>
                </a:moveTo>
                <a:cubicBezTo>
                  <a:pt x="2135838" y="4987475"/>
                  <a:pt x="2110603" y="5005317"/>
                  <a:pt x="2099834" y="5030874"/>
                </a:cubicBezTo>
                <a:lnTo>
                  <a:pt x="2095529" y="5052318"/>
                </a:lnTo>
                <a:lnTo>
                  <a:pt x="2115842" y="5109524"/>
                </a:lnTo>
                <a:lnTo>
                  <a:pt x="2137660" y="5124207"/>
                </a:lnTo>
                <a:cubicBezTo>
                  <a:pt x="2146179" y="5127796"/>
                  <a:pt x="2155555" y="5129779"/>
                  <a:pt x="2165414" y="5129779"/>
                </a:cubicBezTo>
                <a:cubicBezTo>
                  <a:pt x="2203990" y="5129779"/>
                  <a:pt x="2235708" y="5098061"/>
                  <a:pt x="2236565" y="5058628"/>
                </a:cubicBezTo>
                <a:cubicBezTo>
                  <a:pt x="2236565" y="5019193"/>
                  <a:pt x="2204847" y="4987475"/>
                  <a:pt x="2165414" y="4987475"/>
                </a:cubicBezTo>
                <a:close/>
                <a:moveTo>
                  <a:pt x="5334024" y="4966796"/>
                </a:moveTo>
                <a:cubicBezTo>
                  <a:pt x="5320952" y="4964760"/>
                  <a:pt x="5307236" y="4967760"/>
                  <a:pt x="5296091" y="4976333"/>
                </a:cubicBezTo>
                <a:cubicBezTo>
                  <a:pt x="5273803" y="4993478"/>
                  <a:pt x="5268659" y="5025196"/>
                  <a:pt x="5285804" y="5048341"/>
                </a:cubicBezTo>
                <a:cubicBezTo>
                  <a:pt x="5302092" y="5071487"/>
                  <a:pt x="5334668" y="5076631"/>
                  <a:pt x="5356956" y="5059486"/>
                </a:cubicBezTo>
                <a:cubicBezTo>
                  <a:pt x="5379245" y="5043198"/>
                  <a:pt x="5383531" y="5010623"/>
                  <a:pt x="5368100" y="4987477"/>
                </a:cubicBezTo>
                <a:cubicBezTo>
                  <a:pt x="5359527" y="4975904"/>
                  <a:pt x="5347097" y="4968831"/>
                  <a:pt x="5334024" y="4966796"/>
                </a:cubicBezTo>
                <a:close/>
                <a:moveTo>
                  <a:pt x="1939100" y="4858031"/>
                </a:moveTo>
                <a:lnTo>
                  <a:pt x="2026539" y="4858031"/>
                </a:lnTo>
                <a:lnTo>
                  <a:pt x="2042850" y="4903966"/>
                </a:lnTo>
                <a:lnTo>
                  <a:pt x="2112264" y="4899178"/>
                </a:lnTo>
                <a:cubicBezTo>
                  <a:pt x="2112264" y="4899178"/>
                  <a:pt x="2247710" y="4912037"/>
                  <a:pt x="2286286" y="5018336"/>
                </a:cubicBezTo>
                <a:cubicBezTo>
                  <a:pt x="2324862" y="5124636"/>
                  <a:pt x="2235708" y="5171785"/>
                  <a:pt x="2136267" y="5212076"/>
                </a:cubicBezTo>
                <a:cubicBezTo>
                  <a:pt x="2035969" y="5251509"/>
                  <a:pt x="2059115" y="5440962"/>
                  <a:pt x="1901381" y="5428960"/>
                </a:cubicBezTo>
                <a:cubicBezTo>
                  <a:pt x="1773222" y="5419209"/>
                  <a:pt x="1589037" y="5081224"/>
                  <a:pt x="1852317" y="4950224"/>
                </a:cubicBezTo>
                <a:lnTo>
                  <a:pt x="1914216" y="4926595"/>
                </a:lnTo>
                <a:close/>
                <a:moveTo>
                  <a:pt x="5285697" y="4798238"/>
                </a:moveTo>
                <a:cubicBezTo>
                  <a:pt x="5268445" y="4795666"/>
                  <a:pt x="5250228" y="4799738"/>
                  <a:pt x="5235226" y="4810882"/>
                </a:cubicBezTo>
                <a:cubicBezTo>
                  <a:pt x="5205223" y="4833172"/>
                  <a:pt x="5199222" y="4875177"/>
                  <a:pt x="5221511" y="4906038"/>
                </a:cubicBezTo>
                <a:cubicBezTo>
                  <a:pt x="5243799" y="4936042"/>
                  <a:pt x="5286661" y="4942900"/>
                  <a:pt x="5316665" y="4920611"/>
                </a:cubicBezTo>
                <a:cubicBezTo>
                  <a:pt x="5346669" y="4898322"/>
                  <a:pt x="5352670" y="4856318"/>
                  <a:pt x="5330381" y="4825456"/>
                </a:cubicBezTo>
                <a:cubicBezTo>
                  <a:pt x="5319237" y="4810025"/>
                  <a:pt x="5302949" y="4800810"/>
                  <a:pt x="5285697" y="4798238"/>
                </a:cubicBezTo>
                <a:close/>
                <a:moveTo>
                  <a:pt x="5149716" y="4681759"/>
                </a:moveTo>
                <a:cubicBezTo>
                  <a:pt x="5129999" y="4678652"/>
                  <a:pt x="5109211" y="4683152"/>
                  <a:pt x="5092066" y="4696011"/>
                </a:cubicBezTo>
                <a:cubicBezTo>
                  <a:pt x="5057776" y="4721728"/>
                  <a:pt x="5050061" y="4770591"/>
                  <a:pt x="5076635" y="4804881"/>
                </a:cubicBezTo>
                <a:cubicBezTo>
                  <a:pt x="5102353" y="4840030"/>
                  <a:pt x="5151216" y="4847745"/>
                  <a:pt x="5185506" y="4822027"/>
                </a:cubicBezTo>
                <a:cubicBezTo>
                  <a:pt x="5219796" y="4796309"/>
                  <a:pt x="5226654" y="4747446"/>
                  <a:pt x="5200936" y="4713156"/>
                </a:cubicBezTo>
                <a:cubicBezTo>
                  <a:pt x="5188077" y="4695583"/>
                  <a:pt x="5169433" y="4684867"/>
                  <a:pt x="5149716" y="4681759"/>
                </a:cubicBezTo>
                <a:close/>
                <a:moveTo>
                  <a:pt x="4961978" y="4656899"/>
                </a:moveTo>
                <a:cubicBezTo>
                  <a:pt x="4940761" y="4653577"/>
                  <a:pt x="4918473" y="4658292"/>
                  <a:pt x="4900042" y="4672008"/>
                </a:cubicBezTo>
                <a:cubicBezTo>
                  <a:pt x="4863180" y="4699440"/>
                  <a:pt x="4855465" y="4752589"/>
                  <a:pt x="4882897" y="4789451"/>
                </a:cubicBezTo>
                <a:cubicBezTo>
                  <a:pt x="4910329" y="4826314"/>
                  <a:pt x="4963478" y="4834886"/>
                  <a:pt x="5000340" y="4807453"/>
                </a:cubicBezTo>
                <a:cubicBezTo>
                  <a:pt x="5038059" y="4780021"/>
                  <a:pt x="5044917" y="4727729"/>
                  <a:pt x="5017485" y="4690010"/>
                </a:cubicBezTo>
                <a:cubicBezTo>
                  <a:pt x="5003340" y="4671579"/>
                  <a:pt x="4983195" y="4660221"/>
                  <a:pt x="4961978" y="4656899"/>
                </a:cubicBezTo>
                <a:close/>
                <a:moveTo>
                  <a:pt x="4998395" y="4598030"/>
                </a:moveTo>
                <a:cubicBezTo>
                  <a:pt x="5253309" y="4596998"/>
                  <a:pt x="5722680" y="4945793"/>
                  <a:pt x="5114354" y="5410101"/>
                </a:cubicBezTo>
                <a:cubicBezTo>
                  <a:pt x="5114354" y="5410101"/>
                  <a:pt x="4946333" y="5510399"/>
                  <a:pt x="4811745" y="5421245"/>
                </a:cubicBezTo>
                <a:cubicBezTo>
                  <a:pt x="4677157" y="5331234"/>
                  <a:pt x="4738879" y="5201789"/>
                  <a:pt x="4821175" y="5069772"/>
                </a:cubicBezTo>
                <a:cubicBezTo>
                  <a:pt x="4902613" y="4938613"/>
                  <a:pt x="4714018" y="4741445"/>
                  <a:pt x="4906043" y="4620573"/>
                </a:cubicBezTo>
                <a:cubicBezTo>
                  <a:pt x="4929939" y="4605464"/>
                  <a:pt x="4961978" y="4598177"/>
                  <a:pt x="4998395" y="4598030"/>
                </a:cubicBezTo>
                <a:close/>
                <a:moveTo>
                  <a:pt x="4274249" y="4584568"/>
                </a:moveTo>
                <a:cubicBezTo>
                  <a:pt x="4274249" y="4584568"/>
                  <a:pt x="4379691" y="4696011"/>
                  <a:pt x="4374548" y="4755161"/>
                </a:cubicBezTo>
                <a:cubicBezTo>
                  <a:pt x="4369404" y="4814311"/>
                  <a:pt x="4257961" y="4835742"/>
                  <a:pt x="4257961" y="4835742"/>
                </a:cubicBezTo>
                <a:cubicBezTo>
                  <a:pt x="4257961" y="4835742"/>
                  <a:pt x="4409695" y="4835742"/>
                  <a:pt x="4411409" y="4762876"/>
                </a:cubicBezTo>
                <a:cubicBezTo>
                  <a:pt x="4412266" y="4690867"/>
                  <a:pt x="4274249" y="4584568"/>
                  <a:pt x="4274249" y="4584568"/>
                </a:cubicBezTo>
                <a:close/>
                <a:moveTo>
                  <a:pt x="3351982" y="4540192"/>
                </a:moveTo>
                <a:cubicBezTo>
                  <a:pt x="3377619" y="4544170"/>
                  <a:pt x="3402426" y="4554779"/>
                  <a:pt x="3423000" y="4575995"/>
                </a:cubicBezTo>
                <a:lnTo>
                  <a:pt x="3655315" y="4575995"/>
                </a:lnTo>
                <a:lnTo>
                  <a:pt x="3655315" y="4916325"/>
                </a:lnTo>
                <a:lnTo>
                  <a:pt x="3417856" y="4918039"/>
                </a:lnTo>
                <a:cubicBezTo>
                  <a:pt x="3417856" y="4918039"/>
                  <a:pt x="3338132" y="4837458"/>
                  <a:pt x="3190684" y="4914610"/>
                </a:cubicBezTo>
                <a:lnTo>
                  <a:pt x="3190684" y="4575995"/>
                </a:lnTo>
                <a:cubicBezTo>
                  <a:pt x="3190684" y="4575995"/>
                  <a:pt x="3275070" y="4528258"/>
                  <a:pt x="3351982" y="4540192"/>
                </a:cubicBezTo>
                <a:close/>
                <a:moveTo>
                  <a:pt x="2448416" y="4421371"/>
                </a:moveTo>
                <a:cubicBezTo>
                  <a:pt x="2452166" y="4422121"/>
                  <a:pt x="2455595" y="4424264"/>
                  <a:pt x="2457738" y="4427692"/>
                </a:cubicBezTo>
                <a:lnTo>
                  <a:pt x="2484119" y="4467601"/>
                </a:lnTo>
                <a:lnTo>
                  <a:pt x="2494346" y="4463537"/>
                </a:lnTo>
                <a:cubicBezTo>
                  <a:pt x="2526051" y="4457750"/>
                  <a:pt x="2559323" y="4470769"/>
                  <a:pt x="2578610" y="4499701"/>
                </a:cubicBezTo>
                <a:cubicBezTo>
                  <a:pt x="2591040" y="4518990"/>
                  <a:pt x="2594684" y="4541279"/>
                  <a:pt x="2590397" y="4561960"/>
                </a:cubicBezTo>
                <a:lnTo>
                  <a:pt x="2583304" y="4578864"/>
                </a:lnTo>
                <a:lnTo>
                  <a:pt x="2600248" y="4591301"/>
                </a:lnTo>
                <a:cubicBezTo>
                  <a:pt x="2715712" y="4676099"/>
                  <a:pt x="3023094" y="4902555"/>
                  <a:pt x="3017521" y="4906038"/>
                </a:cubicBezTo>
                <a:cubicBezTo>
                  <a:pt x="3010663" y="4910324"/>
                  <a:pt x="2910365" y="4886321"/>
                  <a:pt x="2910365" y="4886321"/>
                </a:cubicBezTo>
                <a:cubicBezTo>
                  <a:pt x="2910365" y="4886321"/>
                  <a:pt x="2690962" y="4728640"/>
                  <a:pt x="2580176" y="4648353"/>
                </a:cubicBezTo>
                <a:lnTo>
                  <a:pt x="2571469" y="4642020"/>
                </a:lnTo>
                <a:lnTo>
                  <a:pt x="2632617" y="5059485"/>
                </a:lnTo>
                <a:lnTo>
                  <a:pt x="2611186" y="5161498"/>
                </a:lnTo>
                <a:lnTo>
                  <a:pt x="2574324" y="5065486"/>
                </a:lnTo>
                <a:lnTo>
                  <a:pt x="2504337" y="4626262"/>
                </a:lnTo>
                <a:lnTo>
                  <a:pt x="2492028" y="4626039"/>
                </a:lnTo>
                <a:cubicBezTo>
                  <a:pt x="2471240" y="4621646"/>
                  <a:pt x="2452166" y="4609430"/>
                  <a:pt x="2439736" y="4590570"/>
                </a:cubicBezTo>
                <a:cubicBezTo>
                  <a:pt x="2421091" y="4561638"/>
                  <a:pt x="2422216" y="4525955"/>
                  <a:pt x="2440218" y="4499073"/>
                </a:cubicBezTo>
                <a:lnTo>
                  <a:pt x="2457768" y="4481633"/>
                </a:lnTo>
                <a:lnTo>
                  <a:pt x="2432878" y="4443980"/>
                </a:lnTo>
                <a:cubicBezTo>
                  <a:pt x="2428592" y="4437122"/>
                  <a:pt x="2430306" y="4427692"/>
                  <a:pt x="2437164" y="4423406"/>
                </a:cubicBezTo>
                <a:cubicBezTo>
                  <a:pt x="2440593" y="4421263"/>
                  <a:pt x="2444665" y="4420621"/>
                  <a:pt x="2448416" y="4421371"/>
                </a:cubicBezTo>
                <a:close/>
                <a:moveTo>
                  <a:pt x="1177862" y="4374542"/>
                </a:moveTo>
                <a:cubicBezTo>
                  <a:pt x="1177862" y="4374542"/>
                  <a:pt x="1327023" y="4458553"/>
                  <a:pt x="1272159" y="4609429"/>
                </a:cubicBezTo>
                <a:cubicBezTo>
                  <a:pt x="1272159" y="4609429"/>
                  <a:pt x="1399889" y="4409689"/>
                  <a:pt x="1177862" y="4374542"/>
                </a:cubicBezTo>
                <a:close/>
                <a:moveTo>
                  <a:pt x="1102424" y="4309391"/>
                </a:moveTo>
                <a:lnTo>
                  <a:pt x="1108424" y="4309391"/>
                </a:lnTo>
                <a:lnTo>
                  <a:pt x="1109281" y="4309391"/>
                </a:lnTo>
                <a:lnTo>
                  <a:pt x="1115282" y="4309391"/>
                </a:lnTo>
                <a:cubicBezTo>
                  <a:pt x="1440180" y="4317964"/>
                  <a:pt x="1363885" y="4640290"/>
                  <a:pt x="1276445" y="4720014"/>
                </a:cubicBezTo>
                <a:cubicBezTo>
                  <a:pt x="1186434" y="4799738"/>
                  <a:pt x="1193292" y="4900894"/>
                  <a:pt x="1193292" y="4900894"/>
                </a:cubicBezTo>
                <a:lnTo>
                  <a:pt x="1121283" y="4900894"/>
                </a:lnTo>
                <a:lnTo>
                  <a:pt x="1108424" y="4900894"/>
                </a:lnTo>
                <a:lnTo>
                  <a:pt x="1030415" y="4900894"/>
                </a:lnTo>
                <a:cubicBezTo>
                  <a:pt x="1030415" y="4900894"/>
                  <a:pt x="1033844" y="4800596"/>
                  <a:pt x="944690" y="4720014"/>
                </a:cubicBezTo>
                <a:cubicBezTo>
                  <a:pt x="856393" y="4640290"/>
                  <a:pt x="777526" y="4317964"/>
                  <a:pt x="1102424" y="4309391"/>
                </a:cubicBezTo>
                <a:close/>
                <a:moveTo>
                  <a:pt x="4160235" y="4161086"/>
                </a:moveTo>
                <a:cubicBezTo>
                  <a:pt x="4217671" y="4161086"/>
                  <a:pt x="4264820" y="4179089"/>
                  <a:pt x="4264820" y="4201377"/>
                </a:cubicBezTo>
                <a:cubicBezTo>
                  <a:pt x="4264820" y="4202235"/>
                  <a:pt x="4264820" y="4203092"/>
                  <a:pt x="4264820" y="4203949"/>
                </a:cubicBezTo>
                <a:lnTo>
                  <a:pt x="4269106" y="4203949"/>
                </a:lnTo>
                <a:lnTo>
                  <a:pt x="4269106" y="4279387"/>
                </a:lnTo>
                <a:lnTo>
                  <a:pt x="4264820" y="4279387"/>
                </a:lnTo>
                <a:cubicBezTo>
                  <a:pt x="4263962" y="4287960"/>
                  <a:pt x="4258819" y="4295675"/>
                  <a:pt x="4247675" y="4301676"/>
                </a:cubicBezTo>
                <a:cubicBezTo>
                  <a:pt x="4247675" y="4337680"/>
                  <a:pt x="4247675" y="4444836"/>
                  <a:pt x="4247675" y="4473126"/>
                </a:cubicBezTo>
                <a:cubicBezTo>
                  <a:pt x="4247675" y="4506559"/>
                  <a:pt x="4263962" y="4515131"/>
                  <a:pt x="4263962" y="4515131"/>
                </a:cubicBezTo>
                <a:cubicBezTo>
                  <a:pt x="4302538" y="4538276"/>
                  <a:pt x="4524566" y="4764591"/>
                  <a:pt x="4425983" y="4833171"/>
                </a:cubicBezTo>
                <a:cubicBezTo>
                  <a:pt x="4337686" y="4894893"/>
                  <a:pt x="4190239" y="4892321"/>
                  <a:pt x="4161091" y="4891464"/>
                </a:cubicBezTo>
                <a:cubicBezTo>
                  <a:pt x="4131945" y="4892321"/>
                  <a:pt x="3983640" y="4894893"/>
                  <a:pt x="3896201" y="4833171"/>
                </a:cubicBezTo>
                <a:cubicBezTo>
                  <a:pt x="3798475" y="4764591"/>
                  <a:pt x="4023931" y="4538276"/>
                  <a:pt x="4062507" y="4515131"/>
                </a:cubicBezTo>
                <a:cubicBezTo>
                  <a:pt x="4062507" y="4515131"/>
                  <a:pt x="4085653" y="4506559"/>
                  <a:pt x="4085653" y="4473126"/>
                </a:cubicBezTo>
                <a:cubicBezTo>
                  <a:pt x="4085653" y="4445693"/>
                  <a:pt x="4085653" y="4339395"/>
                  <a:pt x="4085653" y="4302533"/>
                </a:cubicBezTo>
                <a:cubicBezTo>
                  <a:pt x="4064222" y="4296532"/>
                  <a:pt x="4057364" y="4287960"/>
                  <a:pt x="4055650" y="4279387"/>
                </a:cubicBezTo>
                <a:lnTo>
                  <a:pt x="4053935" y="4279387"/>
                </a:lnTo>
                <a:lnTo>
                  <a:pt x="4053935" y="4203949"/>
                </a:lnTo>
                <a:lnTo>
                  <a:pt x="4055650" y="4203949"/>
                </a:lnTo>
                <a:cubicBezTo>
                  <a:pt x="4055650" y="4203092"/>
                  <a:pt x="4055650" y="4202235"/>
                  <a:pt x="4055650" y="4201377"/>
                </a:cubicBezTo>
                <a:cubicBezTo>
                  <a:pt x="4055650" y="4179089"/>
                  <a:pt x="4102798" y="4161086"/>
                  <a:pt x="4160235" y="4161086"/>
                </a:cubicBezTo>
                <a:close/>
                <a:moveTo>
                  <a:pt x="1690622" y="3905928"/>
                </a:moveTo>
                <a:cubicBezTo>
                  <a:pt x="1643577" y="3910087"/>
                  <a:pt x="1597165" y="3927808"/>
                  <a:pt x="1557624" y="3959633"/>
                </a:cubicBezTo>
                <a:cubicBezTo>
                  <a:pt x="1452182" y="4044502"/>
                  <a:pt x="1436751" y="4198807"/>
                  <a:pt x="1521619" y="4304248"/>
                </a:cubicBezTo>
                <a:cubicBezTo>
                  <a:pt x="1606488" y="4409690"/>
                  <a:pt x="1760793" y="4425121"/>
                  <a:pt x="1866235" y="4340253"/>
                </a:cubicBezTo>
                <a:cubicBezTo>
                  <a:pt x="1970819" y="4255385"/>
                  <a:pt x="1987107" y="4101080"/>
                  <a:pt x="1902239" y="3995637"/>
                </a:cubicBezTo>
                <a:cubicBezTo>
                  <a:pt x="1849197" y="3929737"/>
                  <a:pt x="1769030" y="3898996"/>
                  <a:pt x="1690622" y="3905928"/>
                </a:cubicBezTo>
                <a:close/>
                <a:moveTo>
                  <a:pt x="1684921" y="3849926"/>
                </a:moveTo>
                <a:cubicBezTo>
                  <a:pt x="1781219" y="3841547"/>
                  <a:pt x="1879736" y="3879587"/>
                  <a:pt x="1945102" y="3960490"/>
                </a:cubicBezTo>
                <a:cubicBezTo>
                  <a:pt x="2037364" y="4073005"/>
                  <a:pt x="2033801" y="4232775"/>
                  <a:pt x="1944751" y="4341023"/>
                </a:cubicBezTo>
                <a:lnTo>
                  <a:pt x="1930222" y="4355411"/>
                </a:lnTo>
                <a:lnTo>
                  <a:pt x="1980119" y="4416919"/>
                </a:lnTo>
                <a:lnTo>
                  <a:pt x="1986891" y="4416333"/>
                </a:lnTo>
                <a:cubicBezTo>
                  <a:pt x="2003394" y="4418048"/>
                  <a:pt x="2019253" y="4425977"/>
                  <a:pt x="2030826" y="4439693"/>
                </a:cubicBezTo>
                <a:lnTo>
                  <a:pt x="2204848" y="4654864"/>
                </a:lnTo>
                <a:cubicBezTo>
                  <a:pt x="2227136" y="4683153"/>
                  <a:pt x="2222850" y="4723444"/>
                  <a:pt x="2195418" y="4746590"/>
                </a:cubicBezTo>
                <a:cubicBezTo>
                  <a:pt x="2167129" y="4768878"/>
                  <a:pt x="2126838" y="4764592"/>
                  <a:pt x="2103692" y="4737160"/>
                </a:cubicBezTo>
                <a:lnTo>
                  <a:pt x="1929670" y="4521990"/>
                </a:lnTo>
                <a:cubicBezTo>
                  <a:pt x="1918526" y="4507845"/>
                  <a:pt x="1914026" y="4490700"/>
                  <a:pt x="1915740" y="4474198"/>
                </a:cubicBezTo>
                <a:lnTo>
                  <a:pt x="1917360" y="4468826"/>
                </a:lnTo>
                <a:lnTo>
                  <a:pt x="1866912" y="4406639"/>
                </a:lnTo>
                <a:lnTo>
                  <a:pt x="1850557" y="4417393"/>
                </a:lnTo>
                <a:cubicBezTo>
                  <a:pt x="1726557" y="4481914"/>
                  <a:pt x="1569412" y="4452660"/>
                  <a:pt x="1477899" y="4339396"/>
                </a:cubicBezTo>
                <a:cubicBezTo>
                  <a:pt x="1372458" y="4210808"/>
                  <a:pt x="1392174" y="4020499"/>
                  <a:pt x="1521619" y="3915913"/>
                </a:cubicBezTo>
                <a:cubicBezTo>
                  <a:pt x="1570161" y="3876694"/>
                  <a:pt x="1627142" y="3854954"/>
                  <a:pt x="1684921" y="3849926"/>
                </a:cubicBezTo>
                <a:close/>
                <a:moveTo>
                  <a:pt x="812246" y="3781539"/>
                </a:moveTo>
                <a:cubicBezTo>
                  <a:pt x="816103" y="3781325"/>
                  <a:pt x="819961" y="3782611"/>
                  <a:pt x="822961" y="3785611"/>
                </a:cubicBezTo>
                <a:cubicBezTo>
                  <a:pt x="828962" y="3791612"/>
                  <a:pt x="829819" y="3801042"/>
                  <a:pt x="823818" y="3807042"/>
                </a:cubicBezTo>
                <a:lnTo>
                  <a:pt x="792194" y="3842032"/>
                </a:lnTo>
                <a:lnTo>
                  <a:pt x="798502" y="3850722"/>
                </a:lnTo>
                <a:cubicBezTo>
                  <a:pt x="811923" y="3880016"/>
                  <a:pt x="807744" y="3915699"/>
                  <a:pt x="785241" y="3940773"/>
                </a:cubicBezTo>
                <a:cubicBezTo>
                  <a:pt x="769810" y="3957489"/>
                  <a:pt x="749022" y="3966490"/>
                  <a:pt x="727912" y="3967562"/>
                </a:cubicBezTo>
                <a:lnTo>
                  <a:pt x="709923" y="3965051"/>
                </a:lnTo>
                <a:lnTo>
                  <a:pt x="701209" y="3986914"/>
                </a:lnTo>
                <a:cubicBezTo>
                  <a:pt x="648195" y="4119828"/>
                  <a:pt x="506367" y="4473875"/>
                  <a:pt x="501492" y="4469697"/>
                </a:cubicBezTo>
                <a:cubicBezTo>
                  <a:pt x="496348" y="4464553"/>
                  <a:pt x="493776" y="4360826"/>
                  <a:pt x="493776" y="4360826"/>
                </a:cubicBezTo>
                <a:cubicBezTo>
                  <a:pt x="493776" y="4360826"/>
                  <a:pt x="591181" y="4108151"/>
                  <a:pt x="640969" y="3980729"/>
                </a:cubicBezTo>
                <a:lnTo>
                  <a:pt x="644840" y="3970847"/>
                </a:lnTo>
                <a:lnTo>
                  <a:pt x="257175" y="4134512"/>
                </a:lnTo>
                <a:lnTo>
                  <a:pt x="152590" y="4139655"/>
                </a:lnTo>
                <a:lnTo>
                  <a:pt x="236601" y="4079647"/>
                </a:lnTo>
                <a:lnTo>
                  <a:pt x="644257" y="3901600"/>
                </a:lnTo>
                <a:lnTo>
                  <a:pt x="641223" y="3889445"/>
                </a:lnTo>
                <a:cubicBezTo>
                  <a:pt x="640151" y="3868336"/>
                  <a:pt x="647223" y="3846904"/>
                  <a:pt x="662654" y="3830188"/>
                </a:cubicBezTo>
                <a:cubicBezTo>
                  <a:pt x="678084" y="3813043"/>
                  <a:pt x="698873" y="3803828"/>
                  <a:pt x="719983" y="3802756"/>
                </a:cubicBezTo>
                <a:cubicBezTo>
                  <a:pt x="730538" y="3802220"/>
                  <a:pt x="741174" y="3803720"/>
                  <a:pt x="751260" y="3807283"/>
                </a:cubicBezTo>
                <a:lnTo>
                  <a:pt x="771606" y="3819575"/>
                </a:lnTo>
                <a:lnTo>
                  <a:pt x="801530" y="3786468"/>
                </a:lnTo>
                <a:cubicBezTo>
                  <a:pt x="804530" y="3783468"/>
                  <a:pt x="808388" y="3781754"/>
                  <a:pt x="812246" y="3781539"/>
                </a:cubicBezTo>
                <a:close/>
                <a:moveTo>
                  <a:pt x="5496913" y="3702672"/>
                </a:moveTo>
                <a:lnTo>
                  <a:pt x="5456397" y="3737606"/>
                </a:lnTo>
                <a:cubicBezTo>
                  <a:pt x="5456397" y="3737606"/>
                  <a:pt x="5471399" y="3722175"/>
                  <a:pt x="5490901" y="3706745"/>
                </a:cubicBezTo>
                <a:close/>
                <a:moveTo>
                  <a:pt x="5797583" y="3639879"/>
                </a:moveTo>
                <a:cubicBezTo>
                  <a:pt x="5797583" y="3639879"/>
                  <a:pt x="5800289" y="3640884"/>
                  <a:pt x="5805112" y="3642965"/>
                </a:cubicBezTo>
                <a:lnTo>
                  <a:pt x="5820840" y="3650383"/>
                </a:lnTo>
                <a:close/>
                <a:moveTo>
                  <a:pt x="5699857" y="3627877"/>
                </a:moveTo>
                <a:lnTo>
                  <a:pt x="5704143" y="3631306"/>
                </a:lnTo>
                <a:cubicBezTo>
                  <a:pt x="5704143" y="3631306"/>
                  <a:pt x="5701571" y="3635593"/>
                  <a:pt x="5699857" y="3638164"/>
                </a:cubicBezTo>
                <a:cubicBezTo>
                  <a:pt x="5698999" y="3640736"/>
                  <a:pt x="5703285" y="3639022"/>
                  <a:pt x="5703285" y="3639022"/>
                </a:cubicBezTo>
                <a:cubicBezTo>
                  <a:pt x="5703285" y="3639022"/>
                  <a:pt x="5717002" y="3645880"/>
                  <a:pt x="5717002" y="3648451"/>
                </a:cubicBezTo>
                <a:cubicBezTo>
                  <a:pt x="5717002" y="3651023"/>
                  <a:pt x="5711001" y="3653595"/>
                  <a:pt x="5698999" y="3652738"/>
                </a:cubicBezTo>
                <a:cubicBezTo>
                  <a:pt x="5686997" y="3651881"/>
                  <a:pt x="5692998" y="3654452"/>
                  <a:pt x="5677567" y="3646737"/>
                </a:cubicBezTo>
                <a:cubicBezTo>
                  <a:pt x="5661279" y="3639022"/>
                  <a:pt x="5662994" y="3659596"/>
                  <a:pt x="5656993" y="3664739"/>
                </a:cubicBezTo>
                <a:cubicBezTo>
                  <a:pt x="5650135" y="3669883"/>
                  <a:pt x="5650135" y="3671597"/>
                  <a:pt x="5645849" y="3681027"/>
                </a:cubicBezTo>
                <a:cubicBezTo>
                  <a:pt x="5642420" y="3690457"/>
                  <a:pt x="5645849" y="3681027"/>
                  <a:pt x="5656136" y="3687028"/>
                </a:cubicBezTo>
                <a:cubicBezTo>
                  <a:pt x="5666423" y="3693028"/>
                  <a:pt x="5660422" y="3688742"/>
                  <a:pt x="5665566" y="3687885"/>
                </a:cubicBezTo>
                <a:cubicBezTo>
                  <a:pt x="5670709" y="3687885"/>
                  <a:pt x="5685282" y="3684456"/>
                  <a:pt x="5689569" y="3683599"/>
                </a:cubicBezTo>
                <a:cubicBezTo>
                  <a:pt x="5693855" y="3682741"/>
                  <a:pt x="5696427" y="3683599"/>
                  <a:pt x="5695569" y="3698172"/>
                </a:cubicBezTo>
                <a:cubicBezTo>
                  <a:pt x="5694713" y="3713602"/>
                  <a:pt x="5695569" y="3698172"/>
                  <a:pt x="5717859" y="3709316"/>
                </a:cubicBezTo>
                <a:cubicBezTo>
                  <a:pt x="5740148" y="3719603"/>
                  <a:pt x="5713573" y="3719603"/>
                  <a:pt x="5730718" y="3723889"/>
                </a:cubicBezTo>
                <a:cubicBezTo>
                  <a:pt x="5747863" y="3728176"/>
                  <a:pt x="5728146" y="3729033"/>
                  <a:pt x="5715287" y="3734176"/>
                </a:cubicBezTo>
                <a:cubicBezTo>
                  <a:pt x="5702427" y="3740177"/>
                  <a:pt x="5708429" y="3733319"/>
                  <a:pt x="5699857" y="3744463"/>
                </a:cubicBezTo>
                <a:cubicBezTo>
                  <a:pt x="5691283" y="3755608"/>
                  <a:pt x="5701571" y="3752179"/>
                  <a:pt x="5705857" y="3753893"/>
                </a:cubicBezTo>
                <a:cubicBezTo>
                  <a:pt x="5710143" y="3755608"/>
                  <a:pt x="5717859" y="3753893"/>
                  <a:pt x="5722145" y="3750464"/>
                </a:cubicBezTo>
                <a:cubicBezTo>
                  <a:pt x="5725574" y="3747035"/>
                  <a:pt x="5729003" y="3748750"/>
                  <a:pt x="5729003" y="3748750"/>
                </a:cubicBezTo>
                <a:cubicBezTo>
                  <a:pt x="5729003" y="3748750"/>
                  <a:pt x="5738433" y="3740177"/>
                  <a:pt x="5747863" y="3745321"/>
                </a:cubicBezTo>
                <a:cubicBezTo>
                  <a:pt x="5757293" y="3750464"/>
                  <a:pt x="5747863" y="3745321"/>
                  <a:pt x="5750435" y="3742749"/>
                </a:cubicBezTo>
                <a:cubicBezTo>
                  <a:pt x="5753006" y="3741034"/>
                  <a:pt x="5757293" y="3741892"/>
                  <a:pt x="5760722" y="3738463"/>
                </a:cubicBezTo>
                <a:cubicBezTo>
                  <a:pt x="5764150" y="3735891"/>
                  <a:pt x="5771866" y="3733319"/>
                  <a:pt x="5794154" y="3741892"/>
                </a:cubicBezTo>
                <a:cubicBezTo>
                  <a:pt x="5817300" y="3750464"/>
                  <a:pt x="5795869" y="3748750"/>
                  <a:pt x="5806156" y="3753036"/>
                </a:cubicBezTo>
                <a:cubicBezTo>
                  <a:pt x="5815585" y="3757322"/>
                  <a:pt x="5809585" y="3755608"/>
                  <a:pt x="5810442" y="3749607"/>
                </a:cubicBezTo>
                <a:cubicBezTo>
                  <a:pt x="5811299" y="3743606"/>
                  <a:pt x="5811299" y="3735034"/>
                  <a:pt x="5814728" y="3733319"/>
                </a:cubicBezTo>
                <a:cubicBezTo>
                  <a:pt x="5818157" y="3732462"/>
                  <a:pt x="5820729" y="3734176"/>
                  <a:pt x="5825015" y="3737606"/>
                </a:cubicBezTo>
                <a:cubicBezTo>
                  <a:pt x="5829302" y="3741034"/>
                  <a:pt x="5838731" y="3718746"/>
                  <a:pt x="5849018" y="3723032"/>
                </a:cubicBezTo>
                <a:cubicBezTo>
                  <a:pt x="5858448" y="3727318"/>
                  <a:pt x="5851590" y="3724747"/>
                  <a:pt x="5861877" y="3731605"/>
                </a:cubicBezTo>
                <a:cubicBezTo>
                  <a:pt x="5872164" y="3738463"/>
                  <a:pt x="5861877" y="3741892"/>
                  <a:pt x="5856733" y="3746178"/>
                </a:cubicBezTo>
                <a:cubicBezTo>
                  <a:pt x="5850733" y="3751321"/>
                  <a:pt x="5853305" y="3743606"/>
                  <a:pt x="5844732" y="3741034"/>
                </a:cubicBezTo>
                <a:cubicBezTo>
                  <a:pt x="5836160" y="3738463"/>
                  <a:pt x="5841303" y="3742749"/>
                  <a:pt x="5828444" y="3754751"/>
                </a:cubicBezTo>
                <a:cubicBezTo>
                  <a:pt x="5815585" y="3765895"/>
                  <a:pt x="5828444" y="3754751"/>
                  <a:pt x="5831016" y="3761608"/>
                </a:cubicBezTo>
                <a:cubicBezTo>
                  <a:pt x="5833588" y="3768466"/>
                  <a:pt x="5840446" y="3759037"/>
                  <a:pt x="5847304" y="3761608"/>
                </a:cubicBezTo>
                <a:cubicBezTo>
                  <a:pt x="5854162" y="3764180"/>
                  <a:pt x="5852447" y="3764180"/>
                  <a:pt x="5861877" y="3765895"/>
                </a:cubicBezTo>
                <a:cubicBezTo>
                  <a:pt x="5871307" y="3767609"/>
                  <a:pt x="5861877" y="3765895"/>
                  <a:pt x="5863592" y="3771896"/>
                </a:cubicBezTo>
                <a:cubicBezTo>
                  <a:pt x="5864449" y="3777896"/>
                  <a:pt x="5867878" y="3772753"/>
                  <a:pt x="5877308" y="3777039"/>
                </a:cubicBezTo>
                <a:cubicBezTo>
                  <a:pt x="5886737" y="3782182"/>
                  <a:pt x="5880737" y="3779611"/>
                  <a:pt x="5877308" y="3786469"/>
                </a:cubicBezTo>
                <a:cubicBezTo>
                  <a:pt x="5874736" y="3793327"/>
                  <a:pt x="5874736" y="3786469"/>
                  <a:pt x="5871307" y="3784754"/>
                </a:cubicBezTo>
                <a:cubicBezTo>
                  <a:pt x="5867878" y="3783040"/>
                  <a:pt x="5867020" y="3783040"/>
                  <a:pt x="5859305" y="3787326"/>
                </a:cubicBezTo>
                <a:cubicBezTo>
                  <a:pt x="5851590" y="3791612"/>
                  <a:pt x="5850733" y="3788183"/>
                  <a:pt x="5847304" y="3789898"/>
                </a:cubicBezTo>
                <a:cubicBezTo>
                  <a:pt x="5843875" y="3791612"/>
                  <a:pt x="5842160" y="3788183"/>
                  <a:pt x="5824158" y="3786469"/>
                </a:cubicBezTo>
                <a:cubicBezTo>
                  <a:pt x="5806156" y="3784754"/>
                  <a:pt x="5824158" y="3786469"/>
                  <a:pt x="5813871" y="3796756"/>
                </a:cubicBezTo>
                <a:cubicBezTo>
                  <a:pt x="5803584" y="3807043"/>
                  <a:pt x="5813871" y="3796756"/>
                  <a:pt x="5807013" y="3796756"/>
                </a:cubicBezTo>
                <a:cubicBezTo>
                  <a:pt x="5800155" y="3796756"/>
                  <a:pt x="5797583" y="3794184"/>
                  <a:pt x="5793297" y="3791612"/>
                </a:cubicBezTo>
                <a:cubicBezTo>
                  <a:pt x="5788153" y="3789041"/>
                  <a:pt x="5790725" y="3787326"/>
                  <a:pt x="5781295" y="3787326"/>
                </a:cubicBezTo>
                <a:cubicBezTo>
                  <a:pt x="5771866" y="3787326"/>
                  <a:pt x="5781295" y="3787326"/>
                  <a:pt x="5771866" y="3786469"/>
                </a:cubicBezTo>
                <a:cubicBezTo>
                  <a:pt x="5763293" y="3785611"/>
                  <a:pt x="5768437" y="3780468"/>
                  <a:pt x="5767580" y="3768466"/>
                </a:cubicBezTo>
                <a:cubicBezTo>
                  <a:pt x="5766722" y="3756465"/>
                  <a:pt x="5767580" y="3768466"/>
                  <a:pt x="5762436" y="3767609"/>
                </a:cubicBezTo>
                <a:cubicBezTo>
                  <a:pt x="5757293" y="3766752"/>
                  <a:pt x="5759007" y="3765895"/>
                  <a:pt x="5755578" y="3765895"/>
                </a:cubicBezTo>
                <a:cubicBezTo>
                  <a:pt x="5753006" y="3765895"/>
                  <a:pt x="5755578" y="3765895"/>
                  <a:pt x="5742719" y="3768466"/>
                </a:cubicBezTo>
                <a:cubicBezTo>
                  <a:pt x="5729860" y="3771038"/>
                  <a:pt x="5738433" y="3769324"/>
                  <a:pt x="5734147" y="3769324"/>
                </a:cubicBezTo>
                <a:cubicBezTo>
                  <a:pt x="5729860" y="3769324"/>
                  <a:pt x="5728146" y="3770181"/>
                  <a:pt x="5721288" y="3771896"/>
                </a:cubicBezTo>
                <a:cubicBezTo>
                  <a:pt x="5714430" y="3773610"/>
                  <a:pt x="5716145" y="3771896"/>
                  <a:pt x="5712715" y="3772753"/>
                </a:cubicBezTo>
                <a:cubicBezTo>
                  <a:pt x="5710143" y="3772753"/>
                  <a:pt x="5703285" y="3780468"/>
                  <a:pt x="5698999" y="3784754"/>
                </a:cubicBezTo>
                <a:cubicBezTo>
                  <a:pt x="5693855" y="3789041"/>
                  <a:pt x="5686140" y="3792469"/>
                  <a:pt x="5679282" y="3791612"/>
                </a:cubicBezTo>
                <a:cubicBezTo>
                  <a:pt x="5672424" y="3791612"/>
                  <a:pt x="5674996" y="3793327"/>
                  <a:pt x="5671567" y="3795898"/>
                </a:cubicBezTo>
                <a:cubicBezTo>
                  <a:pt x="5668137" y="3797613"/>
                  <a:pt x="5665566" y="3805328"/>
                  <a:pt x="5663851" y="3808757"/>
                </a:cubicBezTo>
                <a:cubicBezTo>
                  <a:pt x="5662137" y="3811329"/>
                  <a:pt x="5651850" y="3816472"/>
                  <a:pt x="5644134" y="3830188"/>
                </a:cubicBezTo>
                <a:cubicBezTo>
                  <a:pt x="5636419" y="3843904"/>
                  <a:pt x="5638134" y="3839618"/>
                  <a:pt x="5646706" y="3858478"/>
                </a:cubicBezTo>
                <a:cubicBezTo>
                  <a:pt x="5655279" y="3877337"/>
                  <a:pt x="5641563" y="3863621"/>
                  <a:pt x="5641563" y="3873051"/>
                </a:cubicBezTo>
                <a:cubicBezTo>
                  <a:pt x="5641563" y="3881623"/>
                  <a:pt x="5639848" y="3877337"/>
                  <a:pt x="5636419" y="3885052"/>
                </a:cubicBezTo>
                <a:cubicBezTo>
                  <a:pt x="5632990" y="3892768"/>
                  <a:pt x="5636419" y="3885052"/>
                  <a:pt x="5644992" y="3894482"/>
                </a:cubicBezTo>
                <a:cubicBezTo>
                  <a:pt x="5653564" y="3903912"/>
                  <a:pt x="5644992" y="3894482"/>
                  <a:pt x="5650135" y="3900483"/>
                </a:cubicBezTo>
                <a:cubicBezTo>
                  <a:pt x="5656136" y="3907341"/>
                  <a:pt x="5651850" y="3905626"/>
                  <a:pt x="5652707" y="3912484"/>
                </a:cubicBezTo>
                <a:cubicBezTo>
                  <a:pt x="5653564" y="3919342"/>
                  <a:pt x="5655279" y="3915913"/>
                  <a:pt x="5662137" y="3920200"/>
                </a:cubicBezTo>
                <a:cubicBezTo>
                  <a:pt x="5668995" y="3924486"/>
                  <a:pt x="5665566" y="3923629"/>
                  <a:pt x="5668995" y="3931344"/>
                </a:cubicBezTo>
                <a:cubicBezTo>
                  <a:pt x="5672424" y="3939059"/>
                  <a:pt x="5673281" y="3933058"/>
                  <a:pt x="5680139" y="3937345"/>
                </a:cubicBezTo>
                <a:cubicBezTo>
                  <a:pt x="5687854" y="3941631"/>
                  <a:pt x="5698141" y="3938202"/>
                  <a:pt x="5707571" y="3938202"/>
                </a:cubicBezTo>
                <a:cubicBezTo>
                  <a:pt x="5717002" y="3938202"/>
                  <a:pt x="5719573" y="3939059"/>
                  <a:pt x="5726432" y="3935630"/>
                </a:cubicBezTo>
                <a:cubicBezTo>
                  <a:pt x="5734147" y="3933058"/>
                  <a:pt x="5741862" y="3933058"/>
                  <a:pt x="5746148" y="3929629"/>
                </a:cubicBezTo>
                <a:cubicBezTo>
                  <a:pt x="5750435" y="3926201"/>
                  <a:pt x="5754721" y="3927058"/>
                  <a:pt x="5757293" y="3928772"/>
                </a:cubicBezTo>
                <a:cubicBezTo>
                  <a:pt x="5759864" y="3930487"/>
                  <a:pt x="5758150" y="3934773"/>
                  <a:pt x="5765008" y="3939916"/>
                </a:cubicBezTo>
                <a:cubicBezTo>
                  <a:pt x="5771866" y="3945060"/>
                  <a:pt x="5771866" y="3938202"/>
                  <a:pt x="5776152" y="3937345"/>
                </a:cubicBezTo>
                <a:cubicBezTo>
                  <a:pt x="5780438" y="3936487"/>
                  <a:pt x="5792440" y="3944203"/>
                  <a:pt x="5792440" y="3944203"/>
                </a:cubicBezTo>
                <a:cubicBezTo>
                  <a:pt x="5792440" y="3944203"/>
                  <a:pt x="5791583" y="3950203"/>
                  <a:pt x="5789011" y="3960491"/>
                </a:cubicBezTo>
                <a:cubicBezTo>
                  <a:pt x="5786439" y="3970777"/>
                  <a:pt x="5789011" y="3960491"/>
                  <a:pt x="5789011" y="3966491"/>
                </a:cubicBezTo>
                <a:cubicBezTo>
                  <a:pt x="5789011" y="3972492"/>
                  <a:pt x="5790725" y="3988780"/>
                  <a:pt x="5790725" y="3988780"/>
                </a:cubicBezTo>
                <a:cubicBezTo>
                  <a:pt x="5790725" y="3988780"/>
                  <a:pt x="5794154" y="3993066"/>
                  <a:pt x="5798440" y="3999924"/>
                </a:cubicBezTo>
                <a:cubicBezTo>
                  <a:pt x="5802727" y="4006782"/>
                  <a:pt x="5802727" y="4005067"/>
                  <a:pt x="5803584" y="4007639"/>
                </a:cubicBezTo>
                <a:cubicBezTo>
                  <a:pt x="5804441" y="4010211"/>
                  <a:pt x="5810442" y="4016212"/>
                  <a:pt x="5812157" y="4020498"/>
                </a:cubicBezTo>
                <a:cubicBezTo>
                  <a:pt x="5813871" y="4023927"/>
                  <a:pt x="5813871" y="4026499"/>
                  <a:pt x="5814728" y="4032499"/>
                </a:cubicBezTo>
                <a:cubicBezTo>
                  <a:pt x="5815585" y="4039358"/>
                  <a:pt x="5809585" y="4040215"/>
                  <a:pt x="5803584" y="4044501"/>
                </a:cubicBezTo>
                <a:cubicBezTo>
                  <a:pt x="5797583" y="4048787"/>
                  <a:pt x="5801012" y="4050502"/>
                  <a:pt x="5798440" y="4060789"/>
                </a:cubicBezTo>
                <a:cubicBezTo>
                  <a:pt x="5795869" y="4071075"/>
                  <a:pt x="5798440" y="4060789"/>
                  <a:pt x="5794154" y="4071075"/>
                </a:cubicBezTo>
                <a:cubicBezTo>
                  <a:pt x="5789868" y="4081363"/>
                  <a:pt x="5795012" y="4075362"/>
                  <a:pt x="5801012" y="4081363"/>
                </a:cubicBezTo>
                <a:cubicBezTo>
                  <a:pt x="5807870" y="4087363"/>
                  <a:pt x="5807013" y="4083934"/>
                  <a:pt x="5811299" y="4094221"/>
                </a:cubicBezTo>
                <a:cubicBezTo>
                  <a:pt x="5816443" y="4103651"/>
                  <a:pt x="5813014" y="4097651"/>
                  <a:pt x="5813871" y="4106223"/>
                </a:cubicBezTo>
                <a:cubicBezTo>
                  <a:pt x="5814728" y="4114796"/>
                  <a:pt x="5813871" y="4106223"/>
                  <a:pt x="5813871" y="4115653"/>
                </a:cubicBezTo>
                <a:cubicBezTo>
                  <a:pt x="5813871" y="4124225"/>
                  <a:pt x="5813871" y="4115653"/>
                  <a:pt x="5819015" y="4127654"/>
                </a:cubicBezTo>
                <a:cubicBezTo>
                  <a:pt x="5824158" y="4139655"/>
                  <a:pt x="5819872" y="4132798"/>
                  <a:pt x="5825873" y="4143942"/>
                </a:cubicBezTo>
                <a:cubicBezTo>
                  <a:pt x="5832730" y="4155086"/>
                  <a:pt x="5825873" y="4143942"/>
                  <a:pt x="5830159" y="4143942"/>
                </a:cubicBezTo>
                <a:cubicBezTo>
                  <a:pt x="5834445" y="4143942"/>
                  <a:pt x="5845589" y="4138798"/>
                  <a:pt x="5848161" y="4136227"/>
                </a:cubicBezTo>
                <a:cubicBezTo>
                  <a:pt x="5850733" y="4133655"/>
                  <a:pt x="5866163" y="4127654"/>
                  <a:pt x="5870450" y="4126797"/>
                </a:cubicBezTo>
                <a:cubicBezTo>
                  <a:pt x="5875593" y="4125940"/>
                  <a:pt x="5873878" y="4117367"/>
                  <a:pt x="5873878" y="4117367"/>
                </a:cubicBezTo>
                <a:lnTo>
                  <a:pt x="5888452" y="4105365"/>
                </a:lnTo>
                <a:lnTo>
                  <a:pt x="5900453" y="4087363"/>
                </a:lnTo>
                <a:cubicBezTo>
                  <a:pt x="5900453" y="4087363"/>
                  <a:pt x="5900453" y="4077934"/>
                  <a:pt x="5900453" y="4075362"/>
                </a:cubicBezTo>
                <a:cubicBezTo>
                  <a:pt x="5900453" y="4073648"/>
                  <a:pt x="5907311" y="4072790"/>
                  <a:pt x="5911598" y="4071933"/>
                </a:cubicBezTo>
                <a:cubicBezTo>
                  <a:pt x="5915027" y="4071075"/>
                  <a:pt x="5914169" y="4066789"/>
                  <a:pt x="5915884" y="4064218"/>
                </a:cubicBezTo>
                <a:cubicBezTo>
                  <a:pt x="5917598" y="4062503"/>
                  <a:pt x="5923599" y="4053073"/>
                  <a:pt x="5929600" y="4051359"/>
                </a:cubicBezTo>
                <a:cubicBezTo>
                  <a:pt x="5936458" y="4050502"/>
                  <a:pt x="5924456" y="4039358"/>
                  <a:pt x="5924456" y="4039358"/>
                </a:cubicBezTo>
                <a:cubicBezTo>
                  <a:pt x="5924456" y="4039358"/>
                  <a:pt x="5933029" y="4033357"/>
                  <a:pt x="5934743" y="4027356"/>
                </a:cubicBezTo>
                <a:cubicBezTo>
                  <a:pt x="5936458" y="4021355"/>
                  <a:pt x="5934743" y="4009354"/>
                  <a:pt x="5933886" y="4005925"/>
                </a:cubicBezTo>
                <a:cubicBezTo>
                  <a:pt x="5933029" y="4003353"/>
                  <a:pt x="5933886" y="3991351"/>
                  <a:pt x="5933886" y="3991351"/>
                </a:cubicBezTo>
                <a:lnTo>
                  <a:pt x="5940744" y="3982779"/>
                </a:lnTo>
                <a:cubicBezTo>
                  <a:pt x="5940744" y="3982779"/>
                  <a:pt x="5941601" y="3967348"/>
                  <a:pt x="5944173" y="3965634"/>
                </a:cubicBezTo>
                <a:cubicBezTo>
                  <a:pt x="5946745" y="3963919"/>
                  <a:pt x="5951031" y="3953632"/>
                  <a:pt x="5955317" y="3953632"/>
                </a:cubicBezTo>
                <a:cubicBezTo>
                  <a:pt x="5959603" y="3953632"/>
                  <a:pt x="5958746" y="3930487"/>
                  <a:pt x="5958746" y="3930487"/>
                </a:cubicBezTo>
                <a:lnTo>
                  <a:pt x="5965604" y="3917628"/>
                </a:lnTo>
                <a:cubicBezTo>
                  <a:pt x="5965604" y="3917628"/>
                  <a:pt x="5968176" y="3904769"/>
                  <a:pt x="5968176" y="3902197"/>
                </a:cubicBezTo>
                <a:cubicBezTo>
                  <a:pt x="5968176" y="3899626"/>
                  <a:pt x="5961318" y="3894482"/>
                  <a:pt x="5961318" y="3894482"/>
                </a:cubicBezTo>
                <a:cubicBezTo>
                  <a:pt x="5961318" y="3894482"/>
                  <a:pt x="5954460" y="3894482"/>
                  <a:pt x="5949317" y="3897054"/>
                </a:cubicBezTo>
                <a:cubicBezTo>
                  <a:pt x="5944173" y="3899626"/>
                  <a:pt x="5945888" y="3897911"/>
                  <a:pt x="5942458" y="3898768"/>
                </a:cubicBezTo>
                <a:cubicBezTo>
                  <a:pt x="5939030" y="3899626"/>
                  <a:pt x="5938172" y="3897054"/>
                  <a:pt x="5933029" y="3895339"/>
                </a:cubicBezTo>
                <a:cubicBezTo>
                  <a:pt x="5927885" y="3893625"/>
                  <a:pt x="5932172" y="3888481"/>
                  <a:pt x="5933029" y="3884195"/>
                </a:cubicBezTo>
                <a:cubicBezTo>
                  <a:pt x="5933886" y="3879909"/>
                  <a:pt x="5925313" y="3880766"/>
                  <a:pt x="5921885" y="3879909"/>
                </a:cubicBezTo>
                <a:cubicBezTo>
                  <a:pt x="5919313" y="3879052"/>
                  <a:pt x="5918455" y="3869622"/>
                  <a:pt x="5915884" y="3867050"/>
                </a:cubicBezTo>
                <a:cubicBezTo>
                  <a:pt x="5914169" y="3865336"/>
                  <a:pt x="5913312" y="3861907"/>
                  <a:pt x="5909883" y="3855049"/>
                </a:cubicBezTo>
                <a:cubicBezTo>
                  <a:pt x="5906454" y="3848191"/>
                  <a:pt x="5904740" y="3851620"/>
                  <a:pt x="5900453" y="3850762"/>
                </a:cubicBezTo>
                <a:cubicBezTo>
                  <a:pt x="5896167" y="3849905"/>
                  <a:pt x="5901310" y="3841333"/>
                  <a:pt x="5897024" y="3833617"/>
                </a:cubicBezTo>
                <a:cubicBezTo>
                  <a:pt x="5892738" y="3825902"/>
                  <a:pt x="5906454" y="3830188"/>
                  <a:pt x="5906454" y="3830188"/>
                </a:cubicBezTo>
                <a:cubicBezTo>
                  <a:pt x="5906454" y="3830188"/>
                  <a:pt x="5906454" y="3830188"/>
                  <a:pt x="5912455" y="3835332"/>
                </a:cubicBezTo>
                <a:cubicBezTo>
                  <a:pt x="5918455" y="3841333"/>
                  <a:pt x="5914169" y="3839618"/>
                  <a:pt x="5918455" y="3845619"/>
                </a:cubicBezTo>
                <a:cubicBezTo>
                  <a:pt x="5923599" y="3851620"/>
                  <a:pt x="5919313" y="3855906"/>
                  <a:pt x="5921027" y="3858478"/>
                </a:cubicBezTo>
                <a:cubicBezTo>
                  <a:pt x="5922742" y="3861049"/>
                  <a:pt x="5932172" y="3862764"/>
                  <a:pt x="5935600" y="3867907"/>
                </a:cubicBezTo>
                <a:cubicBezTo>
                  <a:pt x="5939030" y="3873051"/>
                  <a:pt x="5944173" y="3879052"/>
                  <a:pt x="5944173" y="3879052"/>
                </a:cubicBezTo>
                <a:cubicBezTo>
                  <a:pt x="5944173" y="3879052"/>
                  <a:pt x="5961318" y="3876480"/>
                  <a:pt x="5964747" y="3874766"/>
                </a:cubicBezTo>
                <a:cubicBezTo>
                  <a:pt x="5967319" y="3873051"/>
                  <a:pt x="5969033" y="3863621"/>
                  <a:pt x="5969033" y="3863621"/>
                </a:cubicBezTo>
                <a:cubicBezTo>
                  <a:pt x="5969033" y="3863621"/>
                  <a:pt x="5972462" y="3855049"/>
                  <a:pt x="5972462" y="3851620"/>
                </a:cubicBezTo>
                <a:cubicBezTo>
                  <a:pt x="5972462" y="3849048"/>
                  <a:pt x="5968176" y="3837046"/>
                  <a:pt x="5968176" y="3837046"/>
                </a:cubicBezTo>
                <a:lnTo>
                  <a:pt x="5968176" y="3825045"/>
                </a:lnTo>
                <a:cubicBezTo>
                  <a:pt x="5968176" y="3825045"/>
                  <a:pt x="5962175" y="3819044"/>
                  <a:pt x="5963890" y="3814758"/>
                </a:cubicBezTo>
                <a:cubicBezTo>
                  <a:pt x="5965604" y="3811329"/>
                  <a:pt x="5963890" y="3814758"/>
                  <a:pt x="5967319" y="3815615"/>
                </a:cubicBezTo>
                <a:cubicBezTo>
                  <a:pt x="5969890" y="3816472"/>
                  <a:pt x="5976748" y="3816472"/>
                  <a:pt x="5979320" y="3819901"/>
                </a:cubicBezTo>
                <a:cubicBezTo>
                  <a:pt x="5981892" y="3823331"/>
                  <a:pt x="5984464" y="3832760"/>
                  <a:pt x="5987893" y="3836189"/>
                </a:cubicBezTo>
                <a:cubicBezTo>
                  <a:pt x="5991322" y="3839618"/>
                  <a:pt x="5991322" y="3838761"/>
                  <a:pt x="5995608" y="3843904"/>
                </a:cubicBezTo>
                <a:cubicBezTo>
                  <a:pt x="5999037" y="3849048"/>
                  <a:pt x="5998180" y="3845619"/>
                  <a:pt x="6001609" y="3850762"/>
                </a:cubicBezTo>
                <a:cubicBezTo>
                  <a:pt x="6005038" y="3856763"/>
                  <a:pt x="6001609" y="3855049"/>
                  <a:pt x="6005895" y="3862764"/>
                </a:cubicBezTo>
                <a:cubicBezTo>
                  <a:pt x="6010181" y="3870479"/>
                  <a:pt x="6010181" y="3868765"/>
                  <a:pt x="6014468" y="3873051"/>
                </a:cubicBezTo>
                <a:lnTo>
                  <a:pt x="6016182" y="3869622"/>
                </a:lnTo>
                <a:cubicBezTo>
                  <a:pt x="5982107" y="3745535"/>
                  <a:pt x="5876182" y="3678348"/>
                  <a:pt x="5825350" y="3652510"/>
                </a:cubicBezTo>
                <a:lnTo>
                  <a:pt x="5820840" y="3650383"/>
                </a:lnTo>
                <a:lnTo>
                  <a:pt x="5876805" y="3675659"/>
                </a:lnTo>
                <a:cubicBezTo>
                  <a:pt x="6043936" y="3773476"/>
                  <a:pt x="6086691" y="3965313"/>
                  <a:pt x="5998180" y="4119082"/>
                </a:cubicBezTo>
                <a:cubicBezTo>
                  <a:pt x="5897024" y="4294818"/>
                  <a:pt x="5717002" y="4286246"/>
                  <a:pt x="5717002" y="4286246"/>
                </a:cubicBezTo>
                <a:cubicBezTo>
                  <a:pt x="5797583" y="4285388"/>
                  <a:pt x="5835302" y="4250241"/>
                  <a:pt x="5835302" y="4250241"/>
                </a:cubicBezTo>
                <a:cubicBezTo>
                  <a:pt x="5835302" y="4250241"/>
                  <a:pt x="5821586" y="4249384"/>
                  <a:pt x="5819015" y="4251098"/>
                </a:cubicBezTo>
                <a:cubicBezTo>
                  <a:pt x="5816443" y="4252813"/>
                  <a:pt x="5805298" y="4244240"/>
                  <a:pt x="5802727" y="4244240"/>
                </a:cubicBezTo>
                <a:cubicBezTo>
                  <a:pt x="5800155" y="4244240"/>
                  <a:pt x="5795869" y="4243383"/>
                  <a:pt x="5793297" y="4242525"/>
                </a:cubicBezTo>
                <a:cubicBezTo>
                  <a:pt x="5790725" y="4241668"/>
                  <a:pt x="5783010" y="4244240"/>
                  <a:pt x="5777867" y="4245098"/>
                </a:cubicBezTo>
                <a:cubicBezTo>
                  <a:pt x="5771866" y="4245955"/>
                  <a:pt x="5771008" y="4245955"/>
                  <a:pt x="5765865" y="4251098"/>
                </a:cubicBezTo>
                <a:cubicBezTo>
                  <a:pt x="5759864" y="4256242"/>
                  <a:pt x="5759864" y="4250241"/>
                  <a:pt x="5755578" y="4250241"/>
                </a:cubicBezTo>
                <a:cubicBezTo>
                  <a:pt x="5752149" y="4250241"/>
                  <a:pt x="5742719" y="4251098"/>
                  <a:pt x="5742719" y="4251098"/>
                </a:cubicBezTo>
                <a:lnTo>
                  <a:pt x="5747005" y="4240811"/>
                </a:lnTo>
                <a:cubicBezTo>
                  <a:pt x="5747005" y="4240811"/>
                  <a:pt x="5741005" y="4239097"/>
                  <a:pt x="5735861" y="4239097"/>
                </a:cubicBezTo>
                <a:cubicBezTo>
                  <a:pt x="5730718" y="4239097"/>
                  <a:pt x="5731575" y="4243383"/>
                  <a:pt x="5729003" y="4247669"/>
                </a:cubicBezTo>
                <a:cubicBezTo>
                  <a:pt x="5726432" y="4251956"/>
                  <a:pt x="5726432" y="4252813"/>
                  <a:pt x="5723003" y="4258813"/>
                </a:cubicBezTo>
                <a:cubicBezTo>
                  <a:pt x="5720431" y="4265671"/>
                  <a:pt x="5706715" y="4255384"/>
                  <a:pt x="5701571" y="4254527"/>
                </a:cubicBezTo>
                <a:cubicBezTo>
                  <a:pt x="5696427" y="4253670"/>
                  <a:pt x="5693855" y="4254527"/>
                  <a:pt x="5689569" y="4251956"/>
                </a:cubicBezTo>
                <a:cubicBezTo>
                  <a:pt x="5685282" y="4249384"/>
                  <a:pt x="5690426" y="4247669"/>
                  <a:pt x="5690426" y="4247669"/>
                </a:cubicBezTo>
                <a:lnTo>
                  <a:pt x="5702427" y="4239097"/>
                </a:lnTo>
                <a:lnTo>
                  <a:pt x="5714430" y="4232239"/>
                </a:lnTo>
                <a:cubicBezTo>
                  <a:pt x="5714430" y="4232239"/>
                  <a:pt x="5712715" y="4226238"/>
                  <a:pt x="5708429" y="4225380"/>
                </a:cubicBezTo>
                <a:cubicBezTo>
                  <a:pt x="5704999" y="4224523"/>
                  <a:pt x="5704999" y="4227953"/>
                  <a:pt x="5702427" y="4230524"/>
                </a:cubicBezTo>
                <a:cubicBezTo>
                  <a:pt x="5699857" y="4233096"/>
                  <a:pt x="5677567" y="4231381"/>
                  <a:pt x="5677567" y="4231381"/>
                </a:cubicBezTo>
                <a:cubicBezTo>
                  <a:pt x="5677567" y="4231381"/>
                  <a:pt x="5663851" y="4236525"/>
                  <a:pt x="5656993" y="4233096"/>
                </a:cubicBezTo>
                <a:cubicBezTo>
                  <a:pt x="5649278" y="4229667"/>
                  <a:pt x="5656993" y="4233096"/>
                  <a:pt x="5653564" y="4226238"/>
                </a:cubicBezTo>
                <a:cubicBezTo>
                  <a:pt x="5650992" y="4219380"/>
                  <a:pt x="5644134" y="4230524"/>
                  <a:pt x="5638991" y="4233096"/>
                </a:cubicBezTo>
                <a:cubicBezTo>
                  <a:pt x="5632990" y="4235668"/>
                  <a:pt x="5632990" y="4233953"/>
                  <a:pt x="5618417" y="4236525"/>
                </a:cubicBezTo>
                <a:cubicBezTo>
                  <a:pt x="5603844" y="4239097"/>
                  <a:pt x="5608130" y="4238239"/>
                  <a:pt x="5608130" y="4238239"/>
                </a:cubicBezTo>
                <a:lnTo>
                  <a:pt x="5607273" y="4232239"/>
                </a:lnTo>
                <a:cubicBezTo>
                  <a:pt x="5607273" y="4232239"/>
                  <a:pt x="5601272" y="4236525"/>
                  <a:pt x="5596986" y="4240811"/>
                </a:cubicBezTo>
                <a:cubicBezTo>
                  <a:pt x="5592699" y="4245098"/>
                  <a:pt x="5588413" y="4242525"/>
                  <a:pt x="5584984" y="4242525"/>
                </a:cubicBezTo>
                <a:cubicBezTo>
                  <a:pt x="5581555" y="4242525"/>
                  <a:pt x="5583270" y="4256242"/>
                  <a:pt x="5583270" y="4256242"/>
                </a:cubicBezTo>
                <a:cubicBezTo>
                  <a:pt x="5589271" y="4270815"/>
                  <a:pt x="5664709" y="4287103"/>
                  <a:pt x="5664709" y="4287103"/>
                </a:cubicBezTo>
                <a:cubicBezTo>
                  <a:pt x="5338954" y="4239097"/>
                  <a:pt x="5372386" y="3912484"/>
                  <a:pt x="5372386" y="3912484"/>
                </a:cubicBezTo>
                <a:lnTo>
                  <a:pt x="5375815" y="3909913"/>
                </a:lnTo>
                <a:cubicBezTo>
                  <a:pt x="5375815" y="3909913"/>
                  <a:pt x="5377530" y="3917628"/>
                  <a:pt x="5378387" y="3921057"/>
                </a:cubicBezTo>
                <a:cubicBezTo>
                  <a:pt x="5380101" y="3924486"/>
                  <a:pt x="5380101" y="3923629"/>
                  <a:pt x="5384388" y="3929629"/>
                </a:cubicBezTo>
                <a:cubicBezTo>
                  <a:pt x="5387817" y="3935630"/>
                  <a:pt x="5389531" y="3934773"/>
                  <a:pt x="5391246" y="3939059"/>
                </a:cubicBezTo>
                <a:cubicBezTo>
                  <a:pt x="5392960" y="3944203"/>
                  <a:pt x="5391246" y="3939059"/>
                  <a:pt x="5386959" y="3953632"/>
                </a:cubicBezTo>
                <a:cubicBezTo>
                  <a:pt x="5383531" y="3968206"/>
                  <a:pt x="5395532" y="3977636"/>
                  <a:pt x="5395532" y="3977636"/>
                </a:cubicBezTo>
                <a:cubicBezTo>
                  <a:pt x="5395532" y="3977636"/>
                  <a:pt x="5395532" y="3981922"/>
                  <a:pt x="5394675" y="4006782"/>
                </a:cubicBezTo>
                <a:cubicBezTo>
                  <a:pt x="5393817" y="4030785"/>
                  <a:pt x="5404962" y="4036785"/>
                  <a:pt x="5413534" y="4051359"/>
                </a:cubicBezTo>
                <a:cubicBezTo>
                  <a:pt x="5421249" y="4065075"/>
                  <a:pt x="5416963" y="4059931"/>
                  <a:pt x="5420392" y="4065932"/>
                </a:cubicBezTo>
                <a:cubicBezTo>
                  <a:pt x="5423821" y="4071075"/>
                  <a:pt x="5422964" y="4066789"/>
                  <a:pt x="5432394" y="4075362"/>
                </a:cubicBezTo>
                <a:cubicBezTo>
                  <a:pt x="5441824" y="4083934"/>
                  <a:pt x="5434108" y="4083934"/>
                  <a:pt x="5438394" y="4101079"/>
                </a:cubicBezTo>
                <a:cubicBezTo>
                  <a:pt x="5442681" y="4118224"/>
                  <a:pt x="5442681" y="4108795"/>
                  <a:pt x="5446110" y="4123368"/>
                </a:cubicBezTo>
                <a:cubicBezTo>
                  <a:pt x="5448681" y="4138798"/>
                  <a:pt x="5449539" y="4126797"/>
                  <a:pt x="5455539" y="4135369"/>
                </a:cubicBezTo>
                <a:cubicBezTo>
                  <a:pt x="5461540" y="4143942"/>
                  <a:pt x="5455539" y="4135369"/>
                  <a:pt x="5462397" y="4148228"/>
                </a:cubicBezTo>
                <a:cubicBezTo>
                  <a:pt x="5469256" y="4161087"/>
                  <a:pt x="5467541" y="4154229"/>
                  <a:pt x="5470113" y="4160230"/>
                </a:cubicBezTo>
                <a:cubicBezTo>
                  <a:pt x="5472684" y="4165373"/>
                  <a:pt x="5475256" y="4162801"/>
                  <a:pt x="5484686" y="4188519"/>
                </a:cubicBezTo>
                <a:cubicBezTo>
                  <a:pt x="5494116" y="4214236"/>
                  <a:pt x="5486401" y="4192805"/>
                  <a:pt x="5491544" y="4198806"/>
                </a:cubicBezTo>
                <a:cubicBezTo>
                  <a:pt x="5496687" y="4204807"/>
                  <a:pt x="5499259" y="4201378"/>
                  <a:pt x="5511261" y="4210808"/>
                </a:cubicBezTo>
                <a:cubicBezTo>
                  <a:pt x="5523262" y="4220237"/>
                  <a:pt x="5514690" y="4215094"/>
                  <a:pt x="5524119" y="4221094"/>
                </a:cubicBezTo>
                <a:cubicBezTo>
                  <a:pt x="5533549" y="4227095"/>
                  <a:pt x="5525834" y="4218523"/>
                  <a:pt x="5525834" y="4215094"/>
                </a:cubicBezTo>
                <a:cubicBezTo>
                  <a:pt x="5525834" y="4211665"/>
                  <a:pt x="5521548" y="4209950"/>
                  <a:pt x="5518119" y="4206521"/>
                </a:cubicBezTo>
                <a:cubicBezTo>
                  <a:pt x="5513832" y="4203949"/>
                  <a:pt x="5512975" y="4199663"/>
                  <a:pt x="5509546" y="4195377"/>
                </a:cubicBezTo>
                <a:cubicBezTo>
                  <a:pt x="5506974" y="4191948"/>
                  <a:pt x="5506974" y="4190233"/>
                  <a:pt x="5505260" y="4185947"/>
                </a:cubicBezTo>
                <a:cubicBezTo>
                  <a:pt x="5502688" y="4181661"/>
                  <a:pt x="5500117" y="4179946"/>
                  <a:pt x="5495830" y="4173088"/>
                </a:cubicBezTo>
                <a:cubicBezTo>
                  <a:pt x="5491544" y="4166231"/>
                  <a:pt x="5499259" y="4167945"/>
                  <a:pt x="5500117" y="4165373"/>
                </a:cubicBezTo>
                <a:cubicBezTo>
                  <a:pt x="5500974" y="4162801"/>
                  <a:pt x="5502688" y="4163659"/>
                  <a:pt x="5503546" y="4160230"/>
                </a:cubicBezTo>
                <a:cubicBezTo>
                  <a:pt x="5504403" y="4156800"/>
                  <a:pt x="5504403" y="4151657"/>
                  <a:pt x="5500117" y="4147371"/>
                </a:cubicBezTo>
                <a:cubicBezTo>
                  <a:pt x="5496687" y="4142228"/>
                  <a:pt x="5507832" y="4121653"/>
                  <a:pt x="5508689" y="4119082"/>
                </a:cubicBezTo>
                <a:cubicBezTo>
                  <a:pt x="5509546" y="4116510"/>
                  <a:pt x="5508689" y="4103651"/>
                  <a:pt x="5508689" y="4103651"/>
                </a:cubicBezTo>
                <a:cubicBezTo>
                  <a:pt x="5508689" y="4103651"/>
                  <a:pt x="5514690" y="4097651"/>
                  <a:pt x="5518119" y="4096793"/>
                </a:cubicBezTo>
                <a:cubicBezTo>
                  <a:pt x="5521548" y="4095936"/>
                  <a:pt x="5527549" y="4091650"/>
                  <a:pt x="5531835" y="4087363"/>
                </a:cubicBezTo>
                <a:cubicBezTo>
                  <a:pt x="5536121" y="4083077"/>
                  <a:pt x="5530120" y="4078791"/>
                  <a:pt x="5530120" y="4078791"/>
                </a:cubicBezTo>
                <a:cubicBezTo>
                  <a:pt x="5530120" y="4078791"/>
                  <a:pt x="5532692" y="4073648"/>
                  <a:pt x="5534407" y="4070218"/>
                </a:cubicBezTo>
                <a:cubicBezTo>
                  <a:pt x="5536121" y="4066789"/>
                  <a:pt x="5535264" y="4059074"/>
                  <a:pt x="5535264" y="4056503"/>
                </a:cubicBezTo>
                <a:cubicBezTo>
                  <a:pt x="5535264" y="4053930"/>
                  <a:pt x="5532692" y="4049644"/>
                  <a:pt x="5530977" y="4045358"/>
                </a:cubicBezTo>
                <a:cubicBezTo>
                  <a:pt x="5528406" y="4041072"/>
                  <a:pt x="5530977" y="4036785"/>
                  <a:pt x="5532692" y="4034214"/>
                </a:cubicBezTo>
                <a:cubicBezTo>
                  <a:pt x="5535264" y="4031642"/>
                  <a:pt x="5538693" y="4023070"/>
                  <a:pt x="5542122" y="4020498"/>
                </a:cubicBezTo>
                <a:cubicBezTo>
                  <a:pt x="5545551" y="4017926"/>
                  <a:pt x="5546408" y="4013640"/>
                  <a:pt x="5547265" y="4007639"/>
                </a:cubicBezTo>
                <a:cubicBezTo>
                  <a:pt x="5548122" y="4001638"/>
                  <a:pt x="5543836" y="4001638"/>
                  <a:pt x="5542122" y="4000781"/>
                </a:cubicBezTo>
                <a:cubicBezTo>
                  <a:pt x="5540407" y="3999924"/>
                  <a:pt x="5537836" y="3998209"/>
                  <a:pt x="5529263" y="3993923"/>
                </a:cubicBezTo>
                <a:cubicBezTo>
                  <a:pt x="5521548" y="3988780"/>
                  <a:pt x="5524119" y="3985351"/>
                  <a:pt x="5520691" y="3982779"/>
                </a:cubicBezTo>
                <a:cubicBezTo>
                  <a:pt x="5517262" y="3980207"/>
                  <a:pt x="5511261" y="3981064"/>
                  <a:pt x="5504403" y="3981922"/>
                </a:cubicBezTo>
                <a:cubicBezTo>
                  <a:pt x="5497545" y="3982779"/>
                  <a:pt x="5502688" y="3977636"/>
                  <a:pt x="5500974" y="3976778"/>
                </a:cubicBezTo>
                <a:cubicBezTo>
                  <a:pt x="5499259" y="3975921"/>
                  <a:pt x="5494116" y="3973349"/>
                  <a:pt x="5488115" y="3971635"/>
                </a:cubicBezTo>
                <a:cubicBezTo>
                  <a:pt x="5482971" y="3969920"/>
                  <a:pt x="5486401" y="3964777"/>
                  <a:pt x="5486401" y="3964777"/>
                </a:cubicBezTo>
                <a:cubicBezTo>
                  <a:pt x="5486401" y="3964777"/>
                  <a:pt x="5479542" y="3963919"/>
                  <a:pt x="5476971" y="3963062"/>
                </a:cubicBezTo>
                <a:cubicBezTo>
                  <a:pt x="5474399" y="3963062"/>
                  <a:pt x="5474399" y="3958776"/>
                  <a:pt x="5475256" y="3957061"/>
                </a:cubicBezTo>
                <a:cubicBezTo>
                  <a:pt x="5476114" y="3954490"/>
                  <a:pt x="5474399" y="3947632"/>
                  <a:pt x="5474399" y="3947632"/>
                </a:cubicBezTo>
                <a:cubicBezTo>
                  <a:pt x="5474399" y="3947632"/>
                  <a:pt x="5473542" y="3939059"/>
                  <a:pt x="5469256" y="3938202"/>
                </a:cubicBezTo>
                <a:cubicBezTo>
                  <a:pt x="5464969" y="3936487"/>
                  <a:pt x="5466684" y="3933058"/>
                  <a:pt x="5464969" y="3932201"/>
                </a:cubicBezTo>
                <a:cubicBezTo>
                  <a:pt x="5462397" y="3931344"/>
                  <a:pt x="5455539" y="3930487"/>
                  <a:pt x="5453825" y="3930487"/>
                </a:cubicBezTo>
                <a:cubicBezTo>
                  <a:pt x="5452968" y="3930487"/>
                  <a:pt x="5445252" y="3928772"/>
                  <a:pt x="5444395" y="3925343"/>
                </a:cubicBezTo>
                <a:cubicBezTo>
                  <a:pt x="5443538" y="3922771"/>
                  <a:pt x="5443538" y="3917628"/>
                  <a:pt x="5441824" y="3916771"/>
                </a:cubicBezTo>
                <a:cubicBezTo>
                  <a:pt x="5440109" y="3915913"/>
                  <a:pt x="5438394" y="3910770"/>
                  <a:pt x="5437537" y="3907341"/>
                </a:cubicBezTo>
                <a:cubicBezTo>
                  <a:pt x="5435823" y="3903912"/>
                  <a:pt x="5433251" y="3903912"/>
                  <a:pt x="5431536" y="3903055"/>
                </a:cubicBezTo>
                <a:cubicBezTo>
                  <a:pt x="5429822" y="3902197"/>
                  <a:pt x="5422107" y="3906484"/>
                  <a:pt x="5419535" y="3905626"/>
                </a:cubicBezTo>
                <a:cubicBezTo>
                  <a:pt x="5416963" y="3904769"/>
                  <a:pt x="5420392" y="3899626"/>
                  <a:pt x="5418678" y="3897911"/>
                </a:cubicBezTo>
                <a:cubicBezTo>
                  <a:pt x="5417821" y="3896197"/>
                  <a:pt x="5416963" y="3897054"/>
                  <a:pt x="5411820" y="3896197"/>
                </a:cubicBezTo>
                <a:cubicBezTo>
                  <a:pt x="5406676" y="3895339"/>
                  <a:pt x="5406676" y="3899626"/>
                  <a:pt x="5406676" y="3899626"/>
                </a:cubicBezTo>
                <a:lnTo>
                  <a:pt x="5404104" y="3903055"/>
                </a:lnTo>
                <a:cubicBezTo>
                  <a:pt x="5404104" y="3903055"/>
                  <a:pt x="5402390" y="3905626"/>
                  <a:pt x="5398104" y="3911627"/>
                </a:cubicBezTo>
                <a:cubicBezTo>
                  <a:pt x="5393817" y="3917628"/>
                  <a:pt x="5398104" y="3911627"/>
                  <a:pt x="5396389" y="3909913"/>
                </a:cubicBezTo>
                <a:cubicBezTo>
                  <a:pt x="5394675" y="3908198"/>
                  <a:pt x="5394675" y="3908198"/>
                  <a:pt x="5393817" y="3906484"/>
                </a:cubicBezTo>
                <a:cubicBezTo>
                  <a:pt x="5392103" y="3904769"/>
                  <a:pt x="5389531" y="3897054"/>
                  <a:pt x="5390389" y="3893625"/>
                </a:cubicBezTo>
                <a:cubicBezTo>
                  <a:pt x="5391246" y="3890196"/>
                  <a:pt x="5392960" y="3886767"/>
                  <a:pt x="5393817" y="3884195"/>
                </a:cubicBezTo>
                <a:cubicBezTo>
                  <a:pt x="5394675" y="3881623"/>
                  <a:pt x="5392960" y="3879909"/>
                  <a:pt x="5392960" y="3871336"/>
                </a:cubicBezTo>
                <a:cubicBezTo>
                  <a:pt x="5392960" y="3862764"/>
                  <a:pt x="5392960" y="3863621"/>
                  <a:pt x="5393817" y="3861049"/>
                </a:cubicBezTo>
                <a:cubicBezTo>
                  <a:pt x="5393817" y="3858478"/>
                  <a:pt x="5392960" y="3855906"/>
                  <a:pt x="5392960" y="3853334"/>
                </a:cubicBezTo>
                <a:cubicBezTo>
                  <a:pt x="5392960" y="3850762"/>
                  <a:pt x="5388674" y="3851620"/>
                  <a:pt x="5388674" y="3851620"/>
                </a:cubicBezTo>
                <a:cubicBezTo>
                  <a:pt x="5392103" y="3836189"/>
                  <a:pt x="5402390" y="3815615"/>
                  <a:pt x="5402390" y="3815615"/>
                </a:cubicBezTo>
                <a:cubicBezTo>
                  <a:pt x="5402390" y="3815615"/>
                  <a:pt x="5400676" y="3825045"/>
                  <a:pt x="5400676" y="3826759"/>
                </a:cubicBezTo>
                <a:cubicBezTo>
                  <a:pt x="5400676" y="3828474"/>
                  <a:pt x="5399818" y="3831903"/>
                  <a:pt x="5399818" y="3833617"/>
                </a:cubicBezTo>
                <a:cubicBezTo>
                  <a:pt x="5399818" y="3835332"/>
                  <a:pt x="5398961" y="3839618"/>
                  <a:pt x="5398961" y="3841333"/>
                </a:cubicBezTo>
                <a:cubicBezTo>
                  <a:pt x="5398961" y="3843047"/>
                  <a:pt x="5400676" y="3842190"/>
                  <a:pt x="5401533" y="3842190"/>
                </a:cubicBezTo>
                <a:cubicBezTo>
                  <a:pt x="5403247" y="3841333"/>
                  <a:pt x="5404104" y="3842190"/>
                  <a:pt x="5406676" y="3845619"/>
                </a:cubicBezTo>
                <a:cubicBezTo>
                  <a:pt x="5409248" y="3849048"/>
                  <a:pt x="5406676" y="3845619"/>
                  <a:pt x="5408391" y="3845619"/>
                </a:cubicBezTo>
                <a:cubicBezTo>
                  <a:pt x="5409248" y="3845619"/>
                  <a:pt x="5411820" y="3849048"/>
                  <a:pt x="5412677" y="3850762"/>
                </a:cubicBezTo>
                <a:cubicBezTo>
                  <a:pt x="5413534" y="3852477"/>
                  <a:pt x="5411820" y="3854191"/>
                  <a:pt x="5411820" y="3857621"/>
                </a:cubicBezTo>
                <a:cubicBezTo>
                  <a:pt x="5410962" y="3861049"/>
                  <a:pt x="5411820" y="3857621"/>
                  <a:pt x="5413534" y="3859335"/>
                </a:cubicBezTo>
                <a:cubicBezTo>
                  <a:pt x="5415249" y="3861049"/>
                  <a:pt x="5417821" y="3861049"/>
                  <a:pt x="5418678" y="3861907"/>
                </a:cubicBezTo>
                <a:cubicBezTo>
                  <a:pt x="5420392" y="3862764"/>
                  <a:pt x="5422964" y="3860192"/>
                  <a:pt x="5425536" y="3861049"/>
                </a:cubicBezTo>
                <a:cubicBezTo>
                  <a:pt x="5428107" y="3861049"/>
                  <a:pt x="5428107" y="3862764"/>
                  <a:pt x="5428965" y="3865336"/>
                </a:cubicBezTo>
                <a:cubicBezTo>
                  <a:pt x="5429822" y="3868765"/>
                  <a:pt x="5429822" y="3868765"/>
                  <a:pt x="5430679" y="3868765"/>
                </a:cubicBezTo>
                <a:cubicBezTo>
                  <a:pt x="5431536" y="3868765"/>
                  <a:pt x="5433251" y="3866193"/>
                  <a:pt x="5434108" y="3865336"/>
                </a:cubicBezTo>
                <a:cubicBezTo>
                  <a:pt x="5434966" y="3864478"/>
                  <a:pt x="5435823" y="3861049"/>
                  <a:pt x="5435823" y="3861049"/>
                </a:cubicBezTo>
                <a:lnTo>
                  <a:pt x="5432394" y="3858478"/>
                </a:lnTo>
                <a:lnTo>
                  <a:pt x="5427250" y="3855049"/>
                </a:lnTo>
                <a:lnTo>
                  <a:pt x="5421249" y="3853334"/>
                </a:lnTo>
                <a:cubicBezTo>
                  <a:pt x="5421249" y="3853334"/>
                  <a:pt x="5417821" y="3852477"/>
                  <a:pt x="5415249" y="3852477"/>
                </a:cubicBezTo>
                <a:cubicBezTo>
                  <a:pt x="5412677" y="3852477"/>
                  <a:pt x="5415249" y="3846476"/>
                  <a:pt x="5415249" y="3845619"/>
                </a:cubicBezTo>
                <a:cubicBezTo>
                  <a:pt x="5415249" y="3843904"/>
                  <a:pt x="5415249" y="3837904"/>
                  <a:pt x="5415249" y="3837904"/>
                </a:cubicBezTo>
                <a:cubicBezTo>
                  <a:pt x="5415249" y="3837904"/>
                  <a:pt x="5411820" y="3837046"/>
                  <a:pt x="5410962" y="3837046"/>
                </a:cubicBezTo>
                <a:cubicBezTo>
                  <a:pt x="5410105" y="3837046"/>
                  <a:pt x="5406676" y="3834475"/>
                  <a:pt x="5406676" y="3833617"/>
                </a:cubicBezTo>
                <a:cubicBezTo>
                  <a:pt x="5406676" y="3831903"/>
                  <a:pt x="5407534" y="3828474"/>
                  <a:pt x="5410105" y="3826759"/>
                </a:cubicBezTo>
                <a:cubicBezTo>
                  <a:pt x="5411820" y="3825045"/>
                  <a:pt x="5419535" y="3822473"/>
                  <a:pt x="5420392" y="3822473"/>
                </a:cubicBezTo>
                <a:cubicBezTo>
                  <a:pt x="5421249" y="3821616"/>
                  <a:pt x="5423821" y="3819044"/>
                  <a:pt x="5425536" y="3818187"/>
                </a:cubicBezTo>
                <a:cubicBezTo>
                  <a:pt x="5426393" y="3817330"/>
                  <a:pt x="5428965" y="3813901"/>
                  <a:pt x="5428965" y="3810472"/>
                </a:cubicBezTo>
                <a:cubicBezTo>
                  <a:pt x="5429822" y="3807900"/>
                  <a:pt x="5431536" y="3803614"/>
                  <a:pt x="5432394" y="3801899"/>
                </a:cubicBezTo>
                <a:cubicBezTo>
                  <a:pt x="5433251" y="3800185"/>
                  <a:pt x="5433251" y="3795898"/>
                  <a:pt x="5434108" y="3792469"/>
                </a:cubicBezTo>
                <a:cubicBezTo>
                  <a:pt x="5434966" y="3789898"/>
                  <a:pt x="5438394" y="3785611"/>
                  <a:pt x="5439252" y="3785611"/>
                </a:cubicBezTo>
                <a:cubicBezTo>
                  <a:pt x="5440109" y="3785611"/>
                  <a:pt x="5448681" y="3779611"/>
                  <a:pt x="5451253" y="3776182"/>
                </a:cubicBezTo>
                <a:cubicBezTo>
                  <a:pt x="5453825" y="3772753"/>
                  <a:pt x="5458111" y="3770181"/>
                  <a:pt x="5458111" y="3770181"/>
                </a:cubicBezTo>
                <a:lnTo>
                  <a:pt x="5460683" y="3764180"/>
                </a:lnTo>
                <a:cubicBezTo>
                  <a:pt x="5460683" y="3764180"/>
                  <a:pt x="5461540" y="3762466"/>
                  <a:pt x="5466684" y="3761608"/>
                </a:cubicBezTo>
                <a:cubicBezTo>
                  <a:pt x="5471827" y="3759894"/>
                  <a:pt x="5474399" y="3757322"/>
                  <a:pt x="5474399" y="3757322"/>
                </a:cubicBezTo>
                <a:cubicBezTo>
                  <a:pt x="5474399" y="3757322"/>
                  <a:pt x="5476971" y="3751321"/>
                  <a:pt x="5476971" y="3749607"/>
                </a:cubicBezTo>
                <a:cubicBezTo>
                  <a:pt x="5476971" y="3747892"/>
                  <a:pt x="5479542" y="3747035"/>
                  <a:pt x="5479542" y="3747035"/>
                </a:cubicBezTo>
                <a:cubicBezTo>
                  <a:pt x="5479542" y="3747035"/>
                  <a:pt x="5488115" y="3741892"/>
                  <a:pt x="5488115" y="3741034"/>
                </a:cubicBezTo>
                <a:cubicBezTo>
                  <a:pt x="5488115" y="3740177"/>
                  <a:pt x="5488972" y="3739320"/>
                  <a:pt x="5491544" y="3738463"/>
                </a:cubicBezTo>
                <a:cubicBezTo>
                  <a:pt x="5494116" y="3737606"/>
                  <a:pt x="5495830" y="3738463"/>
                  <a:pt x="5498402" y="3739320"/>
                </a:cubicBezTo>
                <a:cubicBezTo>
                  <a:pt x="5500117" y="3740177"/>
                  <a:pt x="5503546" y="3741034"/>
                  <a:pt x="5507832" y="3741892"/>
                </a:cubicBezTo>
                <a:cubicBezTo>
                  <a:pt x="5512118" y="3742749"/>
                  <a:pt x="5512975" y="3741034"/>
                  <a:pt x="5512975" y="3741034"/>
                </a:cubicBezTo>
                <a:cubicBezTo>
                  <a:pt x="5512975" y="3741034"/>
                  <a:pt x="5514690" y="3736748"/>
                  <a:pt x="5514690" y="3735034"/>
                </a:cubicBezTo>
                <a:cubicBezTo>
                  <a:pt x="5514690" y="3733319"/>
                  <a:pt x="5513832" y="3731605"/>
                  <a:pt x="5513832" y="3731605"/>
                </a:cubicBezTo>
                <a:cubicBezTo>
                  <a:pt x="5513832" y="3731605"/>
                  <a:pt x="5510404" y="3729890"/>
                  <a:pt x="5509546" y="3729890"/>
                </a:cubicBezTo>
                <a:cubicBezTo>
                  <a:pt x="5508689" y="3729890"/>
                  <a:pt x="5511261" y="3723032"/>
                  <a:pt x="5511261" y="3723032"/>
                </a:cubicBezTo>
                <a:lnTo>
                  <a:pt x="5517262" y="3718746"/>
                </a:lnTo>
                <a:cubicBezTo>
                  <a:pt x="5517262" y="3718746"/>
                  <a:pt x="5522405" y="3714460"/>
                  <a:pt x="5525834" y="3713602"/>
                </a:cubicBezTo>
                <a:cubicBezTo>
                  <a:pt x="5529263" y="3712745"/>
                  <a:pt x="5529263" y="3717031"/>
                  <a:pt x="5530977" y="3717889"/>
                </a:cubicBezTo>
                <a:cubicBezTo>
                  <a:pt x="5532692" y="3719603"/>
                  <a:pt x="5531835" y="3720461"/>
                  <a:pt x="5531835" y="3720461"/>
                </a:cubicBezTo>
                <a:lnTo>
                  <a:pt x="5524977" y="3724747"/>
                </a:lnTo>
                <a:cubicBezTo>
                  <a:pt x="5524977" y="3724747"/>
                  <a:pt x="5525834" y="3729890"/>
                  <a:pt x="5528406" y="3730747"/>
                </a:cubicBezTo>
                <a:cubicBezTo>
                  <a:pt x="5530977" y="3731605"/>
                  <a:pt x="5536978" y="3730747"/>
                  <a:pt x="5536978" y="3730747"/>
                </a:cubicBezTo>
                <a:lnTo>
                  <a:pt x="5542122" y="3727318"/>
                </a:lnTo>
                <a:lnTo>
                  <a:pt x="5543836" y="3723032"/>
                </a:lnTo>
                <a:lnTo>
                  <a:pt x="5543836" y="3716174"/>
                </a:lnTo>
                <a:cubicBezTo>
                  <a:pt x="5543836" y="3716174"/>
                  <a:pt x="5542979" y="3712745"/>
                  <a:pt x="5542979" y="3710173"/>
                </a:cubicBezTo>
                <a:cubicBezTo>
                  <a:pt x="5542979" y="3707602"/>
                  <a:pt x="5544694" y="3706744"/>
                  <a:pt x="5545551" y="3705887"/>
                </a:cubicBezTo>
                <a:cubicBezTo>
                  <a:pt x="5546408" y="3704173"/>
                  <a:pt x="5548980" y="3703316"/>
                  <a:pt x="5548980" y="3703316"/>
                </a:cubicBezTo>
                <a:lnTo>
                  <a:pt x="5551552" y="3699029"/>
                </a:lnTo>
                <a:cubicBezTo>
                  <a:pt x="5551552" y="3699029"/>
                  <a:pt x="5551552" y="3693886"/>
                  <a:pt x="5551552" y="3692171"/>
                </a:cubicBezTo>
                <a:cubicBezTo>
                  <a:pt x="5551552" y="3691314"/>
                  <a:pt x="5556695" y="3684456"/>
                  <a:pt x="5557552" y="3683599"/>
                </a:cubicBezTo>
                <a:cubicBezTo>
                  <a:pt x="5559267" y="3682741"/>
                  <a:pt x="5560124" y="3679312"/>
                  <a:pt x="5560124" y="3679312"/>
                </a:cubicBezTo>
                <a:lnTo>
                  <a:pt x="5552409" y="3675883"/>
                </a:lnTo>
                <a:cubicBezTo>
                  <a:pt x="5543408" y="3675883"/>
                  <a:pt x="5532906" y="3679741"/>
                  <a:pt x="5522218" y="3685527"/>
                </a:cubicBezTo>
                <a:lnTo>
                  <a:pt x="5496913" y="3702672"/>
                </a:lnTo>
                <a:lnTo>
                  <a:pt x="5518815" y="3683786"/>
                </a:lnTo>
                <a:cubicBezTo>
                  <a:pt x="5583431" y="3642075"/>
                  <a:pt x="5647564" y="3633878"/>
                  <a:pt x="5647564" y="3633878"/>
                </a:cubicBezTo>
                <a:cubicBezTo>
                  <a:pt x="5658708" y="3631306"/>
                  <a:pt x="5702427" y="3631306"/>
                  <a:pt x="5699857" y="3627877"/>
                </a:cubicBezTo>
                <a:close/>
                <a:moveTo>
                  <a:pt x="4861612" y="3580313"/>
                </a:moveTo>
                <a:cubicBezTo>
                  <a:pt x="4765935" y="3577782"/>
                  <a:pt x="4673513" y="3631306"/>
                  <a:pt x="4631722" y="3723889"/>
                </a:cubicBezTo>
                <a:cubicBezTo>
                  <a:pt x="4576000" y="3847334"/>
                  <a:pt x="4630007" y="3993066"/>
                  <a:pt x="4753451" y="4048788"/>
                </a:cubicBezTo>
                <a:cubicBezTo>
                  <a:pt x="4876896" y="4105366"/>
                  <a:pt x="5021771" y="4050502"/>
                  <a:pt x="5078350" y="3927058"/>
                </a:cubicBezTo>
                <a:cubicBezTo>
                  <a:pt x="5134071" y="3803614"/>
                  <a:pt x="5080064" y="3657881"/>
                  <a:pt x="4956620" y="3602159"/>
                </a:cubicBezTo>
                <a:cubicBezTo>
                  <a:pt x="4925759" y="3588229"/>
                  <a:pt x="4893505" y="3581157"/>
                  <a:pt x="4861612" y="3580313"/>
                </a:cubicBezTo>
                <a:close/>
                <a:moveTo>
                  <a:pt x="4863113" y="3524739"/>
                </a:moveTo>
                <a:cubicBezTo>
                  <a:pt x="4902238" y="3525757"/>
                  <a:pt x="4941832" y="3534437"/>
                  <a:pt x="4979766" y="3551582"/>
                </a:cubicBezTo>
                <a:cubicBezTo>
                  <a:pt x="5131499" y="3621019"/>
                  <a:pt x="5198365" y="3799328"/>
                  <a:pt x="5128928" y="3950204"/>
                </a:cubicBezTo>
                <a:cubicBezTo>
                  <a:pt x="5068921" y="4082221"/>
                  <a:pt x="4924902" y="4149917"/>
                  <a:pt x="4788185" y="4118835"/>
                </a:cubicBezTo>
                <a:lnTo>
                  <a:pt x="4769854" y="4112669"/>
                </a:lnTo>
                <a:lnTo>
                  <a:pt x="4736576" y="4185841"/>
                </a:lnTo>
                <a:lnTo>
                  <a:pt x="4739414" y="4190448"/>
                </a:lnTo>
                <a:cubicBezTo>
                  <a:pt x="4745307" y="4206093"/>
                  <a:pt x="4745307" y="4224095"/>
                  <a:pt x="4738021" y="4240811"/>
                </a:cubicBezTo>
                <a:lnTo>
                  <a:pt x="4623149" y="4492842"/>
                </a:lnTo>
                <a:cubicBezTo>
                  <a:pt x="4608576" y="4525418"/>
                  <a:pt x="4570000" y="4539991"/>
                  <a:pt x="4536567" y="4525418"/>
                </a:cubicBezTo>
                <a:cubicBezTo>
                  <a:pt x="4503991" y="4510845"/>
                  <a:pt x="4489418" y="4472268"/>
                  <a:pt x="4503991" y="4438835"/>
                </a:cubicBezTo>
                <a:lnTo>
                  <a:pt x="4618863" y="4186804"/>
                </a:lnTo>
                <a:cubicBezTo>
                  <a:pt x="4624328" y="4174588"/>
                  <a:pt x="4633169" y="4164904"/>
                  <a:pt x="4643847" y="4158339"/>
                </a:cubicBezTo>
                <a:lnTo>
                  <a:pt x="4661831" y="4153470"/>
                </a:lnTo>
                <a:lnTo>
                  <a:pt x="4695622" y="4079170"/>
                </a:lnTo>
                <a:lnTo>
                  <a:pt x="4677765" y="4068771"/>
                </a:lnTo>
                <a:cubicBezTo>
                  <a:pt x="4564829" y="3986624"/>
                  <a:pt x="4521137" y="3833511"/>
                  <a:pt x="4581144" y="3700743"/>
                </a:cubicBezTo>
                <a:cubicBezTo>
                  <a:pt x="4632579" y="3587586"/>
                  <a:pt x="4745736" y="3521685"/>
                  <a:pt x="4863113" y="3524739"/>
                </a:cubicBezTo>
                <a:close/>
                <a:moveTo>
                  <a:pt x="1544765" y="3428138"/>
                </a:moveTo>
                <a:cubicBezTo>
                  <a:pt x="1544765" y="3428138"/>
                  <a:pt x="1624490" y="3511291"/>
                  <a:pt x="1620204" y="3555010"/>
                </a:cubicBezTo>
                <a:cubicBezTo>
                  <a:pt x="1615918" y="3598730"/>
                  <a:pt x="1532764" y="3615018"/>
                  <a:pt x="1532764" y="3615018"/>
                </a:cubicBezTo>
                <a:cubicBezTo>
                  <a:pt x="1532764" y="3615018"/>
                  <a:pt x="1645922" y="3615018"/>
                  <a:pt x="1646779" y="3561011"/>
                </a:cubicBezTo>
                <a:cubicBezTo>
                  <a:pt x="1647636" y="3507004"/>
                  <a:pt x="1544765" y="3428138"/>
                  <a:pt x="1544765" y="3428138"/>
                </a:cubicBezTo>
                <a:close/>
                <a:moveTo>
                  <a:pt x="408910" y="3284263"/>
                </a:moveTo>
                <a:lnTo>
                  <a:pt x="393653" y="3296390"/>
                </a:lnTo>
                <a:cubicBezTo>
                  <a:pt x="373702" y="3310964"/>
                  <a:pt x="354008" y="3324077"/>
                  <a:pt x="334836" y="3335610"/>
                </a:cubicBezTo>
                <a:lnTo>
                  <a:pt x="325136" y="3340789"/>
                </a:lnTo>
                <a:lnTo>
                  <a:pt x="330318" y="3354497"/>
                </a:lnTo>
                <a:cubicBezTo>
                  <a:pt x="351753" y="3400123"/>
                  <a:pt x="378758" y="3427281"/>
                  <a:pt x="408051" y="3427281"/>
                </a:cubicBezTo>
                <a:cubicBezTo>
                  <a:pt x="434090" y="3427281"/>
                  <a:pt x="458321" y="3405823"/>
                  <a:pt x="478438" y="3369010"/>
                </a:cubicBezTo>
                <a:lnTo>
                  <a:pt x="491268" y="3340334"/>
                </a:lnTo>
                <a:lnTo>
                  <a:pt x="481268" y="3334978"/>
                </a:lnTo>
                <a:close/>
                <a:moveTo>
                  <a:pt x="385103" y="3234417"/>
                </a:moveTo>
                <a:lnTo>
                  <a:pt x="394907" y="3243179"/>
                </a:lnTo>
                <a:lnTo>
                  <a:pt x="407331" y="3251843"/>
                </a:lnTo>
                <a:lnTo>
                  <a:pt x="427247" y="3234680"/>
                </a:lnTo>
                <a:lnTo>
                  <a:pt x="408051" y="3236114"/>
                </a:lnTo>
                <a:close/>
                <a:moveTo>
                  <a:pt x="293992" y="3227681"/>
                </a:moveTo>
                <a:lnTo>
                  <a:pt x="310863" y="3303036"/>
                </a:lnTo>
                <a:lnTo>
                  <a:pt x="314200" y="3311864"/>
                </a:lnTo>
                <a:lnTo>
                  <a:pt x="346623" y="3294552"/>
                </a:lnTo>
                <a:lnTo>
                  <a:pt x="386844" y="3267724"/>
                </a:lnTo>
                <a:lnTo>
                  <a:pt x="346453" y="3231560"/>
                </a:lnTo>
                <a:close/>
                <a:moveTo>
                  <a:pt x="521204" y="3227662"/>
                </a:moveTo>
                <a:lnTo>
                  <a:pt x="472442" y="3231304"/>
                </a:lnTo>
                <a:lnTo>
                  <a:pt x="454017" y="3248411"/>
                </a:lnTo>
                <a:lnTo>
                  <a:pt x="429899" y="3267581"/>
                </a:lnTo>
                <a:lnTo>
                  <a:pt x="469481" y="3295183"/>
                </a:lnTo>
                <a:lnTo>
                  <a:pt x="501667" y="3312302"/>
                </a:lnTo>
                <a:lnTo>
                  <a:pt x="512504" y="3276718"/>
                </a:lnTo>
                <a:close/>
                <a:moveTo>
                  <a:pt x="645944" y="3207392"/>
                </a:moveTo>
                <a:lnTo>
                  <a:pt x="636239" y="3210346"/>
                </a:lnTo>
                <a:cubicBezTo>
                  <a:pt x="614532" y="3215761"/>
                  <a:pt x="591336" y="3220429"/>
                  <a:pt x="566924" y="3224247"/>
                </a:cubicBezTo>
                <a:lnTo>
                  <a:pt x="548148" y="3225649"/>
                </a:lnTo>
                <a:lnTo>
                  <a:pt x="532529" y="3314283"/>
                </a:lnTo>
                <a:lnTo>
                  <a:pt x="529280" y="3325012"/>
                </a:lnTo>
                <a:lnTo>
                  <a:pt x="558887" y="3336294"/>
                </a:lnTo>
                <a:cubicBezTo>
                  <a:pt x="599166" y="3348093"/>
                  <a:pt x="631474" y="3346164"/>
                  <a:pt x="649797" y="3327840"/>
                </a:cubicBezTo>
                <a:cubicBezTo>
                  <a:pt x="668121" y="3309195"/>
                  <a:pt x="670050" y="3276807"/>
                  <a:pt x="658251" y="3236553"/>
                </a:cubicBezTo>
                <a:close/>
                <a:moveTo>
                  <a:pt x="169104" y="3206549"/>
                </a:moveTo>
                <a:lnTo>
                  <a:pt x="157854" y="3236073"/>
                </a:lnTo>
                <a:cubicBezTo>
                  <a:pt x="146055" y="3276352"/>
                  <a:pt x="147984" y="3308660"/>
                  <a:pt x="166307" y="3326984"/>
                </a:cubicBezTo>
                <a:cubicBezTo>
                  <a:pt x="184631" y="3345629"/>
                  <a:pt x="216939" y="3347638"/>
                  <a:pt x="257218" y="3335814"/>
                </a:cubicBezTo>
                <a:lnTo>
                  <a:pt x="287649" y="3324179"/>
                </a:lnTo>
                <a:lnTo>
                  <a:pt x="269900" y="3244968"/>
                </a:lnTo>
                <a:lnTo>
                  <a:pt x="268468" y="3225793"/>
                </a:lnTo>
                <a:lnTo>
                  <a:pt x="249179" y="3224367"/>
                </a:lnTo>
                <a:close/>
                <a:moveTo>
                  <a:pt x="288917" y="3177713"/>
                </a:moveTo>
                <a:lnTo>
                  <a:pt x="290802" y="3203043"/>
                </a:lnTo>
                <a:lnTo>
                  <a:pt x="316853" y="3205057"/>
                </a:lnTo>
                <a:lnTo>
                  <a:pt x="301752" y="3191537"/>
                </a:lnTo>
                <a:close/>
                <a:moveTo>
                  <a:pt x="528974" y="3176635"/>
                </a:moveTo>
                <a:lnTo>
                  <a:pt x="514351" y="3192395"/>
                </a:lnTo>
                <a:lnTo>
                  <a:pt x="500527" y="3205229"/>
                </a:lnTo>
                <a:lnTo>
                  <a:pt x="525512" y="3203370"/>
                </a:lnTo>
                <a:lnTo>
                  <a:pt x="528388" y="3187154"/>
                </a:lnTo>
                <a:close/>
                <a:moveTo>
                  <a:pt x="1459898" y="3111812"/>
                </a:moveTo>
                <a:cubicBezTo>
                  <a:pt x="1502760" y="3111812"/>
                  <a:pt x="1537907" y="3125528"/>
                  <a:pt x="1537907" y="3141816"/>
                </a:cubicBezTo>
                <a:cubicBezTo>
                  <a:pt x="1537907" y="3141816"/>
                  <a:pt x="1537907" y="3142673"/>
                  <a:pt x="1537907" y="3143530"/>
                </a:cubicBezTo>
                <a:lnTo>
                  <a:pt x="1540479" y="3143530"/>
                </a:lnTo>
                <a:lnTo>
                  <a:pt x="1540479" y="3199252"/>
                </a:lnTo>
                <a:lnTo>
                  <a:pt x="1537907" y="3199252"/>
                </a:lnTo>
                <a:cubicBezTo>
                  <a:pt x="1537050" y="3206110"/>
                  <a:pt x="1532764" y="3212110"/>
                  <a:pt x="1525048" y="3216397"/>
                </a:cubicBezTo>
                <a:cubicBezTo>
                  <a:pt x="1525048" y="3242972"/>
                  <a:pt x="1525048" y="3323553"/>
                  <a:pt x="1525048" y="3344127"/>
                </a:cubicBezTo>
                <a:cubicBezTo>
                  <a:pt x="1525048" y="3368987"/>
                  <a:pt x="1537050" y="3375845"/>
                  <a:pt x="1537050" y="3375845"/>
                </a:cubicBezTo>
                <a:cubicBezTo>
                  <a:pt x="1566197" y="3392990"/>
                  <a:pt x="1731647" y="3561869"/>
                  <a:pt x="1658780" y="3612446"/>
                </a:cubicBezTo>
                <a:cubicBezTo>
                  <a:pt x="1593629" y="3657880"/>
                  <a:pt x="1483900" y="3656166"/>
                  <a:pt x="1461612" y="3655309"/>
                </a:cubicBezTo>
                <a:cubicBezTo>
                  <a:pt x="1439323" y="3656166"/>
                  <a:pt x="1328738" y="3657880"/>
                  <a:pt x="1263587" y="3612446"/>
                </a:cubicBezTo>
                <a:cubicBezTo>
                  <a:pt x="1190721" y="3561011"/>
                  <a:pt x="1358742" y="3392133"/>
                  <a:pt x="1387888" y="3374988"/>
                </a:cubicBezTo>
                <a:cubicBezTo>
                  <a:pt x="1387888" y="3374988"/>
                  <a:pt x="1405033" y="3368130"/>
                  <a:pt x="1405033" y="3343270"/>
                </a:cubicBezTo>
                <a:cubicBezTo>
                  <a:pt x="1405033" y="3322696"/>
                  <a:pt x="1405033" y="3243829"/>
                  <a:pt x="1405033" y="3216397"/>
                </a:cubicBezTo>
                <a:cubicBezTo>
                  <a:pt x="1389603" y="3212110"/>
                  <a:pt x="1383602" y="3206110"/>
                  <a:pt x="1382745" y="3199252"/>
                </a:cubicBezTo>
                <a:lnTo>
                  <a:pt x="1381030" y="3199252"/>
                </a:lnTo>
                <a:lnTo>
                  <a:pt x="1381030" y="3143530"/>
                </a:lnTo>
                <a:lnTo>
                  <a:pt x="1381888" y="3143530"/>
                </a:lnTo>
                <a:cubicBezTo>
                  <a:pt x="1381888" y="3143530"/>
                  <a:pt x="1381888" y="3142673"/>
                  <a:pt x="1381888" y="3141816"/>
                </a:cubicBezTo>
                <a:cubicBezTo>
                  <a:pt x="1381888" y="3125528"/>
                  <a:pt x="1417035" y="3111812"/>
                  <a:pt x="1459898" y="3111812"/>
                </a:cubicBezTo>
                <a:close/>
                <a:moveTo>
                  <a:pt x="590102" y="3107161"/>
                </a:moveTo>
                <a:lnTo>
                  <a:pt x="570367" y="3132026"/>
                </a:lnTo>
                <a:lnTo>
                  <a:pt x="554587" y="3149033"/>
                </a:lnTo>
                <a:lnTo>
                  <a:pt x="551759" y="3200115"/>
                </a:lnTo>
                <a:lnTo>
                  <a:pt x="599532" y="3190547"/>
                </a:lnTo>
                <a:lnTo>
                  <a:pt x="634360" y="3179941"/>
                </a:lnTo>
                <a:lnTo>
                  <a:pt x="630590" y="3171008"/>
                </a:lnTo>
                <a:close/>
                <a:moveTo>
                  <a:pt x="226426" y="3105365"/>
                </a:moveTo>
                <a:lnTo>
                  <a:pt x="198965" y="3146668"/>
                </a:lnTo>
                <a:lnTo>
                  <a:pt x="181775" y="3178985"/>
                </a:lnTo>
                <a:lnTo>
                  <a:pt x="216948" y="3190170"/>
                </a:lnTo>
                <a:lnTo>
                  <a:pt x="266550" y="3200120"/>
                </a:lnTo>
                <a:lnTo>
                  <a:pt x="262773" y="3149552"/>
                </a:lnTo>
                <a:lnTo>
                  <a:pt x="245737" y="3131203"/>
                </a:lnTo>
                <a:close/>
                <a:moveTo>
                  <a:pt x="556573" y="3065846"/>
                </a:moveTo>
                <a:lnTo>
                  <a:pt x="558070" y="3086095"/>
                </a:lnTo>
                <a:lnTo>
                  <a:pt x="557031" y="3104875"/>
                </a:lnTo>
                <a:lnTo>
                  <a:pt x="573606" y="3085614"/>
                </a:lnTo>
                <a:close/>
                <a:moveTo>
                  <a:pt x="259173" y="3065486"/>
                </a:moveTo>
                <a:lnTo>
                  <a:pt x="241966" y="3085481"/>
                </a:lnTo>
                <a:lnTo>
                  <a:pt x="259516" y="3105960"/>
                </a:lnTo>
                <a:lnTo>
                  <a:pt x="258032" y="3086095"/>
                </a:lnTo>
                <a:close/>
                <a:moveTo>
                  <a:pt x="408909" y="3023515"/>
                </a:moveTo>
                <a:cubicBezTo>
                  <a:pt x="443199" y="3023515"/>
                  <a:pt x="471488" y="3050947"/>
                  <a:pt x="471488" y="3086095"/>
                </a:cubicBezTo>
                <a:cubicBezTo>
                  <a:pt x="471488" y="3120385"/>
                  <a:pt x="443199" y="3148674"/>
                  <a:pt x="408909" y="3148674"/>
                </a:cubicBezTo>
                <a:cubicBezTo>
                  <a:pt x="374619" y="3148674"/>
                  <a:pt x="346329" y="3121242"/>
                  <a:pt x="346329" y="3086095"/>
                </a:cubicBezTo>
                <a:cubicBezTo>
                  <a:pt x="346329" y="3051805"/>
                  <a:pt x="373761" y="3023515"/>
                  <a:pt x="408909" y="3023515"/>
                </a:cubicBezTo>
                <a:close/>
                <a:moveTo>
                  <a:pt x="153678" y="3002555"/>
                </a:moveTo>
                <a:lnTo>
                  <a:pt x="124280" y="3015709"/>
                </a:lnTo>
                <a:cubicBezTo>
                  <a:pt x="87467" y="3035826"/>
                  <a:pt x="66009" y="3060056"/>
                  <a:pt x="66009" y="3086095"/>
                </a:cubicBezTo>
                <a:cubicBezTo>
                  <a:pt x="66009" y="3107794"/>
                  <a:pt x="80994" y="3128154"/>
                  <a:pt x="107354" y="3145918"/>
                </a:cubicBezTo>
                <a:lnTo>
                  <a:pt x="153101" y="3169496"/>
                </a:lnTo>
                <a:lnTo>
                  <a:pt x="158538" y="3159312"/>
                </a:lnTo>
                <a:cubicBezTo>
                  <a:pt x="170071" y="3140140"/>
                  <a:pt x="183184" y="3120446"/>
                  <a:pt x="197758" y="3100495"/>
                </a:cubicBezTo>
                <a:lnTo>
                  <a:pt x="210657" y="3084265"/>
                </a:lnTo>
                <a:lnTo>
                  <a:pt x="167482" y="3026495"/>
                </a:lnTo>
                <a:close/>
                <a:moveTo>
                  <a:pt x="663026" y="3002411"/>
                </a:moveTo>
                <a:lnTo>
                  <a:pt x="657566" y="3012654"/>
                </a:lnTo>
                <a:cubicBezTo>
                  <a:pt x="646033" y="3031861"/>
                  <a:pt x="632920" y="3051592"/>
                  <a:pt x="618347" y="3071576"/>
                </a:cubicBezTo>
                <a:lnTo>
                  <a:pt x="606027" y="3087098"/>
                </a:lnTo>
                <a:lnTo>
                  <a:pt x="648622" y="3144181"/>
                </a:lnTo>
                <a:lnTo>
                  <a:pt x="663100" y="3169333"/>
                </a:lnTo>
                <a:lnTo>
                  <a:pt x="691823" y="3156482"/>
                </a:lnTo>
                <a:cubicBezTo>
                  <a:pt x="728636" y="3136365"/>
                  <a:pt x="750094" y="3112134"/>
                  <a:pt x="750094" y="3086095"/>
                </a:cubicBezTo>
                <a:cubicBezTo>
                  <a:pt x="750094" y="3064396"/>
                  <a:pt x="735109" y="3043953"/>
                  <a:pt x="708749" y="3026099"/>
                </a:cubicBezTo>
                <a:close/>
                <a:moveTo>
                  <a:pt x="264344" y="2972075"/>
                </a:moveTo>
                <a:lnTo>
                  <a:pt x="216572" y="2981643"/>
                </a:lnTo>
                <a:lnTo>
                  <a:pt x="182153" y="2992125"/>
                </a:lnTo>
                <a:lnTo>
                  <a:pt x="185871" y="3000908"/>
                </a:lnTo>
                <a:lnTo>
                  <a:pt x="226227" y="3064676"/>
                </a:lnTo>
                <a:lnTo>
                  <a:pt x="245737" y="3040131"/>
                </a:lnTo>
                <a:lnTo>
                  <a:pt x="261518" y="3023133"/>
                </a:lnTo>
                <a:close/>
                <a:moveTo>
                  <a:pt x="549613" y="2971718"/>
                </a:moveTo>
                <a:lnTo>
                  <a:pt x="553247" y="3020858"/>
                </a:lnTo>
                <a:lnTo>
                  <a:pt x="570367" y="3039308"/>
                </a:lnTo>
                <a:lnTo>
                  <a:pt x="589651" y="3065152"/>
                </a:lnTo>
                <a:lnTo>
                  <a:pt x="617139" y="3023810"/>
                </a:lnTo>
                <a:lnTo>
                  <a:pt x="633701" y="2992672"/>
                </a:lnTo>
                <a:lnTo>
                  <a:pt x="599155" y="2981643"/>
                </a:lnTo>
                <a:close/>
                <a:moveTo>
                  <a:pt x="501023" y="2967017"/>
                </a:moveTo>
                <a:lnTo>
                  <a:pt x="514350" y="2978939"/>
                </a:lnTo>
                <a:lnTo>
                  <a:pt x="527186" y="2992772"/>
                </a:lnTo>
                <a:lnTo>
                  <a:pt x="525405" y="2968836"/>
                </a:lnTo>
                <a:close/>
                <a:moveTo>
                  <a:pt x="315586" y="2966960"/>
                </a:moveTo>
                <a:lnTo>
                  <a:pt x="290341" y="2968839"/>
                </a:lnTo>
                <a:lnTo>
                  <a:pt x="287715" y="2983640"/>
                </a:lnTo>
                <a:lnTo>
                  <a:pt x="287044" y="2995639"/>
                </a:lnTo>
                <a:lnTo>
                  <a:pt x="301753" y="2979796"/>
                </a:lnTo>
                <a:close/>
                <a:moveTo>
                  <a:pt x="408051" y="2960079"/>
                </a:moveTo>
                <a:lnTo>
                  <a:pt x="356209" y="2963937"/>
                </a:lnTo>
                <a:lnTo>
                  <a:pt x="318898" y="2996084"/>
                </a:lnTo>
                <a:lnTo>
                  <a:pt x="284805" y="3035702"/>
                </a:lnTo>
                <a:lnTo>
                  <a:pt x="282035" y="3085238"/>
                </a:lnTo>
                <a:lnTo>
                  <a:pt x="285866" y="3136706"/>
                </a:lnTo>
                <a:lnTo>
                  <a:pt x="318897" y="3175250"/>
                </a:lnTo>
                <a:lnTo>
                  <a:pt x="355604" y="3208055"/>
                </a:lnTo>
                <a:lnTo>
                  <a:pt x="408051" y="3212111"/>
                </a:lnTo>
                <a:lnTo>
                  <a:pt x="457727" y="3208414"/>
                </a:lnTo>
                <a:lnTo>
                  <a:pt x="497206" y="3174393"/>
                </a:lnTo>
                <a:lnTo>
                  <a:pt x="531308" y="3134766"/>
                </a:lnTo>
                <a:lnTo>
                  <a:pt x="534067" y="3085238"/>
                </a:lnTo>
                <a:lnTo>
                  <a:pt x="530360" y="3035422"/>
                </a:lnTo>
                <a:lnTo>
                  <a:pt x="497205" y="2996941"/>
                </a:lnTo>
                <a:lnTo>
                  <a:pt x="460323" y="2963980"/>
                </a:lnTo>
                <a:close/>
                <a:moveTo>
                  <a:pt x="407682" y="2919589"/>
                </a:moveTo>
                <a:lnTo>
                  <a:pt x="386715" y="2937654"/>
                </a:lnTo>
                <a:lnTo>
                  <a:pt x="408051" y="2936076"/>
                </a:lnTo>
                <a:lnTo>
                  <a:pt x="430998" y="2937773"/>
                </a:lnTo>
                <a:lnTo>
                  <a:pt x="421196" y="2929013"/>
                </a:lnTo>
                <a:close/>
                <a:moveTo>
                  <a:pt x="313772" y="2860695"/>
                </a:moveTo>
                <a:lnTo>
                  <a:pt x="303599" y="2894135"/>
                </a:lnTo>
                <a:lnTo>
                  <a:pt x="294668" y="2944460"/>
                </a:lnTo>
                <a:lnTo>
                  <a:pt x="343747" y="2940831"/>
                </a:lnTo>
                <a:lnTo>
                  <a:pt x="362122" y="2923781"/>
                </a:lnTo>
                <a:lnTo>
                  <a:pt x="386241" y="2904637"/>
                </a:lnTo>
                <a:lnTo>
                  <a:pt x="346622" y="2877008"/>
                </a:lnTo>
                <a:close/>
                <a:moveTo>
                  <a:pt x="501946" y="2858728"/>
                </a:moveTo>
                <a:lnTo>
                  <a:pt x="469255" y="2876151"/>
                </a:lnTo>
                <a:lnTo>
                  <a:pt x="429247" y="2902810"/>
                </a:lnTo>
                <a:lnTo>
                  <a:pt x="471695" y="2940782"/>
                </a:lnTo>
                <a:lnTo>
                  <a:pt x="522501" y="2944539"/>
                </a:lnTo>
                <a:lnTo>
                  <a:pt x="505240" y="2867440"/>
                </a:lnTo>
                <a:close/>
                <a:moveTo>
                  <a:pt x="219818" y="2828773"/>
                </a:moveTo>
                <a:cubicBezTo>
                  <a:pt x="196953" y="2827205"/>
                  <a:pt x="178523" y="2832135"/>
                  <a:pt x="166307" y="2844350"/>
                </a:cubicBezTo>
                <a:cubicBezTo>
                  <a:pt x="147984" y="2862675"/>
                  <a:pt x="146176" y="2894983"/>
                  <a:pt x="158080" y="2935262"/>
                </a:cubicBezTo>
                <a:lnTo>
                  <a:pt x="170445" y="2964470"/>
                </a:lnTo>
                <a:lnTo>
                  <a:pt x="179864" y="2961618"/>
                </a:lnTo>
                <a:cubicBezTo>
                  <a:pt x="201572" y="2956238"/>
                  <a:pt x="224768" y="2951607"/>
                  <a:pt x="249179" y="2947823"/>
                </a:cubicBezTo>
                <a:lnTo>
                  <a:pt x="267973" y="2946434"/>
                </a:lnTo>
                <a:lnTo>
                  <a:pt x="283574" y="2857908"/>
                </a:lnTo>
                <a:lnTo>
                  <a:pt x="286788" y="2847295"/>
                </a:lnTo>
                <a:lnTo>
                  <a:pt x="277993" y="2842929"/>
                </a:lnTo>
                <a:cubicBezTo>
                  <a:pt x="256609" y="2834778"/>
                  <a:pt x="236967" y="2829948"/>
                  <a:pt x="219818" y="2828773"/>
                </a:cubicBezTo>
                <a:close/>
                <a:moveTo>
                  <a:pt x="595924" y="2827916"/>
                </a:moveTo>
                <a:cubicBezTo>
                  <a:pt x="584472" y="2828700"/>
                  <a:pt x="571928" y="2831107"/>
                  <a:pt x="558510" y="2835040"/>
                </a:cubicBezTo>
                <a:lnTo>
                  <a:pt x="528370" y="2846540"/>
                </a:lnTo>
                <a:lnTo>
                  <a:pt x="546323" y="2927223"/>
                </a:lnTo>
                <a:lnTo>
                  <a:pt x="547742" y="2946405"/>
                </a:lnTo>
                <a:lnTo>
                  <a:pt x="566924" y="2947823"/>
                </a:lnTo>
                <a:lnTo>
                  <a:pt x="646399" y="2965508"/>
                </a:lnTo>
                <a:lnTo>
                  <a:pt x="658251" y="2934405"/>
                </a:lnTo>
                <a:cubicBezTo>
                  <a:pt x="670050" y="2894126"/>
                  <a:pt x="668121" y="2861818"/>
                  <a:pt x="649797" y="2843494"/>
                </a:cubicBezTo>
                <a:cubicBezTo>
                  <a:pt x="637367" y="2831278"/>
                  <a:pt x="618829" y="2826349"/>
                  <a:pt x="595924" y="2827916"/>
                </a:cubicBezTo>
                <a:close/>
                <a:moveTo>
                  <a:pt x="408051" y="2743195"/>
                </a:moveTo>
                <a:cubicBezTo>
                  <a:pt x="382012" y="2743195"/>
                  <a:pt x="357782" y="2764774"/>
                  <a:pt x="337665" y="2801693"/>
                </a:cubicBezTo>
                <a:lnTo>
                  <a:pt x="324723" y="2830683"/>
                </a:lnTo>
                <a:lnTo>
                  <a:pt x="334835" y="2835724"/>
                </a:lnTo>
                <a:lnTo>
                  <a:pt x="408327" y="2887107"/>
                </a:lnTo>
                <a:lnTo>
                  <a:pt x="422572" y="2875801"/>
                </a:lnTo>
                <a:cubicBezTo>
                  <a:pt x="442557" y="2861228"/>
                  <a:pt x="462287" y="2848115"/>
                  <a:pt x="481495" y="2836582"/>
                </a:cubicBezTo>
                <a:lnTo>
                  <a:pt x="491548" y="2831224"/>
                </a:lnTo>
                <a:lnTo>
                  <a:pt x="485785" y="2815980"/>
                </a:lnTo>
                <a:cubicBezTo>
                  <a:pt x="464351" y="2770353"/>
                  <a:pt x="437345" y="2743195"/>
                  <a:pt x="408051" y="2743195"/>
                </a:cubicBezTo>
                <a:close/>
                <a:moveTo>
                  <a:pt x="6236067" y="2687689"/>
                </a:moveTo>
                <a:cubicBezTo>
                  <a:pt x="6239925" y="2687475"/>
                  <a:pt x="6243782" y="2688760"/>
                  <a:pt x="6246782" y="2691760"/>
                </a:cubicBezTo>
                <a:cubicBezTo>
                  <a:pt x="6252783" y="2697761"/>
                  <a:pt x="6253640" y="2707192"/>
                  <a:pt x="6247640" y="2713192"/>
                </a:cubicBezTo>
                <a:lnTo>
                  <a:pt x="6216014" y="2748180"/>
                </a:lnTo>
                <a:lnTo>
                  <a:pt x="6222322" y="2756871"/>
                </a:lnTo>
                <a:cubicBezTo>
                  <a:pt x="6235744" y="2786165"/>
                  <a:pt x="6231565" y="2821847"/>
                  <a:pt x="6209062" y="2846922"/>
                </a:cubicBezTo>
                <a:cubicBezTo>
                  <a:pt x="6193632" y="2863639"/>
                  <a:pt x="6172843" y="2872640"/>
                  <a:pt x="6151734" y="2873711"/>
                </a:cubicBezTo>
                <a:lnTo>
                  <a:pt x="6133744" y="2871200"/>
                </a:lnTo>
                <a:lnTo>
                  <a:pt x="6125031" y="2893063"/>
                </a:lnTo>
                <a:cubicBezTo>
                  <a:pt x="6072016" y="3025978"/>
                  <a:pt x="5930188" y="3380025"/>
                  <a:pt x="5925312" y="3375846"/>
                </a:cubicBezTo>
                <a:cubicBezTo>
                  <a:pt x="5920169" y="3370702"/>
                  <a:pt x="5917597" y="3266975"/>
                  <a:pt x="5917597" y="3266975"/>
                </a:cubicBezTo>
                <a:cubicBezTo>
                  <a:pt x="5917597" y="3266975"/>
                  <a:pt x="6005120" y="3039936"/>
                  <a:pt x="6056644" y="2907754"/>
                </a:cubicBezTo>
                <a:lnTo>
                  <a:pt x="6068648" y="2877062"/>
                </a:lnTo>
                <a:lnTo>
                  <a:pt x="5680138" y="3041518"/>
                </a:lnTo>
                <a:lnTo>
                  <a:pt x="5576411" y="3046661"/>
                </a:lnTo>
                <a:lnTo>
                  <a:pt x="5660422" y="2986654"/>
                </a:lnTo>
                <a:lnTo>
                  <a:pt x="6069879" y="2807820"/>
                </a:lnTo>
                <a:lnTo>
                  <a:pt x="6065771" y="2780383"/>
                </a:lnTo>
                <a:cubicBezTo>
                  <a:pt x="6068031" y="2764586"/>
                  <a:pt x="6074903" y="2749196"/>
                  <a:pt x="6086476" y="2736337"/>
                </a:cubicBezTo>
                <a:cubicBezTo>
                  <a:pt x="6101906" y="2719192"/>
                  <a:pt x="6122694" y="2710191"/>
                  <a:pt x="6143804" y="2709228"/>
                </a:cubicBezTo>
                <a:cubicBezTo>
                  <a:pt x="6154359" y="2708745"/>
                  <a:pt x="6164994" y="2710271"/>
                  <a:pt x="6175080" y="2713794"/>
                </a:cubicBezTo>
                <a:lnTo>
                  <a:pt x="6195368" y="2725788"/>
                </a:lnTo>
                <a:lnTo>
                  <a:pt x="6225351" y="2692617"/>
                </a:lnTo>
                <a:cubicBezTo>
                  <a:pt x="6228352" y="2689618"/>
                  <a:pt x="6232209" y="2687903"/>
                  <a:pt x="6236067" y="2687689"/>
                </a:cubicBezTo>
                <a:close/>
                <a:moveTo>
                  <a:pt x="408051" y="2678044"/>
                </a:moveTo>
                <a:cubicBezTo>
                  <a:pt x="439234" y="2678044"/>
                  <a:pt x="468126" y="2703722"/>
                  <a:pt x="492060" y="2747708"/>
                </a:cubicBezTo>
                <a:lnTo>
                  <a:pt x="519745" y="2816195"/>
                </a:lnTo>
                <a:lnTo>
                  <a:pt x="537283" y="2806846"/>
                </a:lnTo>
                <a:cubicBezTo>
                  <a:pt x="608864" y="2773842"/>
                  <a:pt x="667800" y="2768056"/>
                  <a:pt x="696946" y="2797202"/>
                </a:cubicBezTo>
                <a:cubicBezTo>
                  <a:pt x="726093" y="2826349"/>
                  <a:pt x="720306" y="2885285"/>
                  <a:pt x="687302" y="2956865"/>
                </a:cubicBezTo>
                <a:lnTo>
                  <a:pt x="677955" y="2974402"/>
                </a:lnTo>
                <a:lnTo>
                  <a:pt x="746440" y="3002086"/>
                </a:lnTo>
                <a:cubicBezTo>
                  <a:pt x="790426" y="3026021"/>
                  <a:pt x="816103" y="3054913"/>
                  <a:pt x="816103" y="3086095"/>
                </a:cubicBezTo>
                <a:cubicBezTo>
                  <a:pt x="816103" y="3127243"/>
                  <a:pt x="770455" y="3164748"/>
                  <a:pt x="696624" y="3191966"/>
                </a:cubicBezTo>
                <a:lnTo>
                  <a:pt x="678828" y="3197383"/>
                </a:lnTo>
                <a:lnTo>
                  <a:pt x="698388" y="3240686"/>
                </a:lnTo>
                <a:cubicBezTo>
                  <a:pt x="721207" y="3300318"/>
                  <a:pt x="722450" y="3348629"/>
                  <a:pt x="696946" y="3374132"/>
                </a:cubicBezTo>
                <a:cubicBezTo>
                  <a:pt x="667371" y="3403707"/>
                  <a:pt x="608435" y="3397921"/>
                  <a:pt x="536961" y="3364809"/>
                </a:cubicBezTo>
                <a:lnTo>
                  <a:pt x="519982" y="3355715"/>
                </a:lnTo>
                <a:lnTo>
                  <a:pt x="514243" y="3374667"/>
                </a:lnTo>
                <a:cubicBezTo>
                  <a:pt x="487133" y="3448498"/>
                  <a:pt x="449628" y="3494146"/>
                  <a:pt x="408051" y="3494146"/>
                </a:cubicBezTo>
                <a:cubicBezTo>
                  <a:pt x="377190" y="3494146"/>
                  <a:pt x="348379" y="3468469"/>
                  <a:pt x="324419" y="3424483"/>
                </a:cubicBezTo>
                <a:lnTo>
                  <a:pt x="296648" y="3355999"/>
                </a:lnTo>
                <a:lnTo>
                  <a:pt x="279143" y="3365346"/>
                </a:lnTo>
                <a:cubicBezTo>
                  <a:pt x="207669" y="3398350"/>
                  <a:pt x="148733" y="3404137"/>
                  <a:pt x="119158" y="3374990"/>
                </a:cubicBezTo>
                <a:cubicBezTo>
                  <a:pt x="90011" y="3345415"/>
                  <a:pt x="95798" y="3286479"/>
                  <a:pt x="128803" y="3215005"/>
                </a:cubicBezTo>
                <a:lnTo>
                  <a:pt x="138022" y="3197737"/>
                </a:lnTo>
                <a:lnTo>
                  <a:pt x="69663" y="3170104"/>
                </a:lnTo>
                <a:cubicBezTo>
                  <a:pt x="25677" y="3146169"/>
                  <a:pt x="0" y="3117277"/>
                  <a:pt x="0" y="3086095"/>
                </a:cubicBezTo>
                <a:cubicBezTo>
                  <a:pt x="0" y="3044519"/>
                  <a:pt x="45649" y="3007014"/>
                  <a:pt x="119480" y="2979903"/>
                </a:cubicBezTo>
                <a:lnTo>
                  <a:pt x="137725" y="2974378"/>
                </a:lnTo>
                <a:lnTo>
                  <a:pt x="117717" y="2930147"/>
                </a:lnTo>
                <a:cubicBezTo>
                  <a:pt x="94897" y="2870580"/>
                  <a:pt x="93655" y="2822222"/>
                  <a:pt x="119158" y="2796344"/>
                </a:cubicBezTo>
                <a:cubicBezTo>
                  <a:pt x="133945" y="2781771"/>
                  <a:pt x="156073" y="2775931"/>
                  <a:pt x="183438" y="2777860"/>
                </a:cubicBezTo>
                <a:cubicBezTo>
                  <a:pt x="203962" y="2779308"/>
                  <a:pt x="227432" y="2785123"/>
                  <a:pt x="252960" y="2794903"/>
                </a:cubicBezTo>
                <a:lnTo>
                  <a:pt x="296135" y="2816430"/>
                </a:lnTo>
                <a:lnTo>
                  <a:pt x="301859" y="2797524"/>
                </a:lnTo>
                <a:cubicBezTo>
                  <a:pt x="328970" y="2723693"/>
                  <a:pt x="366475" y="2678044"/>
                  <a:pt x="408051" y="2678044"/>
                </a:cubicBezTo>
                <a:close/>
                <a:moveTo>
                  <a:pt x="5013199" y="2674617"/>
                </a:moveTo>
                <a:lnTo>
                  <a:pt x="5013199" y="3173535"/>
                </a:lnTo>
                <a:lnTo>
                  <a:pt x="5299521" y="3173535"/>
                </a:lnTo>
                <a:close/>
                <a:moveTo>
                  <a:pt x="1456470" y="2362577"/>
                </a:moveTo>
                <a:lnTo>
                  <a:pt x="1669068" y="2628325"/>
                </a:lnTo>
                <a:lnTo>
                  <a:pt x="1485616" y="2776629"/>
                </a:lnTo>
                <a:cubicBezTo>
                  <a:pt x="1485616" y="2776629"/>
                  <a:pt x="1373317" y="2763771"/>
                  <a:pt x="1306451" y="2916361"/>
                </a:cubicBezTo>
                <a:lnTo>
                  <a:pt x="1094710" y="2652328"/>
                </a:lnTo>
                <a:cubicBezTo>
                  <a:pt x="1094710" y="2652328"/>
                  <a:pt x="1159004" y="2492022"/>
                  <a:pt x="1275590" y="2507453"/>
                </a:cubicBezTo>
                <a:close/>
                <a:moveTo>
                  <a:pt x="4655725" y="2293138"/>
                </a:moveTo>
                <a:lnTo>
                  <a:pt x="4792886" y="2293138"/>
                </a:lnTo>
                <a:lnTo>
                  <a:pt x="4792886" y="3310694"/>
                </a:lnTo>
                <a:lnTo>
                  <a:pt x="4655725" y="3310694"/>
                </a:lnTo>
                <a:close/>
                <a:moveTo>
                  <a:pt x="409649" y="2273959"/>
                </a:moveTo>
                <a:lnTo>
                  <a:pt x="459486" y="2287996"/>
                </a:lnTo>
                <a:cubicBezTo>
                  <a:pt x="459486" y="2287996"/>
                  <a:pt x="440627" y="2283924"/>
                  <a:pt x="421017" y="2278031"/>
                </a:cubicBezTo>
                <a:close/>
                <a:moveTo>
                  <a:pt x="4930045" y="2273422"/>
                </a:moveTo>
                <a:lnTo>
                  <a:pt x="5477829" y="3311552"/>
                </a:lnTo>
                <a:lnTo>
                  <a:pt x="4930045" y="3311552"/>
                </a:lnTo>
                <a:close/>
                <a:moveTo>
                  <a:pt x="5782627" y="2202717"/>
                </a:moveTo>
                <a:lnTo>
                  <a:pt x="5767752" y="2214541"/>
                </a:lnTo>
                <a:cubicBezTo>
                  <a:pt x="5747801" y="2229115"/>
                  <a:pt x="5728108" y="2242228"/>
                  <a:pt x="5708935" y="2253760"/>
                </a:cubicBezTo>
                <a:lnTo>
                  <a:pt x="5698749" y="2259199"/>
                </a:lnTo>
                <a:lnTo>
                  <a:pt x="5722156" y="2304260"/>
                </a:lnTo>
                <a:cubicBezTo>
                  <a:pt x="5740009" y="2330529"/>
                  <a:pt x="5760453" y="2345431"/>
                  <a:pt x="5782152" y="2345431"/>
                </a:cubicBezTo>
                <a:cubicBezTo>
                  <a:pt x="5803851" y="2345431"/>
                  <a:pt x="5824294" y="2330530"/>
                  <a:pt x="5842148" y="2304260"/>
                </a:cubicBezTo>
                <a:lnTo>
                  <a:pt x="5865804" y="2258720"/>
                </a:lnTo>
                <a:lnTo>
                  <a:pt x="5855368" y="2253129"/>
                </a:lnTo>
                <a:cubicBezTo>
                  <a:pt x="5836195" y="2241561"/>
                  <a:pt x="5816502" y="2228411"/>
                  <a:pt x="5796551" y="2213804"/>
                </a:cubicBezTo>
                <a:close/>
                <a:moveTo>
                  <a:pt x="5760901" y="2151836"/>
                </a:moveTo>
                <a:lnTo>
                  <a:pt x="5781715" y="2169748"/>
                </a:lnTo>
                <a:lnTo>
                  <a:pt x="5802358" y="2151959"/>
                </a:lnTo>
                <a:lnTo>
                  <a:pt x="5782152" y="2153407"/>
                </a:lnTo>
                <a:close/>
                <a:moveTo>
                  <a:pt x="5896549" y="2145209"/>
                </a:moveTo>
                <a:lnTo>
                  <a:pt x="5847314" y="2148737"/>
                </a:lnTo>
                <a:lnTo>
                  <a:pt x="5828117" y="2166561"/>
                </a:lnTo>
                <a:lnTo>
                  <a:pt x="5803118" y="2186431"/>
                </a:lnTo>
                <a:lnTo>
                  <a:pt x="5843581" y="2213334"/>
                </a:lnTo>
                <a:lnTo>
                  <a:pt x="5875307" y="2230209"/>
                </a:lnTo>
                <a:lnTo>
                  <a:pt x="5886604" y="2194868"/>
                </a:lnTo>
                <a:close/>
                <a:moveTo>
                  <a:pt x="5667701" y="2144945"/>
                </a:moveTo>
                <a:lnTo>
                  <a:pt x="5677700" y="2194868"/>
                </a:lnTo>
                <a:lnTo>
                  <a:pt x="5688842" y="2229724"/>
                </a:lnTo>
                <a:lnTo>
                  <a:pt x="5720722" y="2212702"/>
                </a:lnTo>
                <a:lnTo>
                  <a:pt x="5761232" y="2185681"/>
                </a:lnTo>
                <a:lnTo>
                  <a:pt x="5736186" y="2165739"/>
                </a:lnTo>
                <a:lnTo>
                  <a:pt x="5717789" y="2148648"/>
                </a:lnTo>
                <a:close/>
                <a:moveTo>
                  <a:pt x="6020742" y="2124279"/>
                </a:moveTo>
                <a:lnTo>
                  <a:pt x="5941024" y="2142022"/>
                </a:lnTo>
                <a:lnTo>
                  <a:pt x="5921776" y="2143401"/>
                </a:lnTo>
                <a:lnTo>
                  <a:pt x="5920303" y="2163118"/>
                </a:lnTo>
                <a:lnTo>
                  <a:pt x="5902447" y="2242808"/>
                </a:lnTo>
                <a:lnTo>
                  <a:pt x="5932987" y="2254446"/>
                </a:lnTo>
                <a:cubicBezTo>
                  <a:pt x="5973266" y="2266244"/>
                  <a:pt x="6005573" y="2264317"/>
                  <a:pt x="6023897" y="2245992"/>
                </a:cubicBezTo>
                <a:cubicBezTo>
                  <a:pt x="6042221" y="2227346"/>
                  <a:pt x="6044149" y="2194959"/>
                  <a:pt x="6032350" y="2154704"/>
                </a:cubicBezTo>
                <a:close/>
                <a:moveTo>
                  <a:pt x="5543504" y="2123909"/>
                </a:moveTo>
                <a:lnTo>
                  <a:pt x="5531953" y="2154223"/>
                </a:lnTo>
                <a:cubicBezTo>
                  <a:pt x="5520155" y="2194502"/>
                  <a:pt x="5522083" y="2226811"/>
                  <a:pt x="5540407" y="2245135"/>
                </a:cubicBezTo>
                <a:cubicBezTo>
                  <a:pt x="5558731" y="2263781"/>
                  <a:pt x="5591038" y="2265788"/>
                  <a:pt x="5631317" y="2253964"/>
                </a:cubicBezTo>
                <a:lnTo>
                  <a:pt x="5661749" y="2242328"/>
                </a:lnTo>
                <a:lnTo>
                  <a:pt x="5644001" y="2163118"/>
                </a:lnTo>
                <a:lnTo>
                  <a:pt x="5642504" y="2143082"/>
                </a:lnTo>
                <a:lnTo>
                  <a:pt x="5623279" y="2141660"/>
                </a:lnTo>
                <a:close/>
                <a:moveTo>
                  <a:pt x="5901217" y="2096788"/>
                </a:moveTo>
                <a:lnTo>
                  <a:pt x="5888451" y="2110545"/>
                </a:lnTo>
                <a:lnTo>
                  <a:pt x="5875630" y="2122448"/>
                </a:lnTo>
                <a:lnTo>
                  <a:pt x="5899439" y="2120676"/>
                </a:lnTo>
                <a:close/>
                <a:moveTo>
                  <a:pt x="5663018" y="2095865"/>
                </a:moveTo>
                <a:lnTo>
                  <a:pt x="5664871" y="2120759"/>
                </a:lnTo>
                <a:lnTo>
                  <a:pt x="5689742" y="2122592"/>
                </a:lnTo>
                <a:lnTo>
                  <a:pt x="5675852" y="2109688"/>
                </a:lnTo>
                <a:close/>
                <a:moveTo>
                  <a:pt x="5964361" y="2025112"/>
                </a:moveTo>
                <a:lnTo>
                  <a:pt x="5944467" y="2050176"/>
                </a:lnTo>
                <a:lnTo>
                  <a:pt x="5927363" y="2068609"/>
                </a:lnTo>
                <a:lnTo>
                  <a:pt x="5923685" y="2117844"/>
                </a:lnTo>
                <a:lnTo>
                  <a:pt x="5973632" y="2107841"/>
                </a:lnTo>
                <a:lnTo>
                  <a:pt x="6007981" y="2096861"/>
                </a:lnTo>
                <a:lnTo>
                  <a:pt x="5991239" y="2065450"/>
                </a:lnTo>
                <a:close/>
                <a:moveTo>
                  <a:pt x="5599967" y="2024356"/>
                </a:moveTo>
                <a:lnTo>
                  <a:pt x="5573064" y="2064817"/>
                </a:lnTo>
                <a:lnTo>
                  <a:pt x="5555981" y="2096936"/>
                </a:lnTo>
                <a:lnTo>
                  <a:pt x="5591049" y="2108067"/>
                </a:lnTo>
                <a:lnTo>
                  <a:pt x="5640623" y="2117908"/>
                </a:lnTo>
                <a:lnTo>
                  <a:pt x="5636873" y="2067704"/>
                </a:lnTo>
                <a:lnTo>
                  <a:pt x="5619836" y="2049354"/>
                </a:lnTo>
                <a:close/>
                <a:moveTo>
                  <a:pt x="5930674" y="1983998"/>
                </a:moveTo>
                <a:lnTo>
                  <a:pt x="5932171" y="2004246"/>
                </a:lnTo>
                <a:lnTo>
                  <a:pt x="5930734" y="2023487"/>
                </a:lnTo>
                <a:lnTo>
                  <a:pt x="5947705" y="2003765"/>
                </a:lnTo>
                <a:close/>
                <a:moveTo>
                  <a:pt x="5633693" y="1983147"/>
                </a:moveTo>
                <a:lnTo>
                  <a:pt x="5615905" y="2003818"/>
                </a:lnTo>
                <a:lnTo>
                  <a:pt x="5633640" y="2024428"/>
                </a:lnTo>
                <a:lnTo>
                  <a:pt x="5632133" y="2004246"/>
                </a:lnTo>
                <a:close/>
                <a:moveTo>
                  <a:pt x="5783009" y="1940810"/>
                </a:moveTo>
                <a:cubicBezTo>
                  <a:pt x="5817299" y="1940810"/>
                  <a:pt x="5845588" y="1968242"/>
                  <a:pt x="5845588" y="2003389"/>
                </a:cubicBezTo>
                <a:cubicBezTo>
                  <a:pt x="5845588" y="2038537"/>
                  <a:pt x="5817299" y="2066825"/>
                  <a:pt x="5783009" y="2065968"/>
                </a:cubicBezTo>
                <a:cubicBezTo>
                  <a:pt x="5748719" y="2065968"/>
                  <a:pt x="5720429" y="2038537"/>
                  <a:pt x="5720429" y="2003389"/>
                </a:cubicBezTo>
                <a:cubicBezTo>
                  <a:pt x="5720429" y="1969099"/>
                  <a:pt x="5747861" y="1940810"/>
                  <a:pt x="5783009" y="1940810"/>
                </a:cubicBezTo>
                <a:close/>
                <a:moveTo>
                  <a:pt x="6037483" y="1919889"/>
                </a:moveTo>
                <a:lnTo>
                  <a:pt x="6031666" y="1930805"/>
                </a:lnTo>
                <a:cubicBezTo>
                  <a:pt x="6020133" y="1950011"/>
                  <a:pt x="6007020" y="1969741"/>
                  <a:pt x="5992446" y="1989726"/>
                </a:cubicBezTo>
                <a:lnTo>
                  <a:pt x="5981262" y="2003818"/>
                </a:lnTo>
                <a:lnTo>
                  <a:pt x="5992446" y="2017909"/>
                </a:lnTo>
                <a:cubicBezTo>
                  <a:pt x="6007020" y="2037893"/>
                  <a:pt x="6020133" y="2057623"/>
                  <a:pt x="6031666" y="2076831"/>
                </a:cubicBezTo>
                <a:lnTo>
                  <a:pt x="6037189" y="2087193"/>
                </a:lnTo>
                <a:lnTo>
                  <a:pt x="6083022" y="2063384"/>
                </a:lnTo>
                <a:cubicBezTo>
                  <a:pt x="6109293" y="2045531"/>
                  <a:pt x="6124194" y="2025087"/>
                  <a:pt x="6124194" y="2003388"/>
                </a:cubicBezTo>
                <a:cubicBezTo>
                  <a:pt x="6124194" y="1981689"/>
                  <a:pt x="6109209" y="1961247"/>
                  <a:pt x="6082849" y="1943392"/>
                </a:cubicBezTo>
                <a:close/>
                <a:moveTo>
                  <a:pt x="5527012" y="1919637"/>
                </a:moveTo>
                <a:lnTo>
                  <a:pt x="5481281" y="1943393"/>
                </a:lnTo>
                <a:cubicBezTo>
                  <a:pt x="5455010" y="1961247"/>
                  <a:pt x="5440109" y="1981689"/>
                  <a:pt x="5440109" y="2003388"/>
                </a:cubicBezTo>
                <a:cubicBezTo>
                  <a:pt x="5440109" y="2025355"/>
                  <a:pt x="5455094" y="2045899"/>
                  <a:pt x="5481454" y="2063765"/>
                </a:cubicBezTo>
                <a:lnTo>
                  <a:pt x="5527292" y="2087474"/>
                </a:lnTo>
                <a:lnTo>
                  <a:pt x="5532638" y="2077462"/>
                </a:lnTo>
                <a:cubicBezTo>
                  <a:pt x="5544171" y="2058290"/>
                  <a:pt x="5557284" y="2038597"/>
                  <a:pt x="5571857" y="2018645"/>
                </a:cubicBezTo>
                <a:lnTo>
                  <a:pt x="5583642" y="2003818"/>
                </a:lnTo>
                <a:lnTo>
                  <a:pt x="5571857" y="1988990"/>
                </a:lnTo>
                <a:cubicBezTo>
                  <a:pt x="5557284" y="1969039"/>
                  <a:pt x="5544171" y="1949345"/>
                  <a:pt x="5532638" y="1930175"/>
                </a:cubicBezTo>
                <a:close/>
                <a:moveTo>
                  <a:pt x="5923650" y="1888999"/>
                </a:moveTo>
                <a:lnTo>
                  <a:pt x="5927348" y="1939009"/>
                </a:lnTo>
                <a:lnTo>
                  <a:pt x="5944467" y="1957460"/>
                </a:lnTo>
                <a:lnTo>
                  <a:pt x="5964311" y="1982460"/>
                </a:lnTo>
                <a:lnTo>
                  <a:pt x="5991239" y="1941959"/>
                </a:lnTo>
                <a:lnTo>
                  <a:pt x="6008190" y="1910091"/>
                </a:lnTo>
                <a:lnTo>
                  <a:pt x="5973255" y="1898937"/>
                </a:lnTo>
                <a:close/>
                <a:moveTo>
                  <a:pt x="5640660" y="1888926"/>
                </a:moveTo>
                <a:lnTo>
                  <a:pt x="5590672" y="1898937"/>
                </a:lnTo>
                <a:lnTo>
                  <a:pt x="5555674" y="1910123"/>
                </a:lnTo>
                <a:lnTo>
                  <a:pt x="5573064" y="1942817"/>
                </a:lnTo>
                <a:lnTo>
                  <a:pt x="5599967" y="1983279"/>
                </a:lnTo>
                <a:lnTo>
                  <a:pt x="5619836" y="1958282"/>
                </a:lnTo>
                <a:lnTo>
                  <a:pt x="5636890" y="1939913"/>
                </a:lnTo>
                <a:close/>
                <a:moveTo>
                  <a:pt x="5874649" y="1884276"/>
                </a:moveTo>
                <a:lnTo>
                  <a:pt x="5888451" y="1897089"/>
                </a:lnTo>
                <a:lnTo>
                  <a:pt x="5901285" y="1910921"/>
                </a:lnTo>
                <a:lnTo>
                  <a:pt x="5899440" y="1886125"/>
                </a:lnTo>
                <a:close/>
                <a:moveTo>
                  <a:pt x="5691290" y="1884137"/>
                </a:moveTo>
                <a:lnTo>
                  <a:pt x="5664888" y="1886102"/>
                </a:lnTo>
                <a:lnTo>
                  <a:pt x="5662969" y="1911824"/>
                </a:lnTo>
                <a:lnTo>
                  <a:pt x="5675852" y="1897947"/>
                </a:lnTo>
                <a:close/>
                <a:moveTo>
                  <a:pt x="5782152" y="1877374"/>
                </a:moveTo>
                <a:lnTo>
                  <a:pt x="5729852" y="1881266"/>
                </a:lnTo>
                <a:lnTo>
                  <a:pt x="5692997" y="1914234"/>
                </a:lnTo>
                <a:lnTo>
                  <a:pt x="5659921" y="1952671"/>
                </a:lnTo>
                <a:lnTo>
                  <a:pt x="5656136" y="2003388"/>
                </a:lnTo>
                <a:lnTo>
                  <a:pt x="5659980" y="2055033"/>
                </a:lnTo>
                <a:lnTo>
                  <a:pt x="5692997" y="2093401"/>
                </a:lnTo>
                <a:lnTo>
                  <a:pt x="5730401" y="2125589"/>
                </a:lnTo>
                <a:lnTo>
                  <a:pt x="5782152" y="2129404"/>
                </a:lnTo>
                <a:lnTo>
                  <a:pt x="5832915" y="2125626"/>
                </a:lnTo>
                <a:lnTo>
                  <a:pt x="5871306" y="2092543"/>
                </a:lnTo>
                <a:lnTo>
                  <a:pt x="5904394" y="2054095"/>
                </a:lnTo>
                <a:lnTo>
                  <a:pt x="5908167" y="2003388"/>
                </a:lnTo>
                <a:lnTo>
                  <a:pt x="5904460" y="1953572"/>
                </a:lnTo>
                <a:lnTo>
                  <a:pt x="5871306" y="1915093"/>
                </a:lnTo>
                <a:lnTo>
                  <a:pt x="5831778" y="1881078"/>
                </a:lnTo>
                <a:close/>
                <a:moveTo>
                  <a:pt x="5781317" y="1837652"/>
                </a:moveTo>
                <a:lnTo>
                  <a:pt x="5768933" y="1846306"/>
                </a:lnTo>
                <a:lnTo>
                  <a:pt x="5759134" y="1855072"/>
                </a:lnTo>
                <a:lnTo>
                  <a:pt x="5782152" y="1853370"/>
                </a:lnTo>
                <a:lnTo>
                  <a:pt x="5801220" y="1854779"/>
                </a:lnTo>
                <a:close/>
                <a:moveTo>
                  <a:pt x="5875814" y="1778152"/>
                </a:moveTo>
                <a:lnTo>
                  <a:pt x="5843355" y="1794301"/>
                </a:lnTo>
                <a:lnTo>
                  <a:pt x="5803931" y="1821851"/>
                </a:lnTo>
                <a:lnTo>
                  <a:pt x="5828117" y="1841074"/>
                </a:lnTo>
                <a:lnTo>
                  <a:pt x="5846484" y="1858127"/>
                </a:lnTo>
                <a:lnTo>
                  <a:pt x="5896602" y="1861833"/>
                </a:lnTo>
                <a:lnTo>
                  <a:pt x="5886604" y="1811909"/>
                </a:lnTo>
                <a:close/>
                <a:moveTo>
                  <a:pt x="5688619" y="1778083"/>
                </a:moveTo>
                <a:lnTo>
                  <a:pt x="5677700" y="1812285"/>
                </a:lnTo>
                <a:lnTo>
                  <a:pt x="5667775" y="1861826"/>
                </a:lnTo>
                <a:lnTo>
                  <a:pt x="5720592" y="1857921"/>
                </a:lnTo>
                <a:lnTo>
                  <a:pt x="5760892" y="1821868"/>
                </a:lnTo>
                <a:lnTo>
                  <a:pt x="5720722" y="1795160"/>
                </a:lnTo>
                <a:close/>
                <a:moveTo>
                  <a:pt x="1448754" y="1765931"/>
                </a:moveTo>
                <a:cubicBezTo>
                  <a:pt x="1448754" y="1767646"/>
                  <a:pt x="1631349" y="1852515"/>
                  <a:pt x="1666496" y="1868802"/>
                </a:cubicBezTo>
                <a:cubicBezTo>
                  <a:pt x="1701643" y="1852515"/>
                  <a:pt x="1884238" y="1767646"/>
                  <a:pt x="1884238" y="1765931"/>
                </a:cubicBezTo>
                <a:lnTo>
                  <a:pt x="1884238" y="2016249"/>
                </a:lnTo>
                <a:cubicBezTo>
                  <a:pt x="1825087" y="2077971"/>
                  <a:pt x="1709358" y="2088258"/>
                  <a:pt x="1672497" y="2089973"/>
                </a:cubicBezTo>
                <a:cubicBezTo>
                  <a:pt x="1672497" y="2089973"/>
                  <a:pt x="1669925" y="2089973"/>
                  <a:pt x="1666496" y="2089973"/>
                </a:cubicBezTo>
                <a:cubicBezTo>
                  <a:pt x="1662210" y="2089973"/>
                  <a:pt x="1660495" y="2089973"/>
                  <a:pt x="1660495" y="2089973"/>
                </a:cubicBezTo>
                <a:cubicBezTo>
                  <a:pt x="1623633" y="2089116"/>
                  <a:pt x="1507905" y="2078829"/>
                  <a:pt x="1448754" y="2016249"/>
                </a:cubicBezTo>
                <a:close/>
                <a:moveTo>
                  <a:pt x="5593918" y="1746924"/>
                </a:moveTo>
                <a:cubicBezTo>
                  <a:pt x="5571054" y="1745356"/>
                  <a:pt x="5552623" y="1750285"/>
                  <a:pt x="5540407" y="1762502"/>
                </a:cubicBezTo>
                <a:cubicBezTo>
                  <a:pt x="5522083" y="1780825"/>
                  <a:pt x="5520155" y="1813133"/>
                  <a:pt x="5531953" y="1853413"/>
                </a:cubicBezTo>
                <a:lnTo>
                  <a:pt x="5543203" y="1882935"/>
                </a:lnTo>
                <a:lnTo>
                  <a:pt x="5623279" y="1865117"/>
                </a:lnTo>
                <a:lnTo>
                  <a:pt x="5642525" y="1863694"/>
                </a:lnTo>
                <a:lnTo>
                  <a:pt x="5643880" y="1845375"/>
                </a:lnTo>
                <a:lnTo>
                  <a:pt x="5661631" y="1765599"/>
                </a:lnTo>
                <a:lnTo>
                  <a:pt x="5631317" y="1754048"/>
                </a:lnTo>
                <a:cubicBezTo>
                  <a:pt x="5617891" y="1750115"/>
                  <a:pt x="5605350" y="1747708"/>
                  <a:pt x="5593918" y="1746924"/>
                </a:cubicBezTo>
                <a:close/>
                <a:moveTo>
                  <a:pt x="5970024" y="1746066"/>
                </a:moveTo>
                <a:cubicBezTo>
                  <a:pt x="5952845" y="1747241"/>
                  <a:pt x="5933211" y="1752072"/>
                  <a:pt x="5911854" y="1760221"/>
                </a:cubicBezTo>
                <a:lnTo>
                  <a:pt x="5902511" y="1764870"/>
                </a:lnTo>
                <a:lnTo>
                  <a:pt x="5920424" y="1845375"/>
                </a:lnTo>
                <a:lnTo>
                  <a:pt x="5921779" y="1863694"/>
                </a:lnTo>
                <a:lnTo>
                  <a:pt x="5941024" y="1865117"/>
                </a:lnTo>
                <a:lnTo>
                  <a:pt x="6020799" y="1882868"/>
                </a:lnTo>
                <a:lnTo>
                  <a:pt x="6032350" y="1852555"/>
                </a:lnTo>
                <a:cubicBezTo>
                  <a:pt x="6044149" y="1812276"/>
                  <a:pt x="6042221" y="1779968"/>
                  <a:pt x="6023897" y="1761646"/>
                </a:cubicBezTo>
                <a:cubicBezTo>
                  <a:pt x="6011467" y="1749428"/>
                  <a:pt x="5992929" y="1744499"/>
                  <a:pt x="5970024" y="1746066"/>
                </a:cubicBezTo>
                <a:close/>
                <a:moveTo>
                  <a:pt x="289975" y="1703570"/>
                </a:moveTo>
                <a:lnTo>
                  <a:pt x="249460" y="1738503"/>
                </a:lnTo>
                <a:cubicBezTo>
                  <a:pt x="249460" y="1738503"/>
                  <a:pt x="264462" y="1723072"/>
                  <a:pt x="283964" y="1707642"/>
                </a:cubicBezTo>
                <a:close/>
                <a:moveTo>
                  <a:pt x="4368605" y="1696916"/>
                </a:moveTo>
                <a:cubicBezTo>
                  <a:pt x="4407031" y="1694430"/>
                  <a:pt x="4447416" y="1702386"/>
                  <a:pt x="4478277" y="1734211"/>
                </a:cubicBezTo>
                <a:lnTo>
                  <a:pt x="4710592" y="1734211"/>
                </a:lnTo>
                <a:lnTo>
                  <a:pt x="4710592" y="2074541"/>
                </a:lnTo>
                <a:lnTo>
                  <a:pt x="4473133" y="2076255"/>
                </a:lnTo>
                <a:cubicBezTo>
                  <a:pt x="4473133" y="2076255"/>
                  <a:pt x="4393408" y="1995674"/>
                  <a:pt x="4245961" y="2072826"/>
                </a:cubicBezTo>
                <a:lnTo>
                  <a:pt x="4245961" y="1734211"/>
                </a:lnTo>
                <a:cubicBezTo>
                  <a:pt x="4245961" y="1734211"/>
                  <a:pt x="4304562" y="1701060"/>
                  <a:pt x="4368605" y="1696916"/>
                </a:cubicBezTo>
                <a:close/>
                <a:moveTo>
                  <a:pt x="5782152" y="1661348"/>
                </a:moveTo>
                <a:cubicBezTo>
                  <a:pt x="5760453" y="1661348"/>
                  <a:pt x="5740010" y="1676333"/>
                  <a:pt x="5722156" y="1702693"/>
                </a:cubicBezTo>
                <a:lnTo>
                  <a:pt x="5698519" y="1748314"/>
                </a:lnTo>
                <a:lnTo>
                  <a:pt x="5708935" y="1753875"/>
                </a:lnTo>
                <a:cubicBezTo>
                  <a:pt x="5728108" y="1765408"/>
                  <a:pt x="5747801" y="1778522"/>
                  <a:pt x="5767753" y="1793094"/>
                </a:cubicBezTo>
                <a:lnTo>
                  <a:pt x="5783057" y="1805259"/>
                </a:lnTo>
                <a:lnTo>
                  <a:pt x="5855594" y="1754507"/>
                </a:lnTo>
                <a:lnTo>
                  <a:pt x="5866361" y="1749129"/>
                </a:lnTo>
                <a:lnTo>
                  <a:pt x="5842148" y="1702521"/>
                </a:lnTo>
                <a:cubicBezTo>
                  <a:pt x="5824294" y="1676250"/>
                  <a:pt x="5803851" y="1661348"/>
                  <a:pt x="5782152" y="1661348"/>
                </a:cubicBezTo>
                <a:close/>
                <a:moveTo>
                  <a:pt x="592360" y="1640776"/>
                </a:moveTo>
                <a:cubicBezTo>
                  <a:pt x="592360" y="1640776"/>
                  <a:pt x="595066" y="1641779"/>
                  <a:pt x="599890" y="1643860"/>
                </a:cubicBezTo>
                <a:lnTo>
                  <a:pt x="615617" y="1651278"/>
                </a:lnTo>
                <a:close/>
                <a:moveTo>
                  <a:pt x="493776" y="1630488"/>
                </a:moveTo>
                <a:lnTo>
                  <a:pt x="498063" y="1633917"/>
                </a:lnTo>
                <a:cubicBezTo>
                  <a:pt x="498063" y="1633917"/>
                  <a:pt x="495491" y="1638204"/>
                  <a:pt x="493776" y="1640776"/>
                </a:cubicBezTo>
                <a:cubicBezTo>
                  <a:pt x="492919" y="1643348"/>
                  <a:pt x="497205" y="1641634"/>
                  <a:pt x="497205" y="1641634"/>
                </a:cubicBezTo>
                <a:cubicBezTo>
                  <a:pt x="497205" y="1641634"/>
                  <a:pt x="510921" y="1648491"/>
                  <a:pt x="510921" y="1651062"/>
                </a:cubicBezTo>
                <a:cubicBezTo>
                  <a:pt x="510921" y="1653635"/>
                  <a:pt x="504921" y="1656207"/>
                  <a:pt x="492919" y="1655350"/>
                </a:cubicBezTo>
                <a:cubicBezTo>
                  <a:pt x="480918" y="1654492"/>
                  <a:pt x="486918" y="1657064"/>
                  <a:pt x="471488" y="1649348"/>
                </a:cubicBezTo>
                <a:cubicBezTo>
                  <a:pt x="456057" y="1641634"/>
                  <a:pt x="457772" y="1662207"/>
                  <a:pt x="451771" y="1667351"/>
                </a:cubicBezTo>
                <a:cubicBezTo>
                  <a:pt x="444913" y="1672494"/>
                  <a:pt x="444913" y="1674208"/>
                  <a:pt x="440627" y="1683638"/>
                </a:cubicBezTo>
                <a:cubicBezTo>
                  <a:pt x="437198" y="1693069"/>
                  <a:pt x="440627" y="1683638"/>
                  <a:pt x="450914" y="1689640"/>
                </a:cubicBezTo>
                <a:cubicBezTo>
                  <a:pt x="461201" y="1695639"/>
                  <a:pt x="455200" y="1691355"/>
                  <a:pt x="460344" y="1690497"/>
                </a:cubicBezTo>
                <a:cubicBezTo>
                  <a:pt x="465487" y="1690497"/>
                  <a:pt x="480060" y="1687067"/>
                  <a:pt x="484347" y="1686210"/>
                </a:cubicBezTo>
                <a:cubicBezTo>
                  <a:pt x="488633" y="1685352"/>
                  <a:pt x="491205" y="1686210"/>
                  <a:pt x="490347" y="1700784"/>
                </a:cubicBezTo>
                <a:cubicBezTo>
                  <a:pt x="489490" y="1716214"/>
                  <a:pt x="490347" y="1700784"/>
                  <a:pt x="512636" y="1711927"/>
                </a:cubicBezTo>
                <a:cubicBezTo>
                  <a:pt x="534924" y="1723071"/>
                  <a:pt x="508350" y="1723071"/>
                  <a:pt x="525495" y="1726501"/>
                </a:cubicBezTo>
                <a:cubicBezTo>
                  <a:pt x="542640" y="1730788"/>
                  <a:pt x="522923" y="1731644"/>
                  <a:pt x="510064" y="1736787"/>
                </a:cubicBezTo>
                <a:cubicBezTo>
                  <a:pt x="497205" y="1742789"/>
                  <a:pt x="503206" y="1735930"/>
                  <a:pt x="494634" y="1747070"/>
                </a:cubicBezTo>
                <a:cubicBezTo>
                  <a:pt x="486061" y="1758215"/>
                  <a:pt x="496348" y="1754786"/>
                  <a:pt x="500634" y="1756500"/>
                </a:cubicBezTo>
                <a:cubicBezTo>
                  <a:pt x="504921" y="1758215"/>
                  <a:pt x="512636" y="1756500"/>
                  <a:pt x="516922" y="1753071"/>
                </a:cubicBezTo>
                <a:cubicBezTo>
                  <a:pt x="520351" y="1749645"/>
                  <a:pt x="523780" y="1751357"/>
                  <a:pt x="523780" y="1751357"/>
                </a:cubicBezTo>
                <a:cubicBezTo>
                  <a:pt x="523780" y="1751357"/>
                  <a:pt x="533210" y="1742789"/>
                  <a:pt x="542640" y="1747928"/>
                </a:cubicBezTo>
                <a:cubicBezTo>
                  <a:pt x="552069" y="1753071"/>
                  <a:pt x="542640" y="1747928"/>
                  <a:pt x="545211" y="1745356"/>
                </a:cubicBezTo>
                <a:cubicBezTo>
                  <a:pt x="547783" y="1743646"/>
                  <a:pt x="552069" y="1744499"/>
                  <a:pt x="555498" y="1741075"/>
                </a:cubicBezTo>
                <a:cubicBezTo>
                  <a:pt x="558927" y="1738503"/>
                  <a:pt x="566643" y="1735930"/>
                  <a:pt x="588931" y="1744499"/>
                </a:cubicBezTo>
                <a:cubicBezTo>
                  <a:pt x="612077" y="1753071"/>
                  <a:pt x="590646" y="1751357"/>
                  <a:pt x="600933" y="1755643"/>
                </a:cubicBezTo>
                <a:cubicBezTo>
                  <a:pt x="610362" y="1759929"/>
                  <a:pt x="604362" y="1758215"/>
                  <a:pt x="605219" y="1752214"/>
                </a:cubicBezTo>
                <a:cubicBezTo>
                  <a:pt x="606076" y="1746213"/>
                  <a:pt x="606076" y="1737646"/>
                  <a:pt x="609505" y="1735930"/>
                </a:cubicBezTo>
                <a:cubicBezTo>
                  <a:pt x="612934" y="1734216"/>
                  <a:pt x="615506" y="1735930"/>
                  <a:pt x="619792" y="1739360"/>
                </a:cubicBezTo>
                <a:cubicBezTo>
                  <a:pt x="624078" y="1742789"/>
                  <a:pt x="633508" y="1720500"/>
                  <a:pt x="643795" y="1724786"/>
                </a:cubicBezTo>
                <a:cubicBezTo>
                  <a:pt x="653225" y="1729073"/>
                  <a:pt x="646367" y="1726501"/>
                  <a:pt x="656654" y="1733358"/>
                </a:cubicBezTo>
                <a:cubicBezTo>
                  <a:pt x="666942" y="1740217"/>
                  <a:pt x="656654" y="1743646"/>
                  <a:pt x="651510" y="1747928"/>
                </a:cubicBezTo>
                <a:cubicBezTo>
                  <a:pt x="645510" y="1753071"/>
                  <a:pt x="648081" y="1745356"/>
                  <a:pt x="639509" y="1742789"/>
                </a:cubicBezTo>
                <a:cubicBezTo>
                  <a:pt x="630936" y="1740217"/>
                  <a:pt x="636080" y="1744499"/>
                  <a:pt x="623221" y="1756500"/>
                </a:cubicBezTo>
                <a:cubicBezTo>
                  <a:pt x="610362" y="1767644"/>
                  <a:pt x="623221" y="1756500"/>
                  <a:pt x="625793" y="1763359"/>
                </a:cubicBezTo>
                <a:cubicBezTo>
                  <a:pt x="628365" y="1770216"/>
                  <a:pt x="635223" y="1760786"/>
                  <a:pt x="642081" y="1763359"/>
                </a:cubicBezTo>
                <a:cubicBezTo>
                  <a:pt x="648939" y="1765931"/>
                  <a:pt x="647224" y="1765931"/>
                  <a:pt x="656654" y="1767644"/>
                </a:cubicBezTo>
                <a:cubicBezTo>
                  <a:pt x="666085" y="1769359"/>
                  <a:pt x="656654" y="1767644"/>
                  <a:pt x="658369" y="1773647"/>
                </a:cubicBezTo>
                <a:cubicBezTo>
                  <a:pt x="660084" y="1779648"/>
                  <a:pt x="662656" y="1774503"/>
                  <a:pt x="672085" y="1778790"/>
                </a:cubicBezTo>
                <a:cubicBezTo>
                  <a:pt x="681515" y="1783932"/>
                  <a:pt x="675514" y="1781362"/>
                  <a:pt x="672085" y="1788218"/>
                </a:cubicBezTo>
                <a:cubicBezTo>
                  <a:pt x="669514" y="1795076"/>
                  <a:pt x="669514" y="1788218"/>
                  <a:pt x="666085" y="1786504"/>
                </a:cubicBezTo>
                <a:cubicBezTo>
                  <a:pt x="662656" y="1785647"/>
                  <a:pt x="661798" y="1785647"/>
                  <a:pt x="654082" y="1789076"/>
                </a:cubicBezTo>
                <a:cubicBezTo>
                  <a:pt x="646367" y="1793363"/>
                  <a:pt x="645510" y="1789933"/>
                  <a:pt x="642081" y="1791647"/>
                </a:cubicBezTo>
                <a:cubicBezTo>
                  <a:pt x="639509" y="1793363"/>
                  <a:pt x="636937" y="1789933"/>
                  <a:pt x="618935" y="1788218"/>
                </a:cubicBezTo>
                <a:cubicBezTo>
                  <a:pt x="600933" y="1786504"/>
                  <a:pt x="618935" y="1788218"/>
                  <a:pt x="608648" y="1798505"/>
                </a:cubicBezTo>
                <a:cubicBezTo>
                  <a:pt x="598361" y="1808794"/>
                  <a:pt x="608648" y="1798505"/>
                  <a:pt x="601790" y="1798505"/>
                </a:cubicBezTo>
                <a:cubicBezTo>
                  <a:pt x="594932" y="1798505"/>
                  <a:pt x="592360" y="1795935"/>
                  <a:pt x="588074" y="1793363"/>
                </a:cubicBezTo>
                <a:cubicBezTo>
                  <a:pt x="582930" y="1790790"/>
                  <a:pt x="585502" y="1789076"/>
                  <a:pt x="576072" y="1789076"/>
                </a:cubicBezTo>
                <a:cubicBezTo>
                  <a:pt x="566643" y="1789076"/>
                  <a:pt x="576072" y="1789076"/>
                  <a:pt x="566643" y="1788218"/>
                </a:cubicBezTo>
                <a:cubicBezTo>
                  <a:pt x="558070" y="1787361"/>
                  <a:pt x="563214" y="1782218"/>
                  <a:pt x="562356" y="1770216"/>
                </a:cubicBezTo>
                <a:cubicBezTo>
                  <a:pt x="561499" y="1758215"/>
                  <a:pt x="562356" y="1770216"/>
                  <a:pt x="557213" y="1769359"/>
                </a:cubicBezTo>
                <a:cubicBezTo>
                  <a:pt x="552069" y="1768504"/>
                  <a:pt x="553784" y="1767644"/>
                  <a:pt x="550355" y="1767644"/>
                </a:cubicBezTo>
                <a:cubicBezTo>
                  <a:pt x="547783" y="1767644"/>
                  <a:pt x="550355" y="1767644"/>
                  <a:pt x="537496" y="1770216"/>
                </a:cubicBezTo>
                <a:cubicBezTo>
                  <a:pt x="524637" y="1772790"/>
                  <a:pt x="533210" y="1771073"/>
                  <a:pt x="528924" y="1771073"/>
                </a:cubicBezTo>
                <a:cubicBezTo>
                  <a:pt x="524637" y="1771073"/>
                  <a:pt x="522923" y="1771933"/>
                  <a:pt x="516065" y="1773647"/>
                </a:cubicBezTo>
                <a:cubicBezTo>
                  <a:pt x="509207" y="1775362"/>
                  <a:pt x="510921" y="1773647"/>
                  <a:pt x="507492" y="1774503"/>
                </a:cubicBezTo>
                <a:cubicBezTo>
                  <a:pt x="504921" y="1775362"/>
                  <a:pt x="498063" y="1782218"/>
                  <a:pt x="493776" y="1786504"/>
                </a:cubicBezTo>
                <a:cubicBezTo>
                  <a:pt x="488633" y="1790790"/>
                  <a:pt x="480918" y="1794219"/>
                  <a:pt x="474060" y="1793363"/>
                </a:cubicBezTo>
                <a:cubicBezTo>
                  <a:pt x="467202" y="1793363"/>
                  <a:pt x="469773" y="1795076"/>
                  <a:pt x="466344" y="1797648"/>
                </a:cubicBezTo>
                <a:cubicBezTo>
                  <a:pt x="462915" y="1799363"/>
                  <a:pt x="460344" y="1807080"/>
                  <a:pt x="458629" y="1810508"/>
                </a:cubicBezTo>
                <a:cubicBezTo>
                  <a:pt x="456915" y="1813080"/>
                  <a:pt x="446628" y="1818224"/>
                  <a:pt x="438912" y="1831938"/>
                </a:cubicBezTo>
                <a:cubicBezTo>
                  <a:pt x="431197" y="1845654"/>
                  <a:pt x="432912" y="1841369"/>
                  <a:pt x="441484" y="1860230"/>
                </a:cubicBezTo>
                <a:cubicBezTo>
                  <a:pt x="450057" y="1879088"/>
                  <a:pt x="436341" y="1865373"/>
                  <a:pt x="436341" y="1874802"/>
                </a:cubicBezTo>
                <a:cubicBezTo>
                  <a:pt x="436341" y="1883375"/>
                  <a:pt x="434626" y="1879088"/>
                  <a:pt x="431197" y="1886803"/>
                </a:cubicBezTo>
                <a:cubicBezTo>
                  <a:pt x="427768" y="1894520"/>
                  <a:pt x="431197" y="1886803"/>
                  <a:pt x="439770" y="1896233"/>
                </a:cubicBezTo>
                <a:cubicBezTo>
                  <a:pt x="448342" y="1905663"/>
                  <a:pt x="439770" y="1896233"/>
                  <a:pt x="444913" y="1902233"/>
                </a:cubicBezTo>
                <a:cubicBezTo>
                  <a:pt x="450914" y="1909093"/>
                  <a:pt x="446628" y="1907378"/>
                  <a:pt x="447485" y="1914235"/>
                </a:cubicBezTo>
                <a:cubicBezTo>
                  <a:pt x="448342" y="1921094"/>
                  <a:pt x="450057" y="1917664"/>
                  <a:pt x="456915" y="1921951"/>
                </a:cubicBezTo>
                <a:cubicBezTo>
                  <a:pt x="463773" y="1926236"/>
                  <a:pt x="460344" y="1925378"/>
                  <a:pt x="463773" y="1933095"/>
                </a:cubicBezTo>
                <a:cubicBezTo>
                  <a:pt x="467202" y="1940810"/>
                  <a:pt x="468059" y="1934810"/>
                  <a:pt x="474917" y="1939095"/>
                </a:cubicBezTo>
                <a:cubicBezTo>
                  <a:pt x="481775" y="1943381"/>
                  <a:pt x="492919" y="1939953"/>
                  <a:pt x="502349" y="1939953"/>
                </a:cubicBezTo>
                <a:cubicBezTo>
                  <a:pt x="511779" y="1939953"/>
                  <a:pt x="514350" y="1940810"/>
                  <a:pt x="521208" y="1937380"/>
                </a:cubicBezTo>
                <a:cubicBezTo>
                  <a:pt x="528924" y="1934810"/>
                  <a:pt x="536639" y="1934810"/>
                  <a:pt x="540925" y="1931380"/>
                </a:cubicBezTo>
                <a:cubicBezTo>
                  <a:pt x="545211" y="1927951"/>
                  <a:pt x="549498" y="1928810"/>
                  <a:pt x="552069" y="1930522"/>
                </a:cubicBezTo>
                <a:cubicBezTo>
                  <a:pt x="554641" y="1932237"/>
                  <a:pt x="552927" y="1936523"/>
                  <a:pt x="559785" y="1941666"/>
                </a:cubicBezTo>
                <a:cubicBezTo>
                  <a:pt x="566643" y="1946811"/>
                  <a:pt x="566643" y="1939953"/>
                  <a:pt x="570929" y="1939095"/>
                </a:cubicBezTo>
                <a:cubicBezTo>
                  <a:pt x="575215" y="1938237"/>
                  <a:pt x="587217" y="1945953"/>
                  <a:pt x="587217" y="1945953"/>
                </a:cubicBezTo>
                <a:cubicBezTo>
                  <a:pt x="587217" y="1945953"/>
                  <a:pt x="586359" y="1951954"/>
                  <a:pt x="583788" y="1962240"/>
                </a:cubicBezTo>
                <a:cubicBezTo>
                  <a:pt x="581216" y="1971670"/>
                  <a:pt x="583788" y="1962240"/>
                  <a:pt x="583788" y="1968242"/>
                </a:cubicBezTo>
                <a:cubicBezTo>
                  <a:pt x="583788" y="1974242"/>
                  <a:pt x="585502" y="1990529"/>
                  <a:pt x="585502" y="1990529"/>
                </a:cubicBezTo>
                <a:cubicBezTo>
                  <a:pt x="585502" y="1990529"/>
                  <a:pt x="588931" y="1994816"/>
                  <a:pt x="593217" y="2001674"/>
                </a:cubicBezTo>
                <a:cubicBezTo>
                  <a:pt x="597504" y="2008532"/>
                  <a:pt x="597504" y="2006817"/>
                  <a:pt x="598361" y="2009389"/>
                </a:cubicBezTo>
                <a:cubicBezTo>
                  <a:pt x="599218" y="2011104"/>
                  <a:pt x="605219" y="2017105"/>
                  <a:pt x="606933" y="2021391"/>
                </a:cubicBezTo>
                <a:cubicBezTo>
                  <a:pt x="608648" y="2024819"/>
                  <a:pt x="608648" y="2027392"/>
                  <a:pt x="609505" y="2033392"/>
                </a:cubicBezTo>
                <a:cubicBezTo>
                  <a:pt x="610362" y="2040250"/>
                  <a:pt x="604362" y="2041107"/>
                  <a:pt x="598361" y="2045393"/>
                </a:cubicBezTo>
                <a:cubicBezTo>
                  <a:pt x="592360" y="2049680"/>
                  <a:pt x="595789" y="2051396"/>
                  <a:pt x="593217" y="2061682"/>
                </a:cubicBezTo>
                <a:cubicBezTo>
                  <a:pt x="590646" y="2071968"/>
                  <a:pt x="593217" y="2061682"/>
                  <a:pt x="588931" y="2071968"/>
                </a:cubicBezTo>
                <a:cubicBezTo>
                  <a:pt x="584645" y="2082255"/>
                  <a:pt x="589788" y="2076254"/>
                  <a:pt x="595789" y="2082255"/>
                </a:cubicBezTo>
                <a:cubicBezTo>
                  <a:pt x="601790" y="2088256"/>
                  <a:pt x="601790" y="2084827"/>
                  <a:pt x="606076" y="2095114"/>
                </a:cubicBezTo>
                <a:cubicBezTo>
                  <a:pt x="611220" y="2104544"/>
                  <a:pt x="607791" y="2098543"/>
                  <a:pt x="608648" y="2107115"/>
                </a:cubicBezTo>
                <a:cubicBezTo>
                  <a:pt x="609505" y="2115689"/>
                  <a:pt x="608648" y="2107115"/>
                  <a:pt x="608648" y="2116545"/>
                </a:cubicBezTo>
                <a:cubicBezTo>
                  <a:pt x="608648" y="2125118"/>
                  <a:pt x="608648" y="2116545"/>
                  <a:pt x="613791" y="2128547"/>
                </a:cubicBezTo>
                <a:cubicBezTo>
                  <a:pt x="618935" y="2140548"/>
                  <a:pt x="614649" y="2133690"/>
                  <a:pt x="620649" y="2144834"/>
                </a:cubicBezTo>
                <a:cubicBezTo>
                  <a:pt x="627507" y="2155979"/>
                  <a:pt x="620649" y="2144834"/>
                  <a:pt x="624936" y="2144834"/>
                </a:cubicBezTo>
                <a:cubicBezTo>
                  <a:pt x="629222" y="2144834"/>
                  <a:pt x="640366" y="2139691"/>
                  <a:pt x="642938" y="2137119"/>
                </a:cubicBezTo>
                <a:cubicBezTo>
                  <a:pt x="645510" y="2134548"/>
                  <a:pt x="660941" y="2128547"/>
                  <a:pt x="665227" y="2127690"/>
                </a:cubicBezTo>
                <a:cubicBezTo>
                  <a:pt x="670371" y="2126832"/>
                  <a:pt x="668656" y="2118260"/>
                  <a:pt x="668656" y="2118260"/>
                </a:cubicBezTo>
                <a:lnTo>
                  <a:pt x="683230" y="2106258"/>
                </a:lnTo>
                <a:lnTo>
                  <a:pt x="695231" y="2088256"/>
                </a:lnTo>
                <a:cubicBezTo>
                  <a:pt x="695231" y="2088256"/>
                  <a:pt x="695231" y="2078826"/>
                  <a:pt x="695231" y="2076254"/>
                </a:cubicBezTo>
                <a:cubicBezTo>
                  <a:pt x="695231" y="2074540"/>
                  <a:pt x="702089" y="2073683"/>
                  <a:pt x="706375" y="2072825"/>
                </a:cubicBezTo>
                <a:cubicBezTo>
                  <a:pt x="709804" y="2071968"/>
                  <a:pt x="708947" y="2067682"/>
                  <a:pt x="710662" y="2065110"/>
                </a:cubicBezTo>
                <a:cubicBezTo>
                  <a:pt x="712376" y="2063397"/>
                  <a:pt x="718377" y="2053966"/>
                  <a:pt x="724378" y="2052252"/>
                </a:cubicBezTo>
                <a:cubicBezTo>
                  <a:pt x="731236" y="2051396"/>
                  <a:pt x="719234" y="2040250"/>
                  <a:pt x="719234" y="2040250"/>
                </a:cubicBezTo>
                <a:cubicBezTo>
                  <a:pt x="719234" y="2040250"/>
                  <a:pt x="727807" y="2034249"/>
                  <a:pt x="729521" y="2028248"/>
                </a:cubicBezTo>
                <a:cubicBezTo>
                  <a:pt x="731236" y="2022248"/>
                  <a:pt x="729521" y="2010247"/>
                  <a:pt x="728664" y="2006817"/>
                </a:cubicBezTo>
                <a:cubicBezTo>
                  <a:pt x="727807" y="2004246"/>
                  <a:pt x="728664" y="1992244"/>
                  <a:pt x="728664" y="1992244"/>
                </a:cubicBezTo>
                <a:lnTo>
                  <a:pt x="735522" y="1983671"/>
                </a:lnTo>
                <a:cubicBezTo>
                  <a:pt x="735522" y="1983671"/>
                  <a:pt x="736379" y="1968242"/>
                  <a:pt x="738951" y="1966526"/>
                </a:cubicBezTo>
                <a:cubicBezTo>
                  <a:pt x="741523" y="1964813"/>
                  <a:pt x="745809" y="1954526"/>
                  <a:pt x="750095" y="1954526"/>
                </a:cubicBezTo>
                <a:cubicBezTo>
                  <a:pt x="754381" y="1954526"/>
                  <a:pt x="753524" y="1931380"/>
                  <a:pt x="753524" y="1931380"/>
                </a:cubicBezTo>
                <a:lnTo>
                  <a:pt x="760382" y="1918520"/>
                </a:lnTo>
                <a:cubicBezTo>
                  <a:pt x="760382" y="1918520"/>
                  <a:pt x="762954" y="1905663"/>
                  <a:pt x="762954" y="1903090"/>
                </a:cubicBezTo>
                <a:cubicBezTo>
                  <a:pt x="762954" y="1900518"/>
                  <a:pt x="756096" y="1895375"/>
                  <a:pt x="756096" y="1895375"/>
                </a:cubicBezTo>
                <a:cubicBezTo>
                  <a:pt x="756096" y="1895375"/>
                  <a:pt x="749238" y="1895375"/>
                  <a:pt x="744094" y="1897947"/>
                </a:cubicBezTo>
                <a:cubicBezTo>
                  <a:pt x="738951" y="1900518"/>
                  <a:pt x="740665" y="1898805"/>
                  <a:pt x="737236" y="1899662"/>
                </a:cubicBezTo>
                <a:cubicBezTo>
                  <a:pt x="733807" y="1900518"/>
                  <a:pt x="732950" y="1897947"/>
                  <a:pt x="727807" y="1896233"/>
                </a:cubicBezTo>
                <a:cubicBezTo>
                  <a:pt x="722663" y="1894520"/>
                  <a:pt x="726949" y="1889375"/>
                  <a:pt x="727807" y="1885088"/>
                </a:cubicBezTo>
                <a:cubicBezTo>
                  <a:pt x="728664" y="1880803"/>
                  <a:pt x="720091" y="1881660"/>
                  <a:pt x="716662" y="1880803"/>
                </a:cubicBezTo>
                <a:cubicBezTo>
                  <a:pt x="714091" y="1879945"/>
                  <a:pt x="713233" y="1870514"/>
                  <a:pt x="710662" y="1867944"/>
                </a:cubicBezTo>
                <a:cubicBezTo>
                  <a:pt x="708947" y="1866229"/>
                  <a:pt x="708090" y="1862801"/>
                  <a:pt x="704661" y="1855941"/>
                </a:cubicBezTo>
                <a:cubicBezTo>
                  <a:pt x="701232" y="1849083"/>
                  <a:pt x="699517" y="1852513"/>
                  <a:pt x="695231" y="1851655"/>
                </a:cubicBezTo>
                <a:cubicBezTo>
                  <a:pt x="690945" y="1850798"/>
                  <a:pt x="696088" y="1842226"/>
                  <a:pt x="691802" y="1834510"/>
                </a:cubicBezTo>
                <a:cubicBezTo>
                  <a:pt x="687516" y="1826796"/>
                  <a:pt x="701232" y="1831082"/>
                  <a:pt x="701232" y="1831082"/>
                </a:cubicBezTo>
                <a:cubicBezTo>
                  <a:pt x="701232" y="1831082"/>
                  <a:pt x="701232" y="1831082"/>
                  <a:pt x="707233" y="1836225"/>
                </a:cubicBezTo>
                <a:cubicBezTo>
                  <a:pt x="713233" y="1842226"/>
                  <a:pt x="708947" y="1840511"/>
                  <a:pt x="713233" y="1846511"/>
                </a:cubicBezTo>
                <a:cubicBezTo>
                  <a:pt x="718377" y="1852513"/>
                  <a:pt x="714091" y="1856798"/>
                  <a:pt x="715805" y="1859371"/>
                </a:cubicBezTo>
                <a:cubicBezTo>
                  <a:pt x="717520" y="1861944"/>
                  <a:pt x="726949" y="1863658"/>
                  <a:pt x="730378" y="1868802"/>
                </a:cubicBezTo>
                <a:cubicBezTo>
                  <a:pt x="733807" y="1873945"/>
                  <a:pt x="738951" y="1879945"/>
                  <a:pt x="738951" y="1879945"/>
                </a:cubicBezTo>
                <a:cubicBezTo>
                  <a:pt x="738951" y="1879945"/>
                  <a:pt x="756096" y="1877374"/>
                  <a:pt x="759525" y="1875660"/>
                </a:cubicBezTo>
                <a:cubicBezTo>
                  <a:pt x="762097" y="1873945"/>
                  <a:pt x="763811" y="1864514"/>
                  <a:pt x="763811" y="1864514"/>
                </a:cubicBezTo>
                <a:cubicBezTo>
                  <a:pt x="763811" y="1864514"/>
                  <a:pt x="767240" y="1855941"/>
                  <a:pt x="767240" y="1852513"/>
                </a:cubicBezTo>
                <a:cubicBezTo>
                  <a:pt x="767240" y="1849940"/>
                  <a:pt x="762954" y="1837940"/>
                  <a:pt x="762954" y="1837940"/>
                </a:cubicBezTo>
                <a:lnTo>
                  <a:pt x="762954" y="1825938"/>
                </a:lnTo>
                <a:cubicBezTo>
                  <a:pt x="762954" y="1825938"/>
                  <a:pt x="756953" y="1819938"/>
                  <a:pt x="758668" y="1815651"/>
                </a:cubicBezTo>
                <a:cubicBezTo>
                  <a:pt x="760382" y="1812222"/>
                  <a:pt x="758668" y="1815651"/>
                  <a:pt x="762097" y="1816508"/>
                </a:cubicBezTo>
                <a:cubicBezTo>
                  <a:pt x="764668" y="1817366"/>
                  <a:pt x="771526" y="1817366"/>
                  <a:pt x="774098" y="1820794"/>
                </a:cubicBezTo>
                <a:cubicBezTo>
                  <a:pt x="776670" y="1824223"/>
                  <a:pt x="779242" y="1833653"/>
                  <a:pt x="782671" y="1837084"/>
                </a:cubicBezTo>
                <a:cubicBezTo>
                  <a:pt x="786100" y="1840511"/>
                  <a:pt x="786100" y="1839654"/>
                  <a:pt x="790386" y="1844797"/>
                </a:cubicBezTo>
                <a:cubicBezTo>
                  <a:pt x="793815" y="1849940"/>
                  <a:pt x="792958" y="1846511"/>
                  <a:pt x="796387" y="1851655"/>
                </a:cubicBezTo>
                <a:cubicBezTo>
                  <a:pt x="799816" y="1857656"/>
                  <a:pt x="796387" y="1855941"/>
                  <a:pt x="800673" y="1863658"/>
                </a:cubicBezTo>
                <a:cubicBezTo>
                  <a:pt x="804959" y="1871372"/>
                  <a:pt x="804959" y="1869657"/>
                  <a:pt x="809245" y="1873945"/>
                </a:cubicBezTo>
                <a:lnTo>
                  <a:pt x="810960" y="1870514"/>
                </a:lnTo>
                <a:cubicBezTo>
                  <a:pt x="776884" y="1746428"/>
                  <a:pt x="670960" y="1679244"/>
                  <a:pt x="620127" y="1653407"/>
                </a:cubicBezTo>
                <a:lnTo>
                  <a:pt x="615617" y="1651278"/>
                </a:lnTo>
                <a:lnTo>
                  <a:pt x="671583" y="1676556"/>
                </a:lnTo>
                <a:cubicBezTo>
                  <a:pt x="838713" y="1774368"/>
                  <a:pt x="881468" y="1966205"/>
                  <a:pt x="792958" y="2119974"/>
                </a:cubicBezTo>
                <a:cubicBezTo>
                  <a:pt x="691802" y="2295710"/>
                  <a:pt x="511779" y="2287139"/>
                  <a:pt x="511779" y="2287139"/>
                </a:cubicBezTo>
                <a:cubicBezTo>
                  <a:pt x="592360" y="2286282"/>
                  <a:pt x="630079" y="2251133"/>
                  <a:pt x="630079" y="2251133"/>
                </a:cubicBezTo>
                <a:cubicBezTo>
                  <a:pt x="630079" y="2251133"/>
                  <a:pt x="616363" y="2250276"/>
                  <a:pt x="613791" y="2251993"/>
                </a:cubicBezTo>
                <a:cubicBezTo>
                  <a:pt x="611220" y="2253706"/>
                  <a:pt x="600075" y="2245133"/>
                  <a:pt x="597504" y="2245133"/>
                </a:cubicBezTo>
                <a:cubicBezTo>
                  <a:pt x="594932" y="2245133"/>
                  <a:pt x="590646" y="2244276"/>
                  <a:pt x="588074" y="2243418"/>
                </a:cubicBezTo>
                <a:cubicBezTo>
                  <a:pt x="585502" y="2242562"/>
                  <a:pt x="577787" y="2245133"/>
                  <a:pt x="572643" y="2245990"/>
                </a:cubicBezTo>
                <a:cubicBezTo>
                  <a:pt x="566643" y="2246848"/>
                  <a:pt x="565785" y="2246848"/>
                  <a:pt x="560642" y="2251993"/>
                </a:cubicBezTo>
                <a:cubicBezTo>
                  <a:pt x="554641" y="2257136"/>
                  <a:pt x="553784" y="2251133"/>
                  <a:pt x="550355" y="2251133"/>
                </a:cubicBezTo>
                <a:cubicBezTo>
                  <a:pt x="546926" y="2251133"/>
                  <a:pt x="537496" y="2251993"/>
                  <a:pt x="537496" y="2251993"/>
                </a:cubicBezTo>
                <a:lnTo>
                  <a:pt x="541782" y="2241705"/>
                </a:lnTo>
                <a:cubicBezTo>
                  <a:pt x="541782" y="2241705"/>
                  <a:pt x="535782" y="2239989"/>
                  <a:pt x="530638" y="2239989"/>
                </a:cubicBezTo>
                <a:cubicBezTo>
                  <a:pt x="525495" y="2239989"/>
                  <a:pt x="526352" y="2244276"/>
                  <a:pt x="523780" y="2248563"/>
                </a:cubicBezTo>
                <a:cubicBezTo>
                  <a:pt x="521208" y="2252849"/>
                  <a:pt x="521208" y="2253706"/>
                  <a:pt x="517779" y="2259708"/>
                </a:cubicBezTo>
                <a:cubicBezTo>
                  <a:pt x="515208" y="2266564"/>
                  <a:pt x="501492" y="2256279"/>
                  <a:pt x="496348" y="2255421"/>
                </a:cubicBezTo>
                <a:cubicBezTo>
                  <a:pt x="491205" y="2254563"/>
                  <a:pt x="488633" y="2255421"/>
                  <a:pt x="484347" y="2252849"/>
                </a:cubicBezTo>
                <a:cubicBezTo>
                  <a:pt x="480060" y="2250276"/>
                  <a:pt x="485204" y="2248563"/>
                  <a:pt x="485204" y="2248563"/>
                </a:cubicBezTo>
                <a:lnTo>
                  <a:pt x="497205" y="2239989"/>
                </a:lnTo>
                <a:lnTo>
                  <a:pt x="509207" y="2233132"/>
                </a:lnTo>
                <a:cubicBezTo>
                  <a:pt x="509207" y="2233132"/>
                  <a:pt x="507492" y="2227131"/>
                  <a:pt x="503206" y="2226275"/>
                </a:cubicBezTo>
                <a:cubicBezTo>
                  <a:pt x="499777" y="2225418"/>
                  <a:pt x="499777" y="2228846"/>
                  <a:pt x="497205" y="2231417"/>
                </a:cubicBezTo>
                <a:cubicBezTo>
                  <a:pt x="494634" y="2233989"/>
                  <a:pt x="472345" y="2232275"/>
                  <a:pt x="472345" y="2232275"/>
                </a:cubicBezTo>
                <a:cubicBezTo>
                  <a:pt x="472345" y="2232275"/>
                  <a:pt x="458629" y="2237419"/>
                  <a:pt x="451771" y="2233989"/>
                </a:cubicBezTo>
                <a:cubicBezTo>
                  <a:pt x="444056" y="2230561"/>
                  <a:pt x="451771" y="2233989"/>
                  <a:pt x="448342" y="2227131"/>
                </a:cubicBezTo>
                <a:cubicBezTo>
                  <a:pt x="445770" y="2220274"/>
                  <a:pt x="438912" y="2231417"/>
                  <a:pt x="433769" y="2233989"/>
                </a:cubicBezTo>
                <a:cubicBezTo>
                  <a:pt x="427768" y="2236562"/>
                  <a:pt x="427768" y="2234846"/>
                  <a:pt x="413195" y="2237419"/>
                </a:cubicBezTo>
                <a:cubicBezTo>
                  <a:pt x="398622" y="2239989"/>
                  <a:pt x="402908" y="2239132"/>
                  <a:pt x="402908" y="2239132"/>
                </a:cubicBezTo>
                <a:lnTo>
                  <a:pt x="402051" y="2233132"/>
                </a:lnTo>
                <a:cubicBezTo>
                  <a:pt x="402051" y="2233132"/>
                  <a:pt x="396050" y="2237419"/>
                  <a:pt x="391764" y="2241705"/>
                </a:cubicBezTo>
                <a:cubicBezTo>
                  <a:pt x="387477" y="2245990"/>
                  <a:pt x="383191" y="2243418"/>
                  <a:pt x="379762" y="2243418"/>
                </a:cubicBezTo>
                <a:cubicBezTo>
                  <a:pt x="376333" y="2243418"/>
                  <a:pt x="378048" y="2257136"/>
                  <a:pt x="378048" y="2257136"/>
                </a:cubicBezTo>
                <a:cubicBezTo>
                  <a:pt x="379548" y="2260779"/>
                  <a:pt x="385388" y="2264528"/>
                  <a:pt x="393304" y="2268105"/>
                </a:cubicBezTo>
                <a:lnTo>
                  <a:pt x="409649" y="2273959"/>
                </a:lnTo>
                <a:lnTo>
                  <a:pt x="353398" y="2258117"/>
                </a:lnTo>
                <a:cubicBezTo>
                  <a:pt x="141567" y="2163439"/>
                  <a:pt x="167164" y="1913378"/>
                  <a:pt x="167164" y="1913378"/>
                </a:cubicBezTo>
                <a:lnTo>
                  <a:pt x="170593" y="1910806"/>
                </a:lnTo>
                <a:cubicBezTo>
                  <a:pt x="170593" y="1910806"/>
                  <a:pt x="172308" y="1918520"/>
                  <a:pt x="173165" y="1921951"/>
                </a:cubicBezTo>
                <a:cubicBezTo>
                  <a:pt x="174879" y="1925378"/>
                  <a:pt x="174879" y="1924521"/>
                  <a:pt x="179166" y="1930522"/>
                </a:cubicBezTo>
                <a:cubicBezTo>
                  <a:pt x="182595" y="1936523"/>
                  <a:pt x="184309" y="1935665"/>
                  <a:pt x="186024" y="1939953"/>
                </a:cubicBezTo>
                <a:cubicBezTo>
                  <a:pt x="187738" y="1945095"/>
                  <a:pt x="186024" y="1939953"/>
                  <a:pt x="181737" y="1954526"/>
                </a:cubicBezTo>
                <a:cubicBezTo>
                  <a:pt x="178308" y="1969098"/>
                  <a:pt x="190310" y="1978528"/>
                  <a:pt x="190310" y="1978528"/>
                </a:cubicBezTo>
                <a:cubicBezTo>
                  <a:pt x="190310" y="1978528"/>
                  <a:pt x="190310" y="1982814"/>
                  <a:pt x="189453" y="2007674"/>
                </a:cubicBezTo>
                <a:cubicBezTo>
                  <a:pt x="188595" y="2031678"/>
                  <a:pt x="199740" y="2037678"/>
                  <a:pt x="208312" y="2052252"/>
                </a:cubicBezTo>
                <a:cubicBezTo>
                  <a:pt x="216027" y="2065968"/>
                  <a:pt x="211741" y="2060824"/>
                  <a:pt x="215170" y="2066825"/>
                </a:cubicBezTo>
                <a:cubicBezTo>
                  <a:pt x="218599" y="2071968"/>
                  <a:pt x="217742" y="2067682"/>
                  <a:pt x="227172" y="2076254"/>
                </a:cubicBezTo>
                <a:cubicBezTo>
                  <a:pt x="236601" y="2084827"/>
                  <a:pt x="228886" y="2084827"/>
                  <a:pt x="233172" y="2101972"/>
                </a:cubicBezTo>
                <a:cubicBezTo>
                  <a:pt x="237459" y="2119117"/>
                  <a:pt x="237459" y="2109687"/>
                  <a:pt x="240888" y="2124260"/>
                </a:cubicBezTo>
                <a:cubicBezTo>
                  <a:pt x="243459" y="2139691"/>
                  <a:pt x="244317" y="2127690"/>
                  <a:pt x="250317" y="2136262"/>
                </a:cubicBezTo>
                <a:cubicBezTo>
                  <a:pt x="256318" y="2144834"/>
                  <a:pt x="250317" y="2136262"/>
                  <a:pt x="257175" y="2149122"/>
                </a:cubicBezTo>
                <a:cubicBezTo>
                  <a:pt x="264033" y="2161979"/>
                  <a:pt x="262319" y="2155122"/>
                  <a:pt x="264891" y="2161123"/>
                </a:cubicBezTo>
                <a:cubicBezTo>
                  <a:pt x="267462" y="2166267"/>
                  <a:pt x="270034" y="2163694"/>
                  <a:pt x="279464" y="2189412"/>
                </a:cubicBezTo>
                <a:cubicBezTo>
                  <a:pt x="288894" y="2215130"/>
                  <a:pt x="281178" y="2193698"/>
                  <a:pt x="286322" y="2199699"/>
                </a:cubicBezTo>
                <a:cubicBezTo>
                  <a:pt x="291465" y="2205701"/>
                  <a:pt x="294037" y="2202272"/>
                  <a:pt x="306039" y="2211701"/>
                </a:cubicBezTo>
                <a:cubicBezTo>
                  <a:pt x="318040" y="2221130"/>
                  <a:pt x="309468" y="2215986"/>
                  <a:pt x="318897" y="2221987"/>
                </a:cubicBezTo>
                <a:cubicBezTo>
                  <a:pt x="328327" y="2227988"/>
                  <a:pt x="320612" y="2219415"/>
                  <a:pt x="320612" y="2215986"/>
                </a:cubicBezTo>
                <a:cubicBezTo>
                  <a:pt x="320612" y="2212557"/>
                  <a:pt x="316326" y="2210843"/>
                  <a:pt x="312897" y="2207414"/>
                </a:cubicBezTo>
                <a:cubicBezTo>
                  <a:pt x="308610" y="2204842"/>
                  <a:pt x="307753" y="2200556"/>
                  <a:pt x="304324" y="2196269"/>
                </a:cubicBezTo>
                <a:cubicBezTo>
                  <a:pt x="301752" y="2192841"/>
                  <a:pt x="301752" y="2191127"/>
                  <a:pt x="300038" y="2186840"/>
                </a:cubicBezTo>
                <a:cubicBezTo>
                  <a:pt x="297466" y="2182553"/>
                  <a:pt x="294894" y="2180840"/>
                  <a:pt x="290608" y="2173981"/>
                </a:cubicBezTo>
                <a:cubicBezTo>
                  <a:pt x="286322" y="2167124"/>
                  <a:pt x="294037" y="2168839"/>
                  <a:pt x="294894" y="2166267"/>
                </a:cubicBezTo>
                <a:cubicBezTo>
                  <a:pt x="295752" y="2163694"/>
                  <a:pt x="297466" y="2164551"/>
                  <a:pt x="298323" y="2161123"/>
                </a:cubicBezTo>
                <a:cubicBezTo>
                  <a:pt x="299181" y="2157693"/>
                  <a:pt x="299181" y="2152550"/>
                  <a:pt x="294894" y="2148263"/>
                </a:cubicBezTo>
                <a:cubicBezTo>
                  <a:pt x="291465" y="2143120"/>
                  <a:pt x="302610" y="2122546"/>
                  <a:pt x="303467" y="2119974"/>
                </a:cubicBezTo>
                <a:cubicBezTo>
                  <a:pt x="304324" y="2117403"/>
                  <a:pt x="303467" y="2104544"/>
                  <a:pt x="303467" y="2104544"/>
                </a:cubicBezTo>
                <a:cubicBezTo>
                  <a:pt x="303467" y="2104544"/>
                  <a:pt x="309468" y="2098543"/>
                  <a:pt x="312897" y="2097686"/>
                </a:cubicBezTo>
                <a:cubicBezTo>
                  <a:pt x="316326" y="2096828"/>
                  <a:pt x="322326" y="2092543"/>
                  <a:pt x="326613" y="2088256"/>
                </a:cubicBezTo>
                <a:cubicBezTo>
                  <a:pt x="330899" y="2083970"/>
                  <a:pt x="324898" y="2079683"/>
                  <a:pt x="324898" y="2079683"/>
                </a:cubicBezTo>
                <a:cubicBezTo>
                  <a:pt x="324898" y="2079683"/>
                  <a:pt x="327470" y="2074540"/>
                  <a:pt x="329184" y="2071111"/>
                </a:cubicBezTo>
                <a:cubicBezTo>
                  <a:pt x="330899" y="2067682"/>
                  <a:pt x="330042" y="2059967"/>
                  <a:pt x="330042" y="2057396"/>
                </a:cubicBezTo>
                <a:cubicBezTo>
                  <a:pt x="330042" y="2054823"/>
                  <a:pt x="327470" y="2050539"/>
                  <a:pt x="325755" y="2046251"/>
                </a:cubicBezTo>
                <a:cubicBezTo>
                  <a:pt x="323184" y="2041964"/>
                  <a:pt x="325755" y="2037678"/>
                  <a:pt x="327470" y="2035106"/>
                </a:cubicBezTo>
                <a:cubicBezTo>
                  <a:pt x="330042" y="2032536"/>
                  <a:pt x="333471" y="2023962"/>
                  <a:pt x="336900" y="2021391"/>
                </a:cubicBezTo>
                <a:cubicBezTo>
                  <a:pt x="340329" y="2018820"/>
                  <a:pt x="341186" y="2014533"/>
                  <a:pt x="342043" y="2008532"/>
                </a:cubicBezTo>
                <a:cubicBezTo>
                  <a:pt x="342900" y="2002531"/>
                  <a:pt x="338614" y="2002531"/>
                  <a:pt x="336900" y="2001674"/>
                </a:cubicBezTo>
                <a:cubicBezTo>
                  <a:pt x="335185" y="2000816"/>
                  <a:pt x="332613" y="1999102"/>
                  <a:pt x="324041" y="1994816"/>
                </a:cubicBezTo>
                <a:cubicBezTo>
                  <a:pt x="316326" y="1989672"/>
                  <a:pt x="318897" y="1986243"/>
                  <a:pt x="315468" y="1983671"/>
                </a:cubicBezTo>
                <a:cubicBezTo>
                  <a:pt x="312039" y="1981100"/>
                  <a:pt x="306039" y="1981957"/>
                  <a:pt x="299181" y="1982814"/>
                </a:cubicBezTo>
                <a:cubicBezTo>
                  <a:pt x="292323" y="1983671"/>
                  <a:pt x="297466" y="1978528"/>
                  <a:pt x="295752" y="1977671"/>
                </a:cubicBezTo>
                <a:cubicBezTo>
                  <a:pt x="294037" y="1976813"/>
                  <a:pt x="288894" y="1974242"/>
                  <a:pt x="282893" y="1972528"/>
                </a:cubicBezTo>
                <a:cubicBezTo>
                  <a:pt x="277749" y="1970814"/>
                  <a:pt x="281178" y="1965669"/>
                  <a:pt x="281178" y="1965669"/>
                </a:cubicBezTo>
                <a:cubicBezTo>
                  <a:pt x="281178" y="1965669"/>
                  <a:pt x="274320" y="1964813"/>
                  <a:pt x="271749" y="1963955"/>
                </a:cubicBezTo>
                <a:cubicBezTo>
                  <a:pt x="269177" y="1963955"/>
                  <a:pt x="269177" y="1959668"/>
                  <a:pt x="270034" y="1957954"/>
                </a:cubicBezTo>
                <a:cubicBezTo>
                  <a:pt x="270891" y="1955382"/>
                  <a:pt x="269177" y="1948525"/>
                  <a:pt x="269177" y="1948525"/>
                </a:cubicBezTo>
                <a:cubicBezTo>
                  <a:pt x="269177" y="1948525"/>
                  <a:pt x="268320" y="1939953"/>
                  <a:pt x="264033" y="1939095"/>
                </a:cubicBezTo>
                <a:cubicBezTo>
                  <a:pt x="259747" y="1937380"/>
                  <a:pt x="261462" y="1933952"/>
                  <a:pt x="259747" y="1933095"/>
                </a:cubicBezTo>
                <a:cubicBezTo>
                  <a:pt x="257175" y="1932237"/>
                  <a:pt x="250317" y="1931380"/>
                  <a:pt x="248603" y="1931380"/>
                </a:cubicBezTo>
                <a:cubicBezTo>
                  <a:pt x="247746" y="1931380"/>
                  <a:pt x="240030" y="1929666"/>
                  <a:pt x="239173" y="1926236"/>
                </a:cubicBezTo>
                <a:cubicBezTo>
                  <a:pt x="238316" y="1923666"/>
                  <a:pt x="238316" y="1918520"/>
                  <a:pt x="236601" y="1917664"/>
                </a:cubicBezTo>
                <a:cubicBezTo>
                  <a:pt x="234887" y="1916808"/>
                  <a:pt x="233172" y="1911663"/>
                  <a:pt x="232315" y="1908233"/>
                </a:cubicBezTo>
                <a:cubicBezTo>
                  <a:pt x="230601" y="1904805"/>
                  <a:pt x="228029" y="1904805"/>
                  <a:pt x="226314" y="1903948"/>
                </a:cubicBezTo>
                <a:cubicBezTo>
                  <a:pt x="224600" y="1903090"/>
                  <a:pt x="216885" y="1907378"/>
                  <a:pt x="214313" y="1906521"/>
                </a:cubicBezTo>
                <a:cubicBezTo>
                  <a:pt x="211741" y="1905663"/>
                  <a:pt x="215170" y="1900518"/>
                  <a:pt x="213456" y="1898805"/>
                </a:cubicBezTo>
                <a:cubicBezTo>
                  <a:pt x="212598" y="1897090"/>
                  <a:pt x="211741" y="1897947"/>
                  <a:pt x="206598" y="1897090"/>
                </a:cubicBezTo>
                <a:cubicBezTo>
                  <a:pt x="201454" y="1896233"/>
                  <a:pt x="201454" y="1900518"/>
                  <a:pt x="201454" y="1900518"/>
                </a:cubicBezTo>
                <a:lnTo>
                  <a:pt x="198882" y="1903948"/>
                </a:lnTo>
                <a:cubicBezTo>
                  <a:pt x="198882" y="1903948"/>
                  <a:pt x="197168" y="1906521"/>
                  <a:pt x="192882" y="1912520"/>
                </a:cubicBezTo>
                <a:cubicBezTo>
                  <a:pt x="188595" y="1918520"/>
                  <a:pt x="192882" y="1912520"/>
                  <a:pt x="191167" y="1910806"/>
                </a:cubicBezTo>
                <a:cubicBezTo>
                  <a:pt x="189453" y="1909093"/>
                  <a:pt x="189453" y="1909093"/>
                  <a:pt x="188595" y="1907378"/>
                </a:cubicBezTo>
                <a:cubicBezTo>
                  <a:pt x="186881" y="1906521"/>
                  <a:pt x="184309" y="1898805"/>
                  <a:pt x="185166" y="1895375"/>
                </a:cubicBezTo>
                <a:cubicBezTo>
                  <a:pt x="186024" y="1891947"/>
                  <a:pt x="187738" y="1888518"/>
                  <a:pt x="188595" y="1885946"/>
                </a:cubicBezTo>
                <a:cubicBezTo>
                  <a:pt x="189453" y="1883375"/>
                  <a:pt x="187738" y="1881660"/>
                  <a:pt x="187738" y="1873087"/>
                </a:cubicBezTo>
                <a:cubicBezTo>
                  <a:pt x="187738" y="1864514"/>
                  <a:pt x="187738" y="1865373"/>
                  <a:pt x="188595" y="1862801"/>
                </a:cubicBezTo>
                <a:cubicBezTo>
                  <a:pt x="188595" y="1860230"/>
                  <a:pt x="187738" y="1857656"/>
                  <a:pt x="187738" y="1855084"/>
                </a:cubicBezTo>
                <a:cubicBezTo>
                  <a:pt x="187738" y="1852513"/>
                  <a:pt x="183452" y="1853370"/>
                  <a:pt x="183452" y="1853370"/>
                </a:cubicBezTo>
                <a:cubicBezTo>
                  <a:pt x="186881" y="1837940"/>
                  <a:pt x="197168" y="1817366"/>
                  <a:pt x="197168" y="1817366"/>
                </a:cubicBezTo>
                <a:cubicBezTo>
                  <a:pt x="197168" y="1817366"/>
                  <a:pt x="195453" y="1826796"/>
                  <a:pt x="195453" y="1828509"/>
                </a:cubicBezTo>
                <a:cubicBezTo>
                  <a:pt x="195453" y="1830225"/>
                  <a:pt x="194596" y="1833653"/>
                  <a:pt x="194596" y="1835368"/>
                </a:cubicBezTo>
                <a:cubicBezTo>
                  <a:pt x="194596" y="1837084"/>
                  <a:pt x="193739" y="1841369"/>
                  <a:pt x="193739" y="1843085"/>
                </a:cubicBezTo>
                <a:cubicBezTo>
                  <a:pt x="193739" y="1844797"/>
                  <a:pt x="195453" y="1843941"/>
                  <a:pt x="196311" y="1843941"/>
                </a:cubicBezTo>
                <a:cubicBezTo>
                  <a:pt x="197168" y="1843085"/>
                  <a:pt x="198882" y="1843941"/>
                  <a:pt x="201454" y="1847369"/>
                </a:cubicBezTo>
                <a:cubicBezTo>
                  <a:pt x="204026" y="1850798"/>
                  <a:pt x="202311" y="1847369"/>
                  <a:pt x="203169" y="1847369"/>
                </a:cubicBezTo>
                <a:cubicBezTo>
                  <a:pt x="204026" y="1847369"/>
                  <a:pt x="206598" y="1850798"/>
                  <a:pt x="207455" y="1852513"/>
                </a:cubicBezTo>
                <a:cubicBezTo>
                  <a:pt x="208312" y="1854227"/>
                  <a:pt x="206598" y="1855941"/>
                  <a:pt x="206598" y="1859371"/>
                </a:cubicBezTo>
                <a:cubicBezTo>
                  <a:pt x="205740" y="1862801"/>
                  <a:pt x="206598" y="1859371"/>
                  <a:pt x="208312" y="1861087"/>
                </a:cubicBezTo>
                <a:cubicBezTo>
                  <a:pt x="210027" y="1862801"/>
                  <a:pt x="212598" y="1862801"/>
                  <a:pt x="213456" y="1863658"/>
                </a:cubicBezTo>
                <a:cubicBezTo>
                  <a:pt x="215170" y="1864514"/>
                  <a:pt x="217742" y="1861944"/>
                  <a:pt x="220314" y="1862801"/>
                </a:cubicBezTo>
                <a:cubicBezTo>
                  <a:pt x="222885" y="1862801"/>
                  <a:pt x="222885" y="1864514"/>
                  <a:pt x="223743" y="1867085"/>
                </a:cubicBezTo>
                <a:cubicBezTo>
                  <a:pt x="224600" y="1870514"/>
                  <a:pt x="224600" y="1870514"/>
                  <a:pt x="225457" y="1870514"/>
                </a:cubicBezTo>
                <a:cubicBezTo>
                  <a:pt x="226314" y="1871372"/>
                  <a:pt x="228029" y="1867944"/>
                  <a:pt x="228886" y="1867085"/>
                </a:cubicBezTo>
                <a:cubicBezTo>
                  <a:pt x="229743" y="1866229"/>
                  <a:pt x="230601" y="1862801"/>
                  <a:pt x="230601" y="1862801"/>
                </a:cubicBezTo>
                <a:lnTo>
                  <a:pt x="227172" y="1860230"/>
                </a:lnTo>
                <a:lnTo>
                  <a:pt x="222028" y="1856798"/>
                </a:lnTo>
                <a:lnTo>
                  <a:pt x="216027" y="1855084"/>
                </a:lnTo>
                <a:cubicBezTo>
                  <a:pt x="216027" y="1855084"/>
                  <a:pt x="212598" y="1854227"/>
                  <a:pt x="210027" y="1854227"/>
                </a:cubicBezTo>
                <a:cubicBezTo>
                  <a:pt x="207455" y="1854227"/>
                  <a:pt x="210027" y="1848226"/>
                  <a:pt x="210027" y="1847369"/>
                </a:cubicBezTo>
                <a:cubicBezTo>
                  <a:pt x="210027" y="1845654"/>
                  <a:pt x="210027" y="1839654"/>
                  <a:pt x="210027" y="1839654"/>
                </a:cubicBezTo>
                <a:cubicBezTo>
                  <a:pt x="210027" y="1839654"/>
                  <a:pt x="206598" y="1838796"/>
                  <a:pt x="205740" y="1838796"/>
                </a:cubicBezTo>
                <a:cubicBezTo>
                  <a:pt x="204883" y="1838796"/>
                  <a:pt x="201454" y="1835368"/>
                  <a:pt x="201454" y="1834510"/>
                </a:cubicBezTo>
                <a:cubicBezTo>
                  <a:pt x="201454" y="1832795"/>
                  <a:pt x="202311" y="1829367"/>
                  <a:pt x="204883" y="1827653"/>
                </a:cubicBezTo>
                <a:cubicBezTo>
                  <a:pt x="206598" y="1825938"/>
                  <a:pt x="214313" y="1823367"/>
                  <a:pt x="215170" y="1823367"/>
                </a:cubicBezTo>
                <a:cubicBezTo>
                  <a:pt x="216027" y="1822508"/>
                  <a:pt x="218599" y="1819938"/>
                  <a:pt x="220314" y="1819081"/>
                </a:cubicBezTo>
                <a:cubicBezTo>
                  <a:pt x="221171" y="1818224"/>
                  <a:pt x="223743" y="1814795"/>
                  <a:pt x="223743" y="1811365"/>
                </a:cubicBezTo>
                <a:cubicBezTo>
                  <a:pt x="224600" y="1808794"/>
                  <a:pt x="226314" y="1804507"/>
                  <a:pt x="227172" y="1802793"/>
                </a:cubicBezTo>
                <a:cubicBezTo>
                  <a:pt x="228029" y="1801078"/>
                  <a:pt x="228029" y="1796791"/>
                  <a:pt x="228886" y="1793363"/>
                </a:cubicBezTo>
                <a:cubicBezTo>
                  <a:pt x="229743" y="1789933"/>
                  <a:pt x="233172" y="1786504"/>
                  <a:pt x="234030" y="1786504"/>
                </a:cubicBezTo>
                <a:cubicBezTo>
                  <a:pt x="234887" y="1786504"/>
                  <a:pt x="243459" y="1780505"/>
                  <a:pt x="246031" y="1777076"/>
                </a:cubicBezTo>
                <a:cubicBezTo>
                  <a:pt x="249460" y="1773647"/>
                  <a:pt x="252889" y="1771073"/>
                  <a:pt x="252889" y="1771073"/>
                </a:cubicBezTo>
                <a:lnTo>
                  <a:pt x="255461" y="1765075"/>
                </a:lnTo>
                <a:cubicBezTo>
                  <a:pt x="255461" y="1765075"/>
                  <a:pt x="256318" y="1763359"/>
                  <a:pt x="261462" y="1762502"/>
                </a:cubicBezTo>
                <a:cubicBezTo>
                  <a:pt x="266605" y="1760786"/>
                  <a:pt x="269177" y="1758215"/>
                  <a:pt x="269177" y="1758215"/>
                </a:cubicBezTo>
                <a:cubicBezTo>
                  <a:pt x="269177" y="1758215"/>
                  <a:pt x="271749" y="1752214"/>
                  <a:pt x="271749" y="1750501"/>
                </a:cubicBezTo>
                <a:cubicBezTo>
                  <a:pt x="271749" y="1748785"/>
                  <a:pt x="274320" y="1747928"/>
                  <a:pt x="274320" y="1747928"/>
                </a:cubicBezTo>
                <a:cubicBezTo>
                  <a:pt x="274320" y="1747928"/>
                  <a:pt x="282893" y="1742789"/>
                  <a:pt x="282893" y="1741932"/>
                </a:cubicBezTo>
                <a:cubicBezTo>
                  <a:pt x="282893" y="1741075"/>
                  <a:pt x="283750" y="1740217"/>
                  <a:pt x="286322" y="1739360"/>
                </a:cubicBezTo>
                <a:cubicBezTo>
                  <a:pt x="288894" y="1738503"/>
                  <a:pt x="290608" y="1739360"/>
                  <a:pt x="293180" y="1740217"/>
                </a:cubicBezTo>
                <a:cubicBezTo>
                  <a:pt x="294894" y="1741075"/>
                  <a:pt x="298323" y="1741932"/>
                  <a:pt x="302610" y="1742789"/>
                </a:cubicBezTo>
                <a:cubicBezTo>
                  <a:pt x="306896" y="1743646"/>
                  <a:pt x="307753" y="1741932"/>
                  <a:pt x="307753" y="1741932"/>
                </a:cubicBezTo>
                <a:cubicBezTo>
                  <a:pt x="307753" y="1741932"/>
                  <a:pt x="309468" y="1737646"/>
                  <a:pt x="309468" y="1735930"/>
                </a:cubicBezTo>
                <a:cubicBezTo>
                  <a:pt x="309468" y="1734216"/>
                  <a:pt x="308610" y="1732501"/>
                  <a:pt x="308610" y="1732501"/>
                </a:cubicBezTo>
                <a:cubicBezTo>
                  <a:pt x="308610" y="1732501"/>
                  <a:pt x="305181" y="1730788"/>
                  <a:pt x="304324" y="1730788"/>
                </a:cubicBezTo>
                <a:cubicBezTo>
                  <a:pt x="303467" y="1730788"/>
                  <a:pt x="306039" y="1723929"/>
                  <a:pt x="306039" y="1723929"/>
                </a:cubicBezTo>
                <a:lnTo>
                  <a:pt x="312039" y="1719643"/>
                </a:lnTo>
                <a:cubicBezTo>
                  <a:pt x="312039" y="1719643"/>
                  <a:pt x="317183" y="1715357"/>
                  <a:pt x="320612" y="1714500"/>
                </a:cubicBezTo>
                <a:cubicBezTo>
                  <a:pt x="324041" y="1713642"/>
                  <a:pt x="324041" y="1717928"/>
                  <a:pt x="325755" y="1718786"/>
                </a:cubicBezTo>
                <a:cubicBezTo>
                  <a:pt x="327470" y="1720500"/>
                  <a:pt x="326613" y="1721357"/>
                  <a:pt x="326613" y="1721357"/>
                </a:cubicBezTo>
                <a:lnTo>
                  <a:pt x="319755" y="1725643"/>
                </a:lnTo>
                <a:cubicBezTo>
                  <a:pt x="319755" y="1725643"/>
                  <a:pt x="320612" y="1730788"/>
                  <a:pt x="323184" y="1731644"/>
                </a:cubicBezTo>
                <a:cubicBezTo>
                  <a:pt x="324898" y="1732501"/>
                  <a:pt x="330899" y="1731644"/>
                  <a:pt x="330899" y="1731644"/>
                </a:cubicBezTo>
                <a:lnTo>
                  <a:pt x="336042" y="1728216"/>
                </a:lnTo>
                <a:lnTo>
                  <a:pt x="337757" y="1723929"/>
                </a:lnTo>
                <a:lnTo>
                  <a:pt x="337757" y="1717072"/>
                </a:lnTo>
                <a:cubicBezTo>
                  <a:pt x="337757" y="1717072"/>
                  <a:pt x="336900" y="1713642"/>
                  <a:pt x="336900" y="1711070"/>
                </a:cubicBezTo>
                <a:cubicBezTo>
                  <a:pt x="336900" y="1708499"/>
                  <a:pt x="338614" y="1707642"/>
                  <a:pt x="339471" y="1706785"/>
                </a:cubicBezTo>
                <a:cubicBezTo>
                  <a:pt x="340329" y="1705069"/>
                  <a:pt x="342900" y="1704213"/>
                  <a:pt x="342900" y="1704213"/>
                </a:cubicBezTo>
                <a:lnTo>
                  <a:pt x="345472" y="1699927"/>
                </a:lnTo>
                <a:cubicBezTo>
                  <a:pt x="345472" y="1699927"/>
                  <a:pt x="345472" y="1694782"/>
                  <a:pt x="345472" y="1693069"/>
                </a:cubicBezTo>
                <a:cubicBezTo>
                  <a:pt x="345472" y="1692212"/>
                  <a:pt x="350616" y="1685352"/>
                  <a:pt x="351473" y="1684495"/>
                </a:cubicBezTo>
                <a:cubicBezTo>
                  <a:pt x="353187" y="1683638"/>
                  <a:pt x="354045" y="1680211"/>
                  <a:pt x="354045" y="1680211"/>
                </a:cubicBezTo>
                <a:lnTo>
                  <a:pt x="345472" y="1676780"/>
                </a:lnTo>
                <a:cubicBezTo>
                  <a:pt x="336471" y="1676780"/>
                  <a:pt x="325970" y="1680637"/>
                  <a:pt x="315281" y="1686424"/>
                </a:cubicBezTo>
                <a:lnTo>
                  <a:pt x="289975" y="1703570"/>
                </a:lnTo>
                <a:lnTo>
                  <a:pt x="311879" y="1684683"/>
                </a:lnTo>
                <a:cubicBezTo>
                  <a:pt x="376494" y="1642972"/>
                  <a:pt x="440627" y="1634775"/>
                  <a:pt x="440627" y="1634775"/>
                </a:cubicBezTo>
                <a:cubicBezTo>
                  <a:pt x="451771" y="1632204"/>
                  <a:pt x="494634" y="1632204"/>
                  <a:pt x="493776" y="1630488"/>
                </a:cubicBezTo>
                <a:close/>
                <a:moveTo>
                  <a:pt x="5782152" y="1596198"/>
                </a:moveTo>
                <a:cubicBezTo>
                  <a:pt x="5813334" y="1596198"/>
                  <a:pt x="5842226" y="1621875"/>
                  <a:pt x="5866161" y="1665861"/>
                </a:cubicBezTo>
                <a:lnTo>
                  <a:pt x="5894202" y="1735228"/>
                </a:lnTo>
                <a:lnTo>
                  <a:pt x="5937599" y="1713557"/>
                </a:lnTo>
                <a:cubicBezTo>
                  <a:pt x="5963155" y="1703749"/>
                  <a:pt x="5986632" y="1697925"/>
                  <a:pt x="6007126" y="1696509"/>
                </a:cubicBezTo>
                <a:cubicBezTo>
                  <a:pt x="6034451" y="1694620"/>
                  <a:pt x="6056472" y="1700567"/>
                  <a:pt x="6071045" y="1715354"/>
                </a:cubicBezTo>
                <a:cubicBezTo>
                  <a:pt x="6100192" y="1744499"/>
                  <a:pt x="6094406" y="1803436"/>
                  <a:pt x="6061402" y="1875016"/>
                </a:cubicBezTo>
                <a:lnTo>
                  <a:pt x="6052430" y="1891847"/>
                </a:lnTo>
                <a:lnTo>
                  <a:pt x="6120539" y="1919379"/>
                </a:lnTo>
                <a:cubicBezTo>
                  <a:pt x="6164526" y="1943315"/>
                  <a:pt x="6190203" y="1972206"/>
                  <a:pt x="6190203" y="2003388"/>
                </a:cubicBezTo>
                <a:cubicBezTo>
                  <a:pt x="6190203" y="2034571"/>
                  <a:pt x="6164526" y="2063583"/>
                  <a:pt x="6120539" y="2087623"/>
                </a:cubicBezTo>
                <a:lnTo>
                  <a:pt x="6052202" y="2115361"/>
                </a:lnTo>
                <a:lnTo>
                  <a:pt x="6061402" y="2132621"/>
                </a:lnTo>
                <a:cubicBezTo>
                  <a:pt x="6094406" y="2204202"/>
                  <a:pt x="6100192" y="2263137"/>
                  <a:pt x="6071045" y="2292283"/>
                </a:cubicBezTo>
                <a:cubicBezTo>
                  <a:pt x="6041470" y="2321858"/>
                  <a:pt x="5982534" y="2316072"/>
                  <a:pt x="5911061" y="2282960"/>
                </a:cubicBezTo>
                <a:lnTo>
                  <a:pt x="5893744" y="2273685"/>
                </a:lnTo>
                <a:lnTo>
                  <a:pt x="5865784" y="2342634"/>
                </a:lnTo>
                <a:cubicBezTo>
                  <a:pt x="5841825" y="2386620"/>
                  <a:pt x="5813013" y="2412297"/>
                  <a:pt x="5782152" y="2412297"/>
                </a:cubicBezTo>
                <a:cubicBezTo>
                  <a:pt x="5751291" y="2412297"/>
                  <a:pt x="5722479" y="2386620"/>
                  <a:pt x="5698520" y="2342634"/>
                </a:cubicBezTo>
                <a:lnTo>
                  <a:pt x="5670749" y="2274150"/>
                </a:lnTo>
                <a:lnTo>
                  <a:pt x="5653242" y="2283496"/>
                </a:lnTo>
                <a:cubicBezTo>
                  <a:pt x="5581769" y="2316501"/>
                  <a:pt x="5522833" y="2322286"/>
                  <a:pt x="5493258" y="2293141"/>
                </a:cubicBezTo>
                <a:cubicBezTo>
                  <a:pt x="5464112" y="2263565"/>
                  <a:pt x="5469898" y="2204628"/>
                  <a:pt x="5502902" y="2133155"/>
                </a:cubicBezTo>
                <a:lnTo>
                  <a:pt x="5512498" y="2115182"/>
                </a:lnTo>
                <a:lnTo>
                  <a:pt x="5443764" y="2087397"/>
                </a:lnTo>
                <a:cubicBezTo>
                  <a:pt x="5399777" y="2063462"/>
                  <a:pt x="5374100" y="2034570"/>
                  <a:pt x="5374100" y="2003388"/>
                </a:cubicBezTo>
                <a:cubicBezTo>
                  <a:pt x="5374100" y="1972207"/>
                  <a:pt x="5399777" y="1943315"/>
                  <a:pt x="5443764" y="1919379"/>
                </a:cubicBezTo>
                <a:lnTo>
                  <a:pt x="5512121" y="1891747"/>
                </a:lnTo>
                <a:lnTo>
                  <a:pt x="5502902" y="1874480"/>
                </a:lnTo>
                <a:cubicBezTo>
                  <a:pt x="5469898" y="1803007"/>
                  <a:pt x="5464112" y="1744073"/>
                  <a:pt x="5493258" y="1714497"/>
                </a:cubicBezTo>
                <a:cubicBezTo>
                  <a:pt x="5522833" y="1685351"/>
                  <a:pt x="5581769" y="1691138"/>
                  <a:pt x="5653242" y="1724143"/>
                </a:cubicBezTo>
                <a:lnTo>
                  <a:pt x="5670795" y="1733514"/>
                </a:lnTo>
                <a:lnTo>
                  <a:pt x="5698143" y="1665860"/>
                </a:lnTo>
                <a:cubicBezTo>
                  <a:pt x="5722077" y="1621875"/>
                  <a:pt x="5750969" y="1596198"/>
                  <a:pt x="5782152" y="1596198"/>
                </a:cubicBezTo>
                <a:close/>
                <a:moveTo>
                  <a:pt x="3595306" y="1531906"/>
                </a:moveTo>
                <a:cubicBezTo>
                  <a:pt x="3530155" y="1531906"/>
                  <a:pt x="3477006" y="1585913"/>
                  <a:pt x="3477006" y="1651922"/>
                </a:cubicBezTo>
                <a:cubicBezTo>
                  <a:pt x="3477006" y="1717929"/>
                  <a:pt x="3530155" y="1771933"/>
                  <a:pt x="3595306" y="1771933"/>
                </a:cubicBezTo>
                <a:cubicBezTo>
                  <a:pt x="3661315" y="1771933"/>
                  <a:pt x="3714464" y="1717929"/>
                  <a:pt x="3713607" y="1651922"/>
                </a:cubicBezTo>
                <a:cubicBezTo>
                  <a:pt x="3713607" y="1585913"/>
                  <a:pt x="3660458" y="1531906"/>
                  <a:pt x="3595306" y="1531906"/>
                </a:cubicBezTo>
                <a:close/>
                <a:moveTo>
                  <a:pt x="1682785" y="1496755"/>
                </a:moveTo>
                <a:lnTo>
                  <a:pt x="2037137" y="1655346"/>
                </a:lnTo>
                <a:lnTo>
                  <a:pt x="2042829" y="1655346"/>
                </a:lnTo>
                <a:lnTo>
                  <a:pt x="2042829" y="1657894"/>
                </a:lnTo>
                <a:lnTo>
                  <a:pt x="2050545" y="1661347"/>
                </a:lnTo>
                <a:lnTo>
                  <a:pt x="2042829" y="1664864"/>
                </a:lnTo>
                <a:lnTo>
                  <a:pt x="2042829" y="1878511"/>
                </a:lnTo>
                <a:lnTo>
                  <a:pt x="2057832" y="1884660"/>
                </a:lnTo>
                <a:cubicBezTo>
                  <a:pt x="2064475" y="1891304"/>
                  <a:pt x="2068547" y="1900519"/>
                  <a:pt x="2068547" y="1910806"/>
                </a:cubicBezTo>
                <a:cubicBezTo>
                  <a:pt x="2068547" y="1921093"/>
                  <a:pt x="2064475" y="1930523"/>
                  <a:pt x="2057832" y="1937274"/>
                </a:cubicBezTo>
                <a:lnTo>
                  <a:pt x="2057578" y="1937375"/>
                </a:lnTo>
                <a:lnTo>
                  <a:pt x="2065332" y="1965456"/>
                </a:lnTo>
                <a:cubicBezTo>
                  <a:pt x="2071119" y="1992674"/>
                  <a:pt x="2075405" y="2031679"/>
                  <a:pt x="2069404" y="2078827"/>
                </a:cubicBezTo>
                <a:lnTo>
                  <a:pt x="2038543" y="2078827"/>
                </a:lnTo>
                <a:lnTo>
                  <a:pt x="2027398" y="2078827"/>
                </a:lnTo>
                <a:lnTo>
                  <a:pt x="1996538" y="2078827"/>
                </a:lnTo>
                <a:cubicBezTo>
                  <a:pt x="1990966" y="2031679"/>
                  <a:pt x="1995467" y="1992674"/>
                  <a:pt x="2001360" y="1965456"/>
                </a:cubicBezTo>
                <a:lnTo>
                  <a:pt x="2008928" y="1938341"/>
                </a:lnTo>
                <a:lnTo>
                  <a:pt x="2005539" y="1936952"/>
                </a:lnTo>
                <a:cubicBezTo>
                  <a:pt x="1998895" y="1930309"/>
                  <a:pt x="1994823" y="1921093"/>
                  <a:pt x="1994823" y="1910806"/>
                </a:cubicBezTo>
                <a:cubicBezTo>
                  <a:pt x="1994823" y="1900519"/>
                  <a:pt x="1998895" y="1891304"/>
                  <a:pt x="2005539" y="1884660"/>
                </a:cubicBezTo>
                <a:lnTo>
                  <a:pt x="2019683" y="1878863"/>
                </a:lnTo>
                <a:lnTo>
                  <a:pt x="2019683" y="1675413"/>
                </a:lnTo>
                <a:lnTo>
                  <a:pt x="1672498" y="1833654"/>
                </a:lnTo>
                <a:lnTo>
                  <a:pt x="1300450" y="1665634"/>
                </a:lnTo>
                <a:close/>
                <a:moveTo>
                  <a:pt x="5080921" y="1438462"/>
                </a:moveTo>
                <a:lnTo>
                  <a:pt x="5143500" y="1438462"/>
                </a:lnTo>
                <a:cubicBezTo>
                  <a:pt x="5151215" y="1438462"/>
                  <a:pt x="5158931" y="1447035"/>
                  <a:pt x="5158931" y="1457322"/>
                </a:cubicBezTo>
                <a:cubicBezTo>
                  <a:pt x="5158931" y="1467609"/>
                  <a:pt x="5152073" y="1476181"/>
                  <a:pt x="5143500" y="1476181"/>
                </a:cubicBezTo>
                <a:lnTo>
                  <a:pt x="5080921" y="1476181"/>
                </a:lnTo>
                <a:cubicBezTo>
                  <a:pt x="5072348" y="1476181"/>
                  <a:pt x="5065490" y="1467609"/>
                  <a:pt x="5065490" y="1457322"/>
                </a:cubicBezTo>
                <a:cubicBezTo>
                  <a:pt x="5065490" y="1447035"/>
                  <a:pt x="5072348" y="1438462"/>
                  <a:pt x="5080921" y="1438462"/>
                </a:cubicBezTo>
                <a:close/>
                <a:moveTo>
                  <a:pt x="2660050" y="1421316"/>
                </a:moveTo>
                <a:cubicBezTo>
                  <a:pt x="2660050" y="1421316"/>
                  <a:pt x="2765491" y="1532758"/>
                  <a:pt x="2760348" y="1591909"/>
                </a:cubicBezTo>
                <a:cubicBezTo>
                  <a:pt x="2755204" y="1651059"/>
                  <a:pt x="2643762" y="1672490"/>
                  <a:pt x="2643762" y="1672490"/>
                </a:cubicBezTo>
                <a:cubicBezTo>
                  <a:pt x="2643762" y="1672490"/>
                  <a:pt x="2795495" y="1672490"/>
                  <a:pt x="2797210" y="1599624"/>
                </a:cubicBezTo>
                <a:cubicBezTo>
                  <a:pt x="2798067" y="1527615"/>
                  <a:pt x="2660050" y="1421316"/>
                  <a:pt x="2660050" y="1421316"/>
                </a:cubicBezTo>
                <a:close/>
                <a:moveTo>
                  <a:pt x="5060347" y="1398171"/>
                </a:moveTo>
                <a:lnTo>
                  <a:pt x="5164075" y="1398171"/>
                </a:lnTo>
                <a:cubicBezTo>
                  <a:pt x="5177791" y="1398171"/>
                  <a:pt x="5189792" y="1406744"/>
                  <a:pt x="5189792" y="1417031"/>
                </a:cubicBezTo>
                <a:cubicBezTo>
                  <a:pt x="5189792" y="1427318"/>
                  <a:pt x="5177791" y="1435890"/>
                  <a:pt x="5164075" y="1435890"/>
                </a:cubicBezTo>
                <a:lnTo>
                  <a:pt x="5060347" y="1435890"/>
                </a:lnTo>
                <a:cubicBezTo>
                  <a:pt x="5045774" y="1435890"/>
                  <a:pt x="5034629" y="1427318"/>
                  <a:pt x="5034629" y="1417031"/>
                </a:cubicBezTo>
                <a:cubicBezTo>
                  <a:pt x="5034629" y="1406744"/>
                  <a:pt x="5046631" y="1398171"/>
                  <a:pt x="5060347" y="1398171"/>
                </a:cubicBezTo>
                <a:close/>
                <a:moveTo>
                  <a:pt x="3397282" y="1360456"/>
                </a:moveTo>
                <a:cubicBezTo>
                  <a:pt x="3336417" y="1360456"/>
                  <a:pt x="3287554" y="1410176"/>
                  <a:pt x="3287554" y="1471897"/>
                </a:cubicBezTo>
                <a:cubicBezTo>
                  <a:pt x="3287554" y="1532763"/>
                  <a:pt x="3336417" y="1582484"/>
                  <a:pt x="3397282" y="1582484"/>
                </a:cubicBezTo>
                <a:cubicBezTo>
                  <a:pt x="3458146" y="1582484"/>
                  <a:pt x="3507010" y="1532763"/>
                  <a:pt x="3507010" y="1471897"/>
                </a:cubicBezTo>
                <a:cubicBezTo>
                  <a:pt x="3507010" y="1410176"/>
                  <a:pt x="3458146" y="1360456"/>
                  <a:pt x="3397282" y="1360456"/>
                </a:cubicBezTo>
                <a:close/>
                <a:moveTo>
                  <a:pt x="5060347" y="1358738"/>
                </a:moveTo>
                <a:lnTo>
                  <a:pt x="5164075" y="1358738"/>
                </a:lnTo>
                <a:cubicBezTo>
                  <a:pt x="5177791" y="1358738"/>
                  <a:pt x="5189792" y="1367311"/>
                  <a:pt x="5189792" y="1377598"/>
                </a:cubicBezTo>
                <a:cubicBezTo>
                  <a:pt x="5189792" y="1387886"/>
                  <a:pt x="5177791" y="1396458"/>
                  <a:pt x="5164075" y="1396458"/>
                </a:cubicBezTo>
                <a:lnTo>
                  <a:pt x="5060347" y="1396458"/>
                </a:lnTo>
                <a:cubicBezTo>
                  <a:pt x="5045774" y="1396458"/>
                  <a:pt x="5034629" y="1387886"/>
                  <a:pt x="5034629" y="1377598"/>
                </a:cubicBezTo>
                <a:cubicBezTo>
                  <a:pt x="5034629" y="1367311"/>
                  <a:pt x="5046631" y="1358738"/>
                  <a:pt x="5060347" y="1358738"/>
                </a:cubicBezTo>
                <a:close/>
                <a:moveTo>
                  <a:pt x="3329559" y="1134999"/>
                </a:moveTo>
                <a:cubicBezTo>
                  <a:pt x="3276409" y="1134999"/>
                  <a:pt x="3233547" y="1178718"/>
                  <a:pt x="3233547" y="1232725"/>
                </a:cubicBezTo>
                <a:cubicBezTo>
                  <a:pt x="3233547" y="1286732"/>
                  <a:pt x="3277267" y="1330451"/>
                  <a:pt x="3329559" y="1330451"/>
                </a:cubicBezTo>
                <a:cubicBezTo>
                  <a:pt x="3382708" y="1330451"/>
                  <a:pt x="3425571" y="1286732"/>
                  <a:pt x="3425571" y="1232725"/>
                </a:cubicBezTo>
                <a:cubicBezTo>
                  <a:pt x="3425571" y="1178718"/>
                  <a:pt x="3382708" y="1134999"/>
                  <a:pt x="3329559" y="1134999"/>
                </a:cubicBezTo>
                <a:close/>
                <a:moveTo>
                  <a:pt x="2545178" y="997834"/>
                </a:moveTo>
                <a:cubicBezTo>
                  <a:pt x="2602614" y="997834"/>
                  <a:pt x="2649763" y="1015837"/>
                  <a:pt x="2649763" y="1038125"/>
                </a:cubicBezTo>
                <a:cubicBezTo>
                  <a:pt x="2649763" y="1038982"/>
                  <a:pt x="2649763" y="1039840"/>
                  <a:pt x="2649763" y="1040697"/>
                </a:cubicBezTo>
                <a:lnTo>
                  <a:pt x="2654049" y="1040697"/>
                </a:lnTo>
                <a:lnTo>
                  <a:pt x="2654049" y="1116135"/>
                </a:lnTo>
                <a:lnTo>
                  <a:pt x="2649763" y="1116135"/>
                </a:lnTo>
                <a:cubicBezTo>
                  <a:pt x="2648905" y="1124707"/>
                  <a:pt x="2643762" y="1132423"/>
                  <a:pt x="2632618" y="1138423"/>
                </a:cubicBezTo>
                <a:cubicBezTo>
                  <a:pt x="2632618" y="1174428"/>
                  <a:pt x="2632618" y="1282441"/>
                  <a:pt x="2632618" y="1309873"/>
                </a:cubicBezTo>
                <a:cubicBezTo>
                  <a:pt x="2632618" y="1343306"/>
                  <a:pt x="2648905" y="1351879"/>
                  <a:pt x="2648905" y="1351879"/>
                </a:cubicBezTo>
                <a:cubicBezTo>
                  <a:pt x="2688339" y="1374167"/>
                  <a:pt x="2910367" y="1601338"/>
                  <a:pt x="2810926" y="1669918"/>
                </a:cubicBezTo>
                <a:cubicBezTo>
                  <a:pt x="2722629" y="1731640"/>
                  <a:pt x="2575182" y="1729069"/>
                  <a:pt x="2546035" y="1728211"/>
                </a:cubicBezTo>
                <a:cubicBezTo>
                  <a:pt x="2516889" y="1729069"/>
                  <a:pt x="2368584" y="1731640"/>
                  <a:pt x="2281144" y="1669918"/>
                </a:cubicBezTo>
                <a:cubicBezTo>
                  <a:pt x="2183418" y="1601338"/>
                  <a:pt x="2408875" y="1375024"/>
                  <a:pt x="2447452" y="1351879"/>
                </a:cubicBezTo>
                <a:cubicBezTo>
                  <a:pt x="2447452" y="1351879"/>
                  <a:pt x="2470597" y="1343306"/>
                  <a:pt x="2470597" y="1309873"/>
                </a:cubicBezTo>
                <a:cubicBezTo>
                  <a:pt x="2470597" y="1282441"/>
                  <a:pt x="2470597" y="1176142"/>
                  <a:pt x="2470597" y="1139281"/>
                </a:cubicBezTo>
                <a:cubicBezTo>
                  <a:pt x="2449166" y="1133280"/>
                  <a:pt x="2442308" y="1124707"/>
                  <a:pt x="2440594" y="1116135"/>
                </a:cubicBezTo>
                <a:lnTo>
                  <a:pt x="2438022" y="1116135"/>
                </a:lnTo>
                <a:lnTo>
                  <a:pt x="2438022" y="1040697"/>
                </a:lnTo>
                <a:lnTo>
                  <a:pt x="2440594" y="1040697"/>
                </a:lnTo>
                <a:cubicBezTo>
                  <a:pt x="2440594" y="1039840"/>
                  <a:pt x="2440594" y="1038982"/>
                  <a:pt x="2440594" y="1038125"/>
                </a:cubicBezTo>
                <a:cubicBezTo>
                  <a:pt x="2440594" y="1015837"/>
                  <a:pt x="2487742" y="997834"/>
                  <a:pt x="2545178" y="997834"/>
                </a:cubicBezTo>
                <a:close/>
                <a:moveTo>
                  <a:pt x="1963962" y="956688"/>
                </a:moveTo>
                <a:lnTo>
                  <a:pt x="2026541" y="956688"/>
                </a:lnTo>
                <a:cubicBezTo>
                  <a:pt x="2035113" y="956688"/>
                  <a:pt x="2042829" y="964404"/>
                  <a:pt x="2042829" y="975549"/>
                </a:cubicBezTo>
                <a:cubicBezTo>
                  <a:pt x="2042829" y="985836"/>
                  <a:pt x="2035971" y="994408"/>
                  <a:pt x="2027398" y="994408"/>
                </a:cubicBezTo>
                <a:lnTo>
                  <a:pt x="1963962" y="994408"/>
                </a:lnTo>
                <a:cubicBezTo>
                  <a:pt x="1955389" y="994408"/>
                  <a:pt x="1948531" y="985836"/>
                  <a:pt x="1948531" y="975549"/>
                </a:cubicBezTo>
                <a:cubicBezTo>
                  <a:pt x="1948531" y="965262"/>
                  <a:pt x="1955389" y="956688"/>
                  <a:pt x="1963962" y="956688"/>
                </a:cubicBezTo>
                <a:close/>
                <a:moveTo>
                  <a:pt x="3402425" y="943831"/>
                </a:moveTo>
                <a:cubicBezTo>
                  <a:pt x="3362134" y="943831"/>
                  <a:pt x="3329559" y="976409"/>
                  <a:pt x="3330416" y="1016699"/>
                </a:cubicBezTo>
                <a:cubicBezTo>
                  <a:pt x="3330416" y="1056989"/>
                  <a:pt x="3362134" y="1089565"/>
                  <a:pt x="3402425" y="1089565"/>
                </a:cubicBezTo>
                <a:cubicBezTo>
                  <a:pt x="3441859" y="1089565"/>
                  <a:pt x="3474434" y="1056989"/>
                  <a:pt x="3474434" y="1016699"/>
                </a:cubicBezTo>
                <a:cubicBezTo>
                  <a:pt x="3474434" y="976409"/>
                  <a:pt x="3442716" y="943831"/>
                  <a:pt x="3402425" y="943831"/>
                </a:cubicBezTo>
                <a:close/>
                <a:moveTo>
                  <a:pt x="4083082" y="928402"/>
                </a:moveTo>
                <a:cubicBezTo>
                  <a:pt x="4003358" y="928402"/>
                  <a:pt x="3939064" y="992696"/>
                  <a:pt x="3939064" y="1072419"/>
                </a:cubicBezTo>
                <a:cubicBezTo>
                  <a:pt x="3939064" y="1152143"/>
                  <a:pt x="4003358" y="1216437"/>
                  <a:pt x="4083082" y="1216437"/>
                </a:cubicBezTo>
                <a:cubicBezTo>
                  <a:pt x="4162806" y="1216437"/>
                  <a:pt x="4227100" y="1152143"/>
                  <a:pt x="4227100" y="1072419"/>
                </a:cubicBezTo>
                <a:cubicBezTo>
                  <a:pt x="4227100" y="992696"/>
                  <a:pt x="4162806" y="928402"/>
                  <a:pt x="4083082" y="928402"/>
                </a:cubicBezTo>
                <a:close/>
                <a:moveTo>
                  <a:pt x="1944245" y="916397"/>
                </a:moveTo>
                <a:lnTo>
                  <a:pt x="2047973" y="916397"/>
                </a:lnTo>
                <a:cubicBezTo>
                  <a:pt x="2061689" y="916397"/>
                  <a:pt x="2073690" y="924971"/>
                  <a:pt x="2073690" y="935258"/>
                </a:cubicBezTo>
                <a:cubicBezTo>
                  <a:pt x="2073690" y="945545"/>
                  <a:pt x="2061689" y="954117"/>
                  <a:pt x="2047973" y="954117"/>
                </a:cubicBezTo>
                <a:lnTo>
                  <a:pt x="1944245" y="954117"/>
                </a:lnTo>
                <a:cubicBezTo>
                  <a:pt x="1929672" y="954117"/>
                  <a:pt x="1918527" y="945545"/>
                  <a:pt x="1918527" y="935258"/>
                </a:cubicBezTo>
                <a:cubicBezTo>
                  <a:pt x="1918527" y="924971"/>
                  <a:pt x="1930529" y="916397"/>
                  <a:pt x="1944245" y="916397"/>
                </a:cubicBezTo>
                <a:close/>
                <a:moveTo>
                  <a:pt x="1944245" y="876106"/>
                </a:moveTo>
                <a:lnTo>
                  <a:pt x="2047973" y="876106"/>
                </a:lnTo>
                <a:cubicBezTo>
                  <a:pt x="2061689" y="876106"/>
                  <a:pt x="2073690" y="884680"/>
                  <a:pt x="2073690" y="894967"/>
                </a:cubicBezTo>
                <a:cubicBezTo>
                  <a:pt x="2073690" y="905254"/>
                  <a:pt x="2061689" y="913826"/>
                  <a:pt x="2047973" y="913826"/>
                </a:cubicBezTo>
                <a:lnTo>
                  <a:pt x="1944245" y="913826"/>
                </a:lnTo>
                <a:cubicBezTo>
                  <a:pt x="1929672" y="913826"/>
                  <a:pt x="1918527" y="905254"/>
                  <a:pt x="1918527" y="894967"/>
                </a:cubicBezTo>
                <a:cubicBezTo>
                  <a:pt x="1918527" y="884680"/>
                  <a:pt x="1930529" y="876106"/>
                  <a:pt x="1944245" y="876106"/>
                </a:cubicBezTo>
                <a:close/>
                <a:moveTo>
                  <a:pt x="5177790" y="825530"/>
                </a:moveTo>
                <a:cubicBezTo>
                  <a:pt x="5177790" y="825530"/>
                  <a:pt x="5326951" y="909539"/>
                  <a:pt x="5272088" y="1060415"/>
                </a:cubicBezTo>
                <a:cubicBezTo>
                  <a:pt x="5272088" y="1060415"/>
                  <a:pt x="5399818" y="860676"/>
                  <a:pt x="5177790" y="825530"/>
                </a:cubicBezTo>
                <a:close/>
                <a:moveTo>
                  <a:pt x="5101495" y="760378"/>
                </a:moveTo>
                <a:cubicBezTo>
                  <a:pt x="5104710" y="760378"/>
                  <a:pt x="5106531" y="760378"/>
                  <a:pt x="5107496" y="760378"/>
                </a:cubicBezTo>
                <a:lnTo>
                  <a:pt x="5108353" y="760378"/>
                </a:lnTo>
                <a:lnTo>
                  <a:pt x="5114354" y="760378"/>
                </a:lnTo>
                <a:cubicBezTo>
                  <a:pt x="5439252" y="768951"/>
                  <a:pt x="5363813" y="1091277"/>
                  <a:pt x="5275516" y="1171000"/>
                </a:cubicBezTo>
                <a:cubicBezTo>
                  <a:pt x="5185505" y="1250725"/>
                  <a:pt x="5192363" y="1351880"/>
                  <a:pt x="5192363" y="1351880"/>
                </a:cubicBezTo>
                <a:lnTo>
                  <a:pt x="5120354" y="1351880"/>
                </a:lnTo>
                <a:lnTo>
                  <a:pt x="5107496" y="1351880"/>
                </a:lnTo>
                <a:lnTo>
                  <a:pt x="5029486" y="1351880"/>
                </a:lnTo>
                <a:cubicBezTo>
                  <a:pt x="5029486" y="1351880"/>
                  <a:pt x="5032915" y="1251583"/>
                  <a:pt x="4943761" y="1171000"/>
                </a:cubicBezTo>
                <a:cubicBezTo>
                  <a:pt x="4855464" y="1091277"/>
                  <a:pt x="4776597" y="768951"/>
                  <a:pt x="5101495" y="760378"/>
                </a:cubicBezTo>
                <a:close/>
                <a:moveTo>
                  <a:pt x="3975068" y="748379"/>
                </a:moveTo>
                <a:cubicBezTo>
                  <a:pt x="3975068" y="748379"/>
                  <a:pt x="4251103" y="775810"/>
                  <a:pt x="4329113" y="991837"/>
                </a:cubicBezTo>
                <a:cubicBezTo>
                  <a:pt x="4407122" y="1207864"/>
                  <a:pt x="4227100" y="1303876"/>
                  <a:pt x="4023074" y="1384458"/>
                </a:cubicBezTo>
                <a:cubicBezTo>
                  <a:pt x="3818191" y="1465899"/>
                  <a:pt x="3867055" y="1849944"/>
                  <a:pt x="3545586" y="1825939"/>
                </a:cubicBezTo>
                <a:cubicBezTo>
                  <a:pt x="3224974" y="1801937"/>
                  <a:pt x="2732913" y="766380"/>
                  <a:pt x="3975068" y="748379"/>
                </a:cubicBezTo>
                <a:close/>
                <a:moveTo>
                  <a:pt x="912543" y="703049"/>
                </a:moveTo>
                <a:cubicBezTo>
                  <a:pt x="916186" y="704227"/>
                  <a:pt x="919401" y="706799"/>
                  <a:pt x="921544" y="710657"/>
                </a:cubicBezTo>
                <a:lnTo>
                  <a:pt x="942953" y="752806"/>
                </a:lnTo>
                <a:lnTo>
                  <a:pt x="953423" y="749943"/>
                </a:lnTo>
                <a:cubicBezTo>
                  <a:pt x="985731" y="747733"/>
                  <a:pt x="1017557" y="764449"/>
                  <a:pt x="1032987" y="794666"/>
                </a:cubicBezTo>
                <a:cubicBezTo>
                  <a:pt x="1040703" y="810097"/>
                  <a:pt x="1043234" y="826733"/>
                  <a:pt x="1041260" y="842585"/>
                </a:cubicBezTo>
                <a:lnTo>
                  <a:pt x="1028104" y="872891"/>
                </a:lnTo>
                <a:lnTo>
                  <a:pt x="1072875" y="914092"/>
                </a:lnTo>
                <a:cubicBezTo>
                  <a:pt x="1192382" y="1024195"/>
                  <a:pt x="1430752" y="1244724"/>
                  <a:pt x="1425608" y="1247295"/>
                </a:cubicBezTo>
                <a:cubicBezTo>
                  <a:pt x="1418750" y="1250724"/>
                  <a:pt x="1321023" y="1216434"/>
                  <a:pt x="1321023" y="1216434"/>
                </a:cubicBezTo>
                <a:cubicBezTo>
                  <a:pt x="1321023" y="1216434"/>
                  <a:pt x="1119944" y="1035608"/>
                  <a:pt x="1018681" y="943748"/>
                </a:cubicBezTo>
                <a:lnTo>
                  <a:pt x="1011064" y="936811"/>
                </a:lnTo>
                <a:lnTo>
                  <a:pt x="1026129" y="1357885"/>
                </a:lnTo>
                <a:lnTo>
                  <a:pt x="993553" y="1456468"/>
                </a:lnTo>
                <a:lnTo>
                  <a:pt x="966978" y="1357028"/>
                </a:lnTo>
                <a:lnTo>
                  <a:pt x="946039" y="912474"/>
                </a:lnTo>
                <a:lnTo>
                  <a:pt x="933546" y="910931"/>
                </a:lnTo>
                <a:cubicBezTo>
                  <a:pt x="913401" y="904395"/>
                  <a:pt x="895827" y="890250"/>
                  <a:pt x="885540" y="870104"/>
                </a:cubicBezTo>
                <a:cubicBezTo>
                  <a:pt x="870110" y="839243"/>
                  <a:pt x="875414" y="803561"/>
                  <a:pt x="896028" y="778968"/>
                </a:cubicBezTo>
                <a:lnTo>
                  <a:pt x="914412" y="764338"/>
                </a:lnTo>
                <a:lnTo>
                  <a:pt x="894112" y="724373"/>
                </a:lnTo>
                <a:cubicBezTo>
                  <a:pt x="890683" y="716657"/>
                  <a:pt x="893254" y="708085"/>
                  <a:pt x="900970" y="703799"/>
                </a:cubicBezTo>
                <a:cubicBezTo>
                  <a:pt x="904828" y="702085"/>
                  <a:pt x="908900" y="701870"/>
                  <a:pt x="912543" y="703049"/>
                </a:cubicBezTo>
                <a:close/>
                <a:moveTo>
                  <a:pt x="2061687" y="342898"/>
                </a:moveTo>
                <a:cubicBezTo>
                  <a:pt x="2061687" y="342898"/>
                  <a:pt x="2210848" y="426910"/>
                  <a:pt x="2155984" y="577785"/>
                </a:cubicBezTo>
                <a:cubicBezTo>
                  <a:pt x="2155984" y="577785"/>
                  <a:pt x="2283715" y="378904"/>
                  <a:pt x="2061687" y="342898"/>
                </a:cubicBezTo>
                <a:close/>
                <a:moveTo>
                  <a:pt x="1985392" y="278605"/>
                </a:moveTo>
                <a:lnTo>
                  <a:pt x="1991393" y="278605"/>
                </a:lnTo>
                <a:lnTo>
                  <a:pt x="1992250" y="278605"/>
                </a:lnTo>
                <a:lnTo>
                  <a:pt x="1998250" y="278605"/>
                </a:lnTo>
                <a:cubicBezTo>
                  <a:pt x="2323148" y="287178"/>
                  <a:pt x="2247710" y="609504"/>
                  <a:pt x="2159413" y="689228"/>
                </a:cubicBezTo>
                <a:cubicBezTo>
                  <a:pt x="2069402" y="768953"/>
                  <a:pt x="2076260" y="870108"/>
                  <a:pt x="2076260" y="870108"/>
                </a:cubicBezTo>
                <a:lnTo>
                  <a:pt x="2004251" y="870108"/>
                </a:lnTo>
                <a:lnTo>
                  <a:pt x="1991393" y="870108"/>
                </a:lnTo>
                <a:lnTo>
                  <a:pt x="1913383" y="870108"/>
                </a:lnTo>
                <a:cubicBezTo>
                  <a:pt x="1913383" y="870108"/>
                  <a:pt x="1916812" y="769810"/>
                  <a:pt x="1827658" y="689228"/>
                </a:cubicBezTo>
                <a:cubicBezTo>
                  <a:pt x="1739361" y="609504"/>
                  <a:pt x="1660494" y="287178"/>
                  <a:pt x="1985392" y="278605"/>
                </a:cubicBezTo>
                <a:close/>
                <a:moveTo>
                  <a:pt x="2776633" y="269173"/>
                </a:moveTo>
                <a:cubicBezTo>
                  <a:pt x="2776633" y="270888"/>
                  <a:pt x="2959228" y="355756"/>
                  <a:pt x="2994375" y="372043"/>
                </a:cubicBezTo>
                <a:cubicBezTo>
                  <a:pt x="3029522" y="355756"/>
                  <a:pt x="3212117" y="270888"/>
                  <a:pt x="3212117" y="269173"/>
                </a:cubicBezTo>
                <a:lnTo>
                  <a:pt x="3212117" y="519491"/>
                </a:lnTo>
                <a:cubicBezTo>
                  <a:pt x="3152966" y="581213"/>
                  <a:pt x="3037238" y="591500"/>
                  <a:pt x="3000376" y="593215"/>
                </a:cubicBezTo>
                <a:cubicBezTo>
                  <a:pt x="3000376" y="593215"/>
                  <a:pt x="2997804" y="593215"/>
                  <a:pt x="2994375" y="593215"/>
                </a:cubicBezTo>
                <a:cubicBezTo>
                  <a:pt x="2990089" y="593215"/>
                  <a:pt x="2988374" y="593215"/>
                  <a:pt x="2988374" y="593215"/>
                </a:cubicBezTo>
                <a:cubicBezTo>
                  <a:pt x="2951513" y="592358"/>
                  <a:pt x="2835784" y="582071"/>
                  <a:pt x="2776633" y="519491"/>
                </a:cubicBezTo>
                <a:close/>
                <a:moveTo>
                  <a:pt x="4064357" y="122787"/>
                </a:moveTo>
                <a:cubicBezTo>
                  <a:pt x="4089994" y="126765"/>
                  <a:pt x="4114801" y="137373"/>
                  <a:pt x="4135375" y="158590"/>
                </a:cubicBezTo>
                <a:lnTo>
                  <a:pt x="4367690" y="158590"/>
                </a:lnTo>
                <a:lnTo>
                  <a:pt x="4367690" y="498920"/>
                </a:lnTo>
                <a:lnTo>
                  <a:pt x="4130231" y="500634"/>
                </a:lnTo>
                <a:cubicBezTo>
                  <a:pt x="4130231" y="500634"/>
                  <a:pt x="4050506" y="420052"/>
                  <a:pt x="3903059" y="497205"/>
                </a:cubicBezTo>
                <a:lnTo>
                  <a:pt x="3903059" y="158590"/>
                </a:lnTo>
                <a:cubicBezTo>
                  <a:pt x="3903059" y="158590"/>
                  <a:pt x="3987445" y="110852"/>
                  <a:pt x="4064357" y="122787"/>
                </a:cubicBezTo>
                <a:close/>
                <a:moveTo>
                  <a:pt x="3009805" y="0"/>
                </a:moveTo>
                <a:lnTo>
                  <a:pt x="3364979" y="158588"/>
                </a:lnTo>
                <a:lnTo>
                  <a:pt x="3370707" y="158588"/>
                </a:lnTo>
                <a:lnTo>
                  <a:pt x="3370707" y="161146"/>
                </a:lnTo>
                <a:lnTo>
                  <a:pt x="3378423" y="164591"/>
                </a:lnTo>
                <a:lnTo>
                  <a:pt x="3370707" y="168108"/>
                </a:lnTo>
                <a:lnTo>
                  <a:pt x="3370707" y="381755"/>
                </a:lnTo>
                <a:lnTo>
                  <a:pt x="3385709" y="387903"/>
                </a:lnTo>
                <a:cubicBezTo>
                  <a:pt x="3392353" y="394547"/>
                  <a:pt x="3396425" y="403762"/>
                  <a:pt x="3396425" y="414049"/>
                </a:cubicBezTo>
                <a:cubicBezTo>
                  <a:pt x="3396425" y="424336"/>
                  <a:pt x="3392139" y="433766"/>
                  <a:pt x="3385388" y="440517"/>
                </a:cubicBezTo>
                <a:lnTo>
                  <a:pt x="3384653" y="440813"/>
                </a:lnTo>
                <a:lnTo>
                  <a:pt x="3392352" y="468698"/>
                </a:lnTo>
                <a:cubicBezTo>
                  <a:pt x="3398139" y="495916"/>
                  <a:pt x="3402425" y="534921"/>
                  <a:pt x="3396424" y="582069"/>
                </a:cubicBezTo>
                <a:lnTo>
                  <a:pt x="3366421" y="582069"/>
                </a:lnTo>
                <a:lnTo>
                  <a:pt x="3324416" y="582069"/>
                </a:lnTo>
                <a:cubicBezTo>
                  <a:pt x="3318844" y="534921"/>
                  <a:pt x="3323345" y="495916"/>
                  <a:pt x="3329238" y="468698"/>
                </a:cubicBezTo>
                <a:lnTo>
                  <a:pt x="3336806" y="441584"/>
                </a:lnTo>
                <a:lnTo>
                  <a:pt x="3333417" y="440196"/>
                </a:lnTo>
                <a:cubicBezTo>
                  <a:pt x="3326773" y="433552"/>
                  <a:pt x="3322701" y="424336"/>
                  <a:pt x="3322701" y="414049"/>
                </a:cubicBezTo>
                <a:cubicBezTo>
                  <a:pt x="3322701" y="403762"/>
                  <a:pt x="3326773" y="394547"/>
                  <a:pt x="3333417" y="387903"/>
                </a:cubicBezTo>
                <a:lnTo>
                  <a:pt x="3347562" y="382106"/>
                </a:lnTo>
                <a:lnTo>
                  <a:pt x="3347562" y="178657"/>
                </a:lnTo>
                <a:lnTo>
                  <a:pt x="3000375" y="336899"/>
                </a:lnTo>
                <a:lnTo>
                  <a:pt x="2628328" y="168878"/>
                </a:lnTo>
                <a:close/>
              </a:path>
            </a:pathLst>
          </a:custGeom>
          <a:solidFill>
            <a:srgbClr val="FFFFFF">
              <a:alpha val="12000"/>
            </a:srgbClr>
          </a:solidFill>
          <a:ln w="9525" cap="flat">
            <a:noFill/>
            <a:prstDash val="solid"/>
            <a:miter/>
          </a:ln>
        </p:spPr>
        <p:txBody>
          <a:bodyPr rtlCol="0" anchor="ctr"/>
          <a:lstStyle/>
          <a:p>
            <a:endParaRPr lang="zh-CN" altLang="en-US"/>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9/12/1</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1"/>
        </a:solidFill>
        <a:effectLst/>
      </p:bgPr>
    </p:bg>
    <p:spTree>
      <p:nvGrpSpPr>
        <p:cNvPr id="1" name=""/>
        <p:cNvGrpSpPr/>
        <p:nvPr/>
      </p:nvGrpSpPr>
      <p:grpSpPr>
        <a:xfrm>
          <a:off x="0" y="0"/>
          <a:ext cx="0" cy="0"/>
          <a:chOff x="0" y="0"/>
          <a:chExt cx="0" cy="0"/>
        </a:xfrm>
      </p:grpSpPr>
      <p:sp>
        <p:nvSpPr>
          <p:cNvPr id="15" name="文本占位符 62"/>
          <p:cNvSpPr>
            <a:spLocks noGrp="1"/>
          </p:cNvSpPr>
          <p:nvPr userDrawn="1">
            <p:ph type="body" sz="quarter" idx="18" hasCustomPrompt="1"/>
          </p:nvPr>
        </p:nvSpPr>
        <p:spPr>
          <a:xfrm>
            <a:off x="1075108" y="4335894"/>
            <a:ext cx="5297882"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1075108" y="4039623"/>
            <a:ext cx="5297882" cy="296271"/>
          </a:xfrm>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标题 1"/>
          <p:cNvSpPr>
            <a:spLocks noGrp="1"/>
          </p:cNvSpPr>
          <p:nvPr userDrawn="1">
            <p:ph type="ctrTitle" hasCustomPrompt="1"/>
          </p:nvPr>
        </p:nvSpPr>
        <p:spPr>
          <a:xfrm>
            <a:off x="1075108" y="1731110"/>
            <a:ext cx="5297882" cy="1964539"/>
          </a:xfrm>
        </p:spPr>
        <p:txBody>
          <a:bodyPr anchor="b">
            <a:normAutofit/>
          </a:bodyPr>
          <a:lstStyle>
            <a:lvl1pPr marL="0" indent="0" algn="l">
              <a:buFont typeface="Arial" panose="020B0604020202020204" pitchFamily="34" charset="0"/>
              <a:buNone/>
              <a:defRPr sz="3600">
                <a:solidFill>
                  <a:schemeClr val="bg1"/>
                </a:solidFill>
              </a:defRPr>
            </a:lvl1pPr>
          </a:lstStyle>
          <a:p>
            <a:r>
              <a:rPr lang="en-US" altLang="zh-CN" dirty="0"/>
              <a:t>Conclusion</a:t>
            </a:r>
            <a:endParaRPr lang="zh-CN" altLang="en-US" dirty="0"/>
          </a:p>
        </p:txBody>
      </p:sp>
      <p:sp>
        <p:nvSpPr>
          <p:cNvPr id="112" name="等腰三角形 111">
            <a:extLst>
              <a:ext uri="{FF2B5EF4-FFF2-40B4-BE49-F238E27FC236}">
                <a16:creationId xmlns:a16="http://schemas.microsoft.com/office/drawing/2014/main" id="{93CC53EE-C98B-4863-A1D7-D48CF8734DD3}"/>
              </a:ext>
            </a:extLst>
          </p:cNvPr>
          <p:cNvSpPr/>
          <p:nvPr userDrawn="1"/>
        </p:nvSpPr>
        <p:spPr>
          <a:xfrm>
            <a:off x="10237425" y="5622437"/>
            <a:ext cx="1281475" cy="1235563"/>
          </a:xfrm>
          <a:prstGeom prst="triangle">
            <a:avLst/>
          </a:prstGeom>
          <a:gradFill>
            <a:gsLst>
              <a:gs pos="100000">
                <a:schemeClr val="accent1">
                  <a:lumMod val="5000"/>
                  <a:lumOff val="95000"/>
                  <a:alpha val="0"/>
                </a:schemeClr>
              </a:gs>
              <a:gs pos="19000">
                <a:srgbClr val="00FCD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 name="任意多边形: 形状 112">
            <a:extLst>
              <a:ext uri="{FF2B5EF4-FFF2-40B4-BE49-F238E27FC236}">
                <a16:creationId xmlns:a16="http://schemas.microsoft.com/office/drawing/2014/main" id="{61C9C3C4-A350-408F-B42B-F3842B392FE5}"/>
              </a:ext>
            </a:extLst>
          </p:cNvPr>
          <p:cNvSpPr/>
          <p:nvPr userDrawn="1"/>
        </p:nvSpPr>
        <p:spPr>
          <a:xfrm>
            <a:off x="5374161" y="584252"/>
            <a:ext cx="6003949" cy="5578494"/>
          </a:xfrm>
          <a:custGeom>
            <a:avLst/>
            <a:gdLst>
              <a:gd name="connsiteX0" fmla="*/ 3807697 w 6251734"/>
              <a:gd name="connsiteY0" fmla="*/ 5598000 h 5808721"/>
              <a:gd name="connsiteX1" fmla="*/ 3792649 w 6251734"/>
              <a:gd name="connsiteY1" fmla="*/ 5610966 h 5808721"/>
              <a:gd name="connsiteX2" fmla="*/ 3724407 w 6251734"/>
              <a:gd name="connsiteY2" fmla="*/ 5654281 h 5808721"/>
              <a:gd name="connsiteX3" fmla="*/ 3737518 w 6251734"/>
              <a:gd name="connsiteY3" fmla="*/ 5683584 h 5808721"/>
              <a:gd name="connsiteX4" fmla="*/ 3807904 w 6251734"/>
              <a:gd name="connsiteY4" fmla="*/ 5741855 h 5808721"/>
              <a:gd name="connsiteX5" fmla="*/ 3878291 w 6251734"/>
              <a:gd name="connsiteY5" fmla="*/ 5683584 h 5808721"/>
              <a:gd name="connsiteX6" fmla="*/ 3891370 w 6251734"/>
              <a:gd name="connsiteY6" fmla="*/ 5654352 h 5808721"/>
              <a:gd name="connsiteX7" fmla="*/ 3821929 w 6251734"/>
              <a:gd name="connsiteY7" fmla="*/ 5610228 h 5808721"/>
              <a:gd name="connsiteX8" fmla="*/ 3827101 w 6251734"/>
              <a:gd name="connsiteY8" fmla="*/ 5549255 h 5808721"/>
              <a:gd name="connsiteX9" fmla="*/ 3807904 w 6251734"/>
              <a:gd name="connsiteY9" fmla="*/ 5550689 h 5808721"/>
              <a:gd name="connsiteX10" fmla="*/ 3788212 w 6251734"/>
              <a:gd name="connsiteY10" fmla="*/ 5549599 h 5808721"/>
              <a:gd name="connsiteX11" fmla="*/ 3807470 w 6251734"/>
              <a:gd name="connsiteY11" fmla="*/ 5566172 h 5808721"/>
              <a:gd name="connsiteX12" fmla="*/ 3694058 w 6251734"/>
              <a:gd name="connsiteY12" fmla="*/ 5544387 h 5808721"/>
              <a:gd name="connsiteX13" fmla="*/ 3703452 w 6251734"/>
              <a:gd name="connsiteY13" fmla="*/ 5591293 h 5808721"/>
              <a:gd name="connsiteX14" fmla="*/ 3714172 w 6251734"/>
              <a:gd name="connsiteY14" fmla="*/ 5626491 h 5808721"/>
              <a:gd name="connsiteX15" fmla="*/ 3722717 w 6251734"/>
              <a:gd name="connsiteY15" fmla="*/ 5622628 h 5808721"/>
              <a:gd name="connsiteX16" fmla="*/ 3788068 w 6251734"/>
              <a:gd name="connsiteY16" fmla="*/ 5581136 h 5808721"/>
              <a:gd name="connsiteX17" fmla="*/ 3748826 w 6251734"/>
              <a:gd name="connsiteY17" fmla="*/ 5547419 h 5808721"/>
              <a:gd name="connsiteX18" fmla="*/ 3922198 w 6251734"/>
              <a:gd name="connsiteY18" fmla="*/ 5542152 h 5808721"/>
              <a:gd name="connsiteX19" fmla="*/ 3867799 w 6251734"/>
              <a:gd name="connsiteY19" fmla="*/ 5546215 h 5808721"/>
              <a:gd name="connsiteX20" fmla="*/ 3827145 w 6251734"/>
              <a:gd name="connsiteY20" fmla="*/ 5581244 h 5808721"/>
              <a:gd name="connsiteX21" fmla="*/ 3901775 w 6251734"/>
              <a:gd name="connsiteY21" fmla="*/ 5626039 h 5808721"/>
              <a:gd name="connsiteX22" fmla="*/ 3912357 w 6251734"/>
              <a:gd name="connsiteY22" fmla="*/ 5591293 h 5808721"/>
              <a:gd name="connsiteX23" fmla="*/ 3568695 w 6251734"/>
              <a:gd name="connsiteY23" fmla="*/ 5521810 h 5808721"/>
              <a:gd name="connsiteX24" fmla="*/ 3557706 w 6251734"/>
              <a:gd name="connsiteY24" fmla="*/ 5550648 h 5808721"/>
              <a:gd name="connsiteX25" fmla="*/ 3566160 w 6251734"/>
              <a:gd name="connsiteY25" fmla="*/ 5641559 h 5808721"/>
              <a:gd name="connsiteX26" fmla="*/ 3672538 w 6251734"/>
              <a:gd name="connsiteY26" fmla="*/ 5645312 h 5808721"/>
              <a:gd name="connsiteX27" fmla="*/ 3686711 w 6251734"/>
              <a:gd name="connsiteY27" fmla="*/ 5638905 h 5808721"/>
              <a:gd name="connsiteX28" fmla="*/ 3683653 w 6251734"/>
              <a:gd name="connsiteY28" fmla="*/ 5628857 h 5808721"/>
              <a:gd name="connsiteX29" fmla="*/ 3669753 w 6251734"/>
              <a:gd name="connsiteY29" fmla="*/ 5559542 h 5808721"/>
              <a:gd name="connsiteX30" fmla="*/ 3668350 w 6251734"/>
              <a:gd name="connsiteY30" fmla="*/ 5540767 h 5808721"/>
              <a:gd name="connsiteX31" fmla="*/ 3579717 w 6251734"/>
              <a:gd name="connsiteY31" fmla="*/ 5525147 h 5808721"/>
              <a:gd name="connsiteX32" fmla="*/ 4046585 w 6251734"/>
              <a:gd name="connsiteY32" fmla="*/ 5520939 h 5808721"/>
              <a:gd name="connsiteX33" fmla="*/ 3966777 w 6251734"/>
              <a:gd name="connsiteY33" fmla="*/ 5538822 h 5808721"/>
              <a:gd name="connsiteX34" fmla="*/ 3947602 w 6251734"/>
              <a:gd name="connsiteY34" fmla="*/ 5540254 h 5808721"/>
              <a:gd name="connsiteX35" fmla="*/ 3946176 w 6251734"/>
              <a:gd name="connsiteY35" fmla="*/ 5559542 h 5808721"/>
              <a:gd name="connsiteX36" fmla="*/ 3932381 w 6251734"/>
              <a:gd name="connsiteY36" fmla="*/ 5628857 h 5808721"/>
              <a:gd name="connsiteX37" fmla="*/ 3929132 w 6251734"/>
              <a:gd name="connsiteY37" fmla="*/ 5639587 h 5808721"/>
              <a:gd name="connsiteX38" fmla="*/ 3958740 w 6251734"/>
              <a:gd name="connsiteY38" fmla="*/ 5650869 h 5808721"/>
              <a:gd name="connsiteX39" fmla="*/ 4049650 w 6251734"/>
              <a:gd name="connsiteY39" fmla="*/ 5642415 h 5808721"/>
              <a:gd name="connsiteX40" fmla="*/ 4058104 w 6251734"/>
              <a:gd name="connsiteY40" fmla="*/ 5551128 h 5808721"/>
              <a:gd name="connsiteX41" fmla="*/ 3688846 w 6251734"/>
              <a:gd name="connsiteY41" fmla="*/ 5493292 h 5808721"/>
              <a:gd name="connsiteX42" fmla="*/ 3690677 w 6251734"/>
              <a:gd name="connsiteY42" fmla="*/ 5517905 h 5808721"/>
              <a:gd name="connsiteX43" fmla="*/ 3706306 w 6251734"/>
              <a:gd name="connsiteY43" fmla="*/ 5520689 h 5808721"/>
              <a:gd name="connsiteX44" fmla="*/ 3718556 w 6251734"/>
              <a:gd name="connsiteY44" fmla="*/ 5521412 h 5808721"/>
              <a:gd name="connsiteX45" fmla="*/ 3700748 w 6251734"/>
              <a:gd name="connsiteY45" fmla="*/ 5506112 h 5808721"/>
              <a:gd name="connsiteX46" fmla="*/ 3927084 w 6251734"/>
              <a:gd name="connsiteY46" fmla="*/ 5491676 h 5808721"/>
              <a:gd name="connsiteX47" fmla="*/ 3913348 w 6251734"/>
              <a:gd name="connsiteY47" fmla="*/ 5506970 h 5808721"/>
              <a:gd name="connsiteX48" fmla="*/ 3898270 w 6251734"/>
              <a:gd name="connsiteY48" fmla="*/ 5519961 h 5808721"/>
              <a:gd name="connsiteX49" fmla="*/ 3925127 w 6251734"/>
              <a:gd name="connsiteY49" fmla="*/ 5517962 h 5808721"/>
              <a:gd name="connsiteX50" fmla="*/ 2666906 w 6251734"/>
              <a:gd name="connsiteY50" fmla="*/ 5428104 h 5808721"/>
              <a:gd name="connsiteX51" fmla="*/ 2906936 w 6251734"/>
              <a:gd name="connsiteY51" fmla="*/ 5566121 h 5808721"/>
              <a:gd name="connsiteX52" fmla="*/ 2986661 w 6251734"/>
              <a:gd name="connsiteY52" fmla="*/ 5428961 h 5808721"/>
              <a:gd name="connsiteX53" fmla="*/ 2421698 w 6251734"/>
              <a:gd name="connsiteY53" fmla="*/ 5427947 h 5808721"/>
              <a:gd name="connsiteX54" fmla="*/ 2911499 w 6251734"/>
              <a:gd name="connsiteY54" fmla="*/ 5711122 h 5808721"/>
              <a:gd name="connsiteX55" fmla="*/ 2873313 w 6251734"/>
              <a:gd name="connsiteY55" fmla="*/ 5777171 h 5808721"/>
              <a:gd name="connsiteX56" fmla="*/ 2383512 w 6251734"/>
              <a:gd name="connsiteY56" fmla="*/ 5493996 h 5808721"/>
              <a:gd name="connsiteX57" fmla="*/ 3626020 w 6251734"/>
              <a:gd name="connsiteY57" fmla="*/ 5422235 h 5808721"/>
              <a:gd name="connsiteX58" fmla="*/ 3598818 w 6251734"/>
              <a:gd name="connsiteY58" fmla="*/ 5461243 h 5808721"/>
              <a:gd name="connsiteX59" fmla="*/ 3581388 w 6251734"/>
              <a:gd name="connsiteY59" fmla="*/ 5494011 h 5808721"/>
              <a:gd name="connsiteX60" fmla="*/ 3616801 w 6251734"/>
              <a:gd name="connsiteY60" fmla="*/ 5504746 h 5808721"/>
              <a:gd name="connsiteX61" fmla="*/ 3666318 w 6251734"/>
              <a:gd name="connsiteY61" fmla="*/ 5513566 h 5808721"/>
              <a:gd name="connsiteX62" fmla="*/ 3662700 w 6251734"/>
              <a:gd name="connsiteY62" fmla="*/ 5465131 h 5808721"/>
              <a:gd name="connsiteX63" fmla="*/ 3644732 w 6251734"/>
              <a:gd name="connsiteY63" fmla="*/ 5445778 h 5808721"/>
              <a:gd name="connsiteX64" fmla="*/ 3990100 w 6251734"/>
              <a:gd name="connsiteY64" fmla="*/ 5421513 h 5808721"/>
              <a:gd name="connsiteX65" fmla="*/ 3953357 w 6251734"/>
              <a:gd name="connsiteY65" fmla="*/ 5462423 h 5808721"/>
              <a:gd name="connsiteX66" fmla="*/ 3949475 w 6251734"/>
              <a:gd name="connsiteY66" fmla="*/ 5514925 h 5808721"/>
              <a:gd name="connsiteX67" fmla="*/ 4025703 w 6251734"/>
              <a:gd name="connsiteY67" fmla="*/ 5497859 h 5808721"/>
              <a:gd name="connsiteX68" fmla="*/ 4034309 w 6251734"/>
              <a:gd name="connsiteY68" fmla="*/ 5494362 h 5808721"/>
              <a:gd name="connsiteX69" fmla="*/ 4016993 w 6251734"/>
              <a:gd name="connsiteY69" fmla="*/ 5461874 h 5808721"/>
              <a:gd name="connsiteX70" fmla="*/ 3956426 w 6251734"/>
              <a:gd name="connsiteY70" fmla="*/ 5380419 h 5808721"/>
              <a:gd name="connsiteX71" fmla="*/ 3957923 w 6251734"/>
              <a:gd name="connsiteY71" fmla="*/ 5400670 h 5808721"/>
              <a:gd name="connsiteX72" fmla="*/ 3956295 w 6251734"/>
              <a:gd name="connsiteY72" fmla="*/ 5422687 h 5808721"/>
              <a:gd name="connsiteX73" fmla="*/ 3964989 w 6251734"/>
              <a:gd name="connsiteY73" fmla="*/ 5412959 h 5808721"/>
              <a:gd name="connsiteX74" fmla="*/ 3973699 w 6251734"/>
              <a:gd name="connsiteY74" fmla="*/ 5400468 h 5808721"/>
              <a:gd name="connsiteX75" fmla="*/ 3659650 w 6251734"/>
              <a:gd name="connsiteY75" fmla="*/ 5376790 h 5808721"/>
              <a:gd name="connsiteX76" fmla="*/ 3650822 w 6251734"/>
              <a:gd name="connsiteY76" fmla="*/ 5386669 h 5808721"/>
              <a:gd name="connsiteX77" fmla="*/ 3641492 w 6251734"/>
              <a:gd name="connsiteY77" fmla="*/ 5400048 h 5808721"/>
              <a:gd name="connsiteX78" fmla="*/ 3659392 w 6251734"/>
              <a:gd name="connsiteY78" fmla="*/ 5420848 h 5808721"/>
              <a:gd name="connsiteX79" fmla="*/ 3657885 w 6251734"/>
              <a:gd name="connsiteY79" fmla="*/ 5400670 h 5808721"/>
              <a:gd name="connsiteX80" fmla="*/ 2450878 w 6251734"/>
              <a:gd name="connsiteY80" fmla="*/ 5356093 h 5808721"/>
              <a:gd name="connsiteX81" fmla="*/ 3103247 w 6251734"/>
              <a:gd name="connsiteY81" fmla="*/ 5381811 h 5808721"/>
              <a:gd name="connsiteX82" fmla="*/ 2950656 w 6251734"/>
              <a:gd name="connsiteY82" fmla="*/ 5644988 h 5808721"/>
              <a:gd name="connsiteX83" fmla="*/ 3808763 w 6251734"/>
              <a:gd name="connsiteY83" fmla="*/ 5338091 h 5808721"/>
              <a:gd name="connsiteX84" fmla="*/ 3871342 w 6251734"/>
              <a:gd name="connsiteY84" fmla="*/ 5400671 h 5808721"/>
              <a:gd name="connsiteX85" fmla="*/ 3808763 w 6251734"/>
              <a:gd name="connsiteY85" fmla="*/ 5463250 h 5808721"/>
              <a:gd name="connsiteX86" fmla="*/ 3746183 w 6251734"/>
              <a:gd name="connsiteY86" fmla="*/ 5400671 h 5808721"/>
              <a:gd name="connsiteX87" fmla="*/ 3808763 w 6251734"/>
              <a:gd name="connsiteY87" fmla="*/ 5338091 h 5808721"/>
              <a:gd name="connsiteX88" fmla="*/ 3553198 w 6251734"/>
              <a:gd name="connsiteY88" fmla="*/ 5318476 h 5808721"/>
              <a:gd name="connsiteX89" fmla="*/ 3524133 w 6251734"/>
              <a:gd name="connsiteY89" fmla="*/ 5330284 h 5808721"/>
              <a:gd name="connsiteX90" fmla="*/ 3465862 w 6251734"/>
              <a:gd name="connsiteY90" fmla="*/ 5400670 h 5808721"/>
              <a:gd name="connsiteX91" fmla="*/ 3524359 w 6251734"/>
              <a:gd name="connsiteY91" fmla="*/ 5470831 h 5808721"/>
              <a:gd name="connsiteX92" fmla="*/ 3552494 w 6251734"/>
              <a:gd name="connsiteY92" fmla="*/ 5483326 h 5808721"/>
              <a:gd name="connsiteX93" fmla="*/ 3557534 w 6251734"/>
              <a:gd name="connsiteY93" fmla="*/ 5473887 h 5808721"/>
              <a:gd name="connsiteX94" fmla="*/ 3608797 w 6251734"/>
              <a:gd name="connsiteY94" fmla="*/ 5400567 h 5808721"/>
              <a:gd name="connsiteX95" fmla="*/ 3596753 w 6251734"/>
              <a:gd name="connsiteY95" fmla="*/ 5385414 h 5808721"/>
              <a:gd name="connsiteX96" fmla="*/ 3557534 w 6251734"/>
              <a:gd name="connsiteY96" fmla="*/ 5326597 h 5808721"/>
              <a:gd name="connsiteX97" fmla="*/ 4062445 w 6251734"/>
              <a:gd name="connsiteY97" fmla="*/ 5317336 h 5808721"/>
              <a:gd name="connsiteX98" fmla="*/ 4057165 w 6251734"/>
              <a:gd name="connsiteY98" fmla="*/ 5327229 h 5808721"/>
              <a:gd name="connsiteX99" fmla="*/ 4006091 w 6251734"/>
              <a:gd name="connsiteY99" fmla="*/ 5400156 h 5808721"/>
              <a:gd name="connsiteX100" fmla="*/ 4017343 w 6251734"/>
              <a:gd name="connsiteY100" fmla="*/ 5414333 h 5808721"/>
              <a:gd name="connsiteX101" fmla="*/ 4056562 w 6251734"/>
              <a:gd name="connsiteY101" fmla="*/ 5473256 h 5808721"/>
              <a:gd name="connsiteX102" fmla="*/ 4061849 w 6251734"/>
              <a:gd name="connsiteY102" fmla="*/ 5483174 h 5808721"/>
              <a:gd name="connsiteX103" fmla="*/ 4091676 w 6251734"/>
              <a:gd name="connsiteY103" fmla="*/ 5471057 h 5808721"/>
              <a:gd name="connsiteX104" fmla="*/ 4149947 w 6251734"/>
              <a:gd name="connsiteY104" fmla="*/ 5400670 h 5808721"/>
              <a:gd name="connsiteX105" fmla="*/ 4091450 w 6251734"/>
              <a:gd name="connsiteY105" fmla="*/ 5330284 h 5808721"/>
              <a:gd name="connsiteX106" fmla="*/ 3949551 w 6251734"/>
              <a:gd name="connsiteY106" fmla="*/ 5287441 h 5808721"/>
              <a:gd name="connsiteX107" fmla="*/ 3953173 w 6251734"/>
              <a:gd name="connsiteY107" fmla="*/ 5336435 h 5808721"/>
              <a:gd name="connsiteX108" fmla="*/ 3969364 w 6251734"/>
              <a:gd name="connsiteY108" fmla="*/ 5353884 h 5808721"/>
              <a:gd name="connsiteX109" fmla="*/ 3988964 w 6251734"/>
              <a:gd name="connsiteY109" fmla="*/ 5378578 h 5808721"/>
              <a:gd name="connsiteX110" fmla="*/ 4016993 w 6251734"/>
              <a:gd name="connsiteY110" fmla="*/ 5338385 h 5808721"/>
              <a:gd name="connsiteX111" fmla="*/ 4033793 w 6251734"/>
              <a:gd name="connsiteY111" fmla="*/ 5306800 h 5808721"/>
              <a:gd name="connsiteX112" fmla="*/ 3999007 w 6251734"/>
              <a:gd name="connsiteY112" fmla="*/ 5296218 h 5808721"/>
              <a:gd name="connsiteX113" fmla="*/ 3666333 w 6251734"/>
              <a:gd name="connsiteY113" fmla="*/ 5286416 h 5808721"/>
              <a:gd name="connsiteX114" fmla="*/ 3590106 w 6251734"/>
              <a:gd name="connsiteY114" fmla="*/ 5303482 h 5808721"/>
              <a:gd name="connsiteX115" fmla="*/ 3581629 w 6251734"/>
              <a:gd name="connsiteY115" fmla="*/ 5306926 h 5808721"/>
              <a:gd name="connsiteX116" fmla="*/ 3598818 w 6251734"/>
              <a:gd name="connsiteY116" fmla="*/ 5339241 h 5808721"/>
              <a:gd name="connsiteX117" fmla="*/ 3625164 w 6251734"/>
              <a:gd name="connsiteY117" fmla="*/ 5378866 h 5808721"/>
              <a:gd name="connsiteX118" fmla="*/ 3662590 w 6251734"/>
              <a:gd name="connsiteY118" fmla="*/ 5337028 h 5808721"/>
              <a:gd name="connsiteX119" fmla="*/ 1925384 w 6251734"/>
              <a:gd name="connsiteY119" fmla="*/ 5284084 h 5808721"/>
              <a:gd name="connsiteX120" fmla="*/ 1867091 w 6251734"/>
              <a:gd name="connsiteY120" fmla="*/ 5343235 h 5808721"/>
              <a:gd name="connsiteX121" fmla="*/ 1925384 w 6251734"/>
              <a:gd name="connsiteY121" fmla="*/ 5402385 h 5808721"/>
              <a:gd name="connsiteX122" fmla="*/ 1983677 w 6251734"/>
              <a:gd name="connsiteY122" fmla="*/ 5343235 h 5808721"/>
              <a:gd name="connsiteX123" fmla="*/ 1925384 w 6251734"/>
              <a:gd name="connsiteY123" fmla="*/ 5284084 h 5808721"/>
              <a:gd name="connsiteX124" fmla="*/ 3715682 w 6251734"/>
              <a:gd name="connsiteY124" fmla="*/ 5281518 h 5808721"/>
              <a:gd name="connsiteX125" fmla="*/ 3690553 w 6251734"/>
              <a:gd name="connsiteY125" fmla="*/ 5283388 h 5808721"/>
              <a:gd name="connsiteX126" fmla="*/ 3688737 w 6251734"/>
              <a:gd name="connsiteY126" fmla="*/ 5307799 h 5808721"/>
              <a:gd name="connsiteX127" fmla="*/ 3700748 w 6251734"/>
              <a:gd name="connsiteY127" fmla="*/ 5294372 h 5808721"/>
              <a:gd name="connsiteX128" fmla="*/ 3897255 w 6251734"/>
              <a:gd name="connsiteY128" fmla="*/ 5279649 h 5808721"/>
              <a:gd name="connsiteX129" fmla="*/ 3913348 w 6251734"/>
              <a:gd name="connsiteY129" fmla="*/ 5293515 h 5808721"/>
              <a:gd name="connsiteX130" fmla="*/ 3927113 w 6251734"/>
              <a:gd name="connsiteY130" fmla="*/ 5308350 h 5808721"/>
              <a:gd name="connsiteX131" fmla="*/ 3925236 w 6251734"/>
              <a:gd name="connsiteY131" fmla="*/ 5283126 h 5808721"/>
              <a:gd name="connsiteX132" fmla="*/ 3909502 w 6251734"/>
              <a:gd name="connsiteY132" fmla="*/ 5280333 h 5808721"/>
              <a:gd name="connsiteX133" fmla="*/ 3807904 w 6251734"/>
              <a:gd name="connsiteY133" fmla="*/ 5274654 h 5808721"/>
              <a:gd name="connsiteX134" fmla="*/ 3756063 w 6251734"/>
              <a:gd name="connsiteY134" fmla="*/ 5278512 h 5808721"/>
              <a:gd name="connsiteX135" fmla="*/ 3718751 w 6251734"/>
              <a:gd name="connsiteY135" fmla="*/ 5310660 h 5808721"/>
              <a:gd name="connsiteX136" fmla="*/ 3685778 w 6251734"/>
              <a:gd name="connsiteY136" fmla="*/ 5347555 h 5808721"/>
              <a:gd name="connsiteX137" fmla="*/ 3681889 w 6251734"/>
              <a:gd name="connsiteY137" fmla="*/ 5399812 h 5808721"/>
              <a:gd name="connsiteX138" fmla="*/ 3685732 w 6251734"/>
              <a:gd name="connsiteY138" fmla="*/ 5451455 h 5808721"/>
              <a:gd name="connsiteX139" fmla="*/ 3718751 w 6251734"/>
              <a:gd name="connsiteY139" fmla="*/ 5489824 h 5808721"/>
              <a:gd name="connsiteX140" fmla="*/ 3758175 w 6251734"/>
              <a:gd name="connsiteY140" fmla="*/ 5523751 h 5808721"/>
              <a:gd name="connsiteX141" fmla="*/ 3807904 w 6251734"/>
              <a:gd name="connsiteY141" fmla="*/ 5526686 h 5808721"/>
              <a:gd name="connsiteX142" fmla="*/ 3857581 w 6251734"/>
              <a:gd name="connsiteY142" fmla="*/ 5522989 h 5808721"/>
              <a:gd name="connsiteX143" fmla="*/ 3897060 w 6251734"/>
              <a:gd name="connsiteY143" fmla="*/ 5488968 h 5808721"/>
              <a:gd name="connsiteX144" fmla="*/ 3930031 w 6251734"/>
              <a:gd name="connsiteY144" fmla="*/ 5452075 h 5808721"/>
              <a:gd name="connsiteX145" fmla="*/ 3933920 w 6251734"/>
              <a:gd name="connsiteY145" fmla="*/ 5399812 h 5808721"/>
              <a:gd name="connsiteX146" fmla="*/ 3930213 w 6251734"/>
              <a:gd name="connsiteY146" fmla="*/ 5349995 h 5808721"/>
              <a:gd name="connsiteX147" fmla="*/ 3897060 w 6251734"/>
              <a:gd name="connsiteY147" fmla="*/ 5311517 h 5808721"/>
              <a:gd name="connsiteX148" fmla="*/ 3857442 w 6251734"/>
              <a:gd name="connsiteY148" fmla="*/ 5277423 h 5808721"/>
              <a:gd name="connsiteX149" fmla="*/ 3807355 w 6251734"/>
              <a:gd name="connsiteY149" fmla="*/ 5234320 h 5808721"/>
              <a:gd name="connsiteX150" fmla="*/ 3786569 w 6251734"/>
              <a:gd name="connsiteY150" fmla="*/ 5252229 h 5808721"/>
              <a:gd name="connsiteX151" fmla="*/ 3807904 w 6251734"/>
              <a:gd name="connsiteY151" fmla="*/ 5250651 h 5808721"/>
              <a:gd name="connsiteX152" fmla="*/ 3827599 w 6251734"/>
              <a:gd name="connsiteY152" fmla="*/ 5251741 h 5808721"/>
              <a:gd name="connsiteX153" fmla="*/ 1827657 w 6251734"/>
              <a:gd name="connsiteY153" fmla="*/ 5200074 h 5808721"/>
              <a:gd name="connsiteX154" fmla="*/ 1773650 w 6251734"/>
              <a:gd name="connsiteY154" fmla="*/ 5254938 h 5808721"/>
              <a:gd name="connsiteX155" fmla="*/ 1827657 w 6251734"/>
              <a:gd name="connsiteY155" fmla="*/ 5309802 h 5808721"/>
              <a:gd name="connsiteX156" fmla="*/ 1881664 w 6251734"/>
              <a:gd name="connsiteY156" fmla="*/ 5254938 h 5808721"/>
              <a:gd name="connsiteX157" fmla="*/ 1827657 w 6251734"/>
              <a:gd name="connsiteY157" fmla="*/ 5200074 h 5808721"/>
              <a:gd name="connsiteX158" fmla="*/ 3713592 w 6251734"/>
              <a:gd name="connsiteY158" fmla="*/ 5175036 h 5808721"/>
              <a:gd name="connsiteX159" fmla="*/ 3703452 w 6251734"/>
              <a:gd name="connsiteY159" fmla="*/ 5208333 h 5808721"/>
              <a:gd name="connsiteX160" fmla="*/ 3693280 w 6251734"/>
              <a:gd name="connsiteY160" fmla="*/ 5259127 h 5808721"/>
              <a:gd name="connsiteX161" fmla="*/ 3746245 w 6251734"/>
              <a:gd name="connsiteY161" fmla="*/ 5255210 h 5808721"/>
              <a:gd name="connsiteX162" fmla="*/ 3787708 w 6251734"/>
              <a:gd name="connsiteY162" fmla="*/ 5219522 h 5808721"/>
              <a:gd name="connsiteX163" fmla="*/ 3901951 w 6251734"/>
              <a:gd name="connsiteY163" fmla="*/ 5174164 h 5808721"/>
              <a:gd name="connsiteX164" fmla="*/ 3827088 w 6251734"/>
              <a:gd name="connsiteY164" fmla="*/ 5219192 h 5808721"/>
              <a:gd name="connsiteX165" fmla="*/ 3867424 w 6251734"/>
              <a:gd name="connsiteY165" fmla="*/ 5253946 h 5808721"/>
              <a:gd name="connsiteX166" fmla="*/ 3922098 w 6251734"/>
              <a:gd name="connsiteY166" fmla="*/ 5256973 h 5808721"/>
              <a:gd name="connsiteX167" fmla="*/ 3912357 w 6251734"/>
              <a:gd name="connsiteY167" fmla="*/ 5208333 h 5808721"/>
              <a:gd name="connsiteX168" fmla="*/ 4932831 w 6251734"/>
              <a:gd name="connsiteY168" fmla="*/ 5171785 h 5808721"/>
              <a:gd name="connsiteX169" fmla="*/ 4857179 w 6251734"/>
              <a:gd name="connsiteY169" fmla="*/ 5190645 h 5808721"/>
              <a:gd name="connsiteX170" fmla="*/ 4836605 w 6251734"/>
              <a:gd name="connsiteY170" fmla="*/ 5332091 h 5808721"/>
              <a:gd name="connsiteX171" fmla="*/ 4978051 w 6251734"/>
              <a:gd name="connsiteY171" fmla="*/ 5353523 h 5808721"/>
              <a:gd name="connsiteX172" fmla="*/ 4999483 w 6251734"/>
              <a:gd name="connsiteY172" fmla="*/ 5212076 h 5808721"/>
              <a:gd name="connsiteX173" fmla="*/ 4932831 w 6251734"/>
              <a:gd name="connsiteY173" fmla="*/ 5171785 h 5808721"/>
              <a:gd name="connsiteX174" fmla="*/ 3619671 w 6251734"/>
              <a:gd name="connsiteY174" fmla="*/ 5143348 h 5808721"/>
              <a:gd name="connsiteX175" fmla="*/ 3566160 w 6251734"/>
              <a:gd name="connsiteY175" fmla="*/ 5158925 h 5808721"/>
              <a:gd name="connsiteX176" fmla="*/ 3557706 w 6251734"/>
              <a:gd name="connsiteY176" fmla="*/ 5249836 h 5808721"/>
              <a:gd name="connsiteX177" fmla="*/ 3569257 w 6251734"/>
              <a:gd name="connsiteY177" fmla="*/ 5280149 h 5808721"/>
              <a:gd name="connsiteX178" fmla="*/ 3649032 w 6251734"/>
              <a:gd name="connsiteY178" fmla="*/ 5262398 h 5808721"/>
              <a:gd name="connsiteX179" fmla="*/ 3668214 w 6251734"/>
              <a:gd name="connsiteY179" fmla="*/ 5260980 h 5808721"/>
              <a:gd name="connsiteX180" fmla="*/ 3669632 w 6251734"/>
              <a:gd name="connsiteY180" fmla="*/ 5241797 h 5808721"/>
              <a:gd name="connsiteX181" fmla="*/ 3683427 w 6251734"/>
              <a:gd name="connsiteY181" fmla="*/ 5172482 h 5808721"/>
              <a:gd name="connsiteX182" fmla="*/ 3686676 w 6251734"/>
              <a:gd name="connsiteY182" fmla="*/ 5161753 h 5808721"/>
              <a:gd name="connsiteX183" fmla="*/ 3657070 w 6251734"/>
              <a:gd name="connsiteY183" fmla="*/ 5150472 h 5808721"/>
              <a:gd name="connsiteX184" fmla="*/ 3619671 w 6251734"/>
              <a:gd name="connsiteY184" fmla="*/ 5143348 h 5808721"/>
              <a:gd name="connsiteX185" fmla="*/ 3995778 w 6251734"/>
              <a:gd name="connsiteY185" fmla="*/ 5142491 h 5808721"/>
              <a:gd name="connsiteX186" fmla="*/ 3958364 w 6251734"/>
              <a:gd name="connsiteY186" fmla="*/ 5149615 h 5808721"/>
              <a:gd name="connsiteX187" fmla="*/ 3928865 w 6251734"/>
              <a:gd name="connsiteY187" fmla="*/ 5160870 h 5808721"/>
              <a:gd name="connsiteX188" fmla="*/ 3932381 w 6251734"/>
              <a:gd name="connsiteY188" fmla="*/ 5172482 h 5808721"/>
              <a:gd name="connsiteX189" fmla="*/ 3946176 w 6251734"/>
              <a:gd name="connsiteY189" fmla="*/ 5241797 h 5808721"/>
              <a:gd name="connsiteX190" fmla="*/ 3947566 w 6251734"/>
              <a:gd name="connsiteY190" fmla="*/ 5260592 h 5808721"/>
              <a:gd name="connsiteX191" fmla="*/ 4036092 w 6251734"/>
              <a:gd name="connsiteY191" fmla="*/ 5276193 h 5808721"/>
              <a:gd name="connsiteX192" fmla="*/ 4046530 w 6251734"/>
              <a:gd name="connsiteY192" fmla="*/ 5279354 h 5808721"/>
              <a:gd name="connsiteX193" fmla="*/ 4058104 w 6251734"/>
              <a:gd name="connsiteY193" fmla="*/ 5248980 h 5808721"/>
              <a:gd name="connsiteX194" fmla="*/ 4049650 w 6251734"/>
              <a:gd name="connsiteY194" fmla="*/ 5158069 h 5808721"/>
              <a:gd name="connsiteX195" fmla="*/ 3995778 w 6251734"/>
              <a:gd name="connsiteY195" fmla="*/ 5142491 h 5808721"/>
              <a:gd name="connsiteX196" fmla="*/ 1795082 w 6251734"/>
              <a:gd name="connsiteY196" fmla="*/ 5089489 h 5808721"/>
              <a:gd name="connsiteX197" fmla="*/ 1747933 w 6251734"/>
              <a:gd name="connsiteY197" fmla="*/ 5137495 h 5808721"/>
              <a:gd name="connsiteX198" fmla="*/ 1795082 w 6251734"/>
              <a:gd name="connsiteY198" fmla="*/ 5185501 h 5808721"/>
              <a:gd name="connsiteX199" fmla="*/ 1813298 w 6251734"/>
              <a:gd name="connsiteY199" fmla="*/ 5181737 h 5808721"/>
              <a:gd name="connsiteX200" fmla="*/ 1824372 w 6251734"/>
              <a:gd name="connsiteY200" fmla="*/ 5174153 h 5808721"/>
              <a:gd name="connsiteX201" fmla="*/ 1839840 w 6251734"/>
              <a:gd name="connsiteY201" fmla="*/ 5131531 h 5808721"/>
              <a:gd name="connsiteX202" fmla="*/ 1828621 w 6251734"/>
              <a:gd name="connsiteY202" fmla="*/ 5103526 h 5808721"/>
              <a:gd name="connsiteX203" fmla="*/ 1795082 w 6251734"/>
              <a:gd name="connsiteY203" fmla="*/ 5089489 h 5808721"/>
              <a:gd name="connsiteX204" fmla="*/ 3807904 w 6251734"/>
              <a:gd name="connsiteY204" fmla="*/ 5057770 h 5808721"/>
              <a:gd name="connsiteX205" fmla="*/ 3737518 w 6251734"/>
              <a:gd name="connsiteY205" fmla="*/ 5116041 h 5808721"/>
              <a:gd name="connsiteX206" fmla="*/ 3724435 w 6251734"/>
              <a:gd name="connsiteY206" fmla="*/ 5145282 h 5808721"/>
              <a:gd name="connsiteX207" fmla="*/ 3733832 w 6251734"/>
              <a:gd name="connsiteY207" fmla="*/ 5150300 h 5808721"/>
              <a:gd name="connsiteX208" fmla="*/ 3792649 w 6251734"/>
              <a:gd name="connsiteY208" fmla="*/ 5189519 h 5808721"/>
              <a:gd name="connsiteX209" fmla="*/ 3807599 w 6251734"/>
              <a:gd name="connsiteY209" fmla="*/ 5202400 h 5808721"/>
              <a:gd name="connsiteX210" fmla="*/ 3821568 w 6251734"/>
              <a:gd name="connsiteY210" fmla="*/ 5190377 h 5808721"/>
              <a:gd name="connsiteX211" fmla="*/ 3880491 w 6251734"/>
              <a:gd name="connsiteY211" fmla="*/ 5151158 h 5808721"/>
              <a:gd name="connsiteX212" fmla="*/ 3891401 w 6251734"/>
              <a:gd name="connsiteY212" fmla="*/ 5145342 h 5808721"/>
              <a:gd name="connsiteX213" fmla="*/ 3878291 w 6251734"/>
              <a:gd name="connsiteY213" fmla="*/ 5116041 h 5808721"/>
              <a:gd name="connsiteX214" fmla="*/ 3807904 w 6251734"/>
              <a:gd name="connsiteY214" fmla="*/ 5057770 h 5808721"/>
              <a:gd name="connsiteX215" fmla="*/ 1830229 w 6251734"/>
              <a:gd name="connsiteY215" fmla="*/ 4995190 h 5808721"/>
              <a:gd name="connsiteX216" fmla="*/ 1795082 w 6251734"/>
              <a:gd name="connsiteY216" fmla="*/ 5031195 h 5808721"/>
              <a:gd name="connsiteX217" fmla="*/ 1830229 w 6251734"/>
              <a:gd name="connsiteY217" fmla="*/ 5067200 h 5808721"/>
              <a:gd name="connsiteX218" fmla="*/ 1865376 w 6251734"/>
              <a:gd name="connsiteY218" fmla="*/ 5031195 h 5808721"/>
              <a:gd name="connsiteX219" fmla="*/ 1830229 w 6251734"/>
              <a:gd name="connsiteY219" fmla="*/ 4995190 h 5808721"/>
              <a:gd name="connsiteX220" fmla="*/ 3807904 w 6251734"/>
              <a:gd name="connsiteY220" fmla="*/ 4992618 h 5808721"/>
              <a:gd name="connsiteX221" fmla="*/ 3914096 w 6251734"/>
              <a:gd name="connsiteY221" fmla="*/ 5112098 h 5808721"/>
              <a:gd name="connsiteX222" fmla="*/ 3919610 w 6251734"/>
              <a:gd name="connsiteY222" fmla="*/ 5130307 h 5808721"/>
              <a:gd name="connsiteX223" fmla="*/ 3936279 w 6251734"/>
              <a:gd name="connsiteY223" fmla="*/ 5121422 h 5808721"/>
              <a:gd name="connsiteX224" fmla="*/ 4032023 w 6251734"/>
              <a:gd name="connsiteY224" fmla="*/ 5093293 h 5808721"/>
              <a:gd name="connsiteX225" fmla="*/ 4095942 w 6251734"/>
              <a:gd name="connsiteY225" fmla="*/ 5111777 h 5808721"/>
              <a:gd name="connsiteX226" fmla="*/ 4086941 w 6251734"/>
              <a:gd name="connsiteY226" fmla="*/ 5271440 h 5808721"/>
              <a:gd name="connsiteX227" fmla="*/ 4077682 w 6251734"/>
              <a:gd name="connsiteY227" fmla="*/ 5288787 h 5808721"/>
              <a:gd name="connsiteX228" fmla="*/ 4096476 w 6251734"/>
              <a:gd name="connsiteY228" fmla="*/ 5294478 h 5808721"/>
              <a:gd name="connsiteX229" fmla="*/ 4215956 w 6251734"/>
              <a:gd name="connsiteY229" fmla="*/ 5400670 h 5808721"/>
              <a:gd name="connsiteX230" fmla="*/ 4146292 w 6251734"/>
              <a:gd name="connsiteY230" fmla="*/ 5484302 h 5808721"/>
              <a:gd name="connsiteX231" fmla="*/ 4077351 w 6251734"/>
              <a:gd name="connsiteY231" fmla="*/ 5512259 h 5808721"/>
              <a:gd name="connsiteX232" fmla="*/ 4086298 w 6251734"/>
              <a:gd name="connsiteY232" fmla="*/ 5529044 h 5808721"/>
              <a:gd name="connsiteX233" fmla="*/ 4095942 w 6251734"/>
              <a:gd name="connsiteY233" fmla="*/ 5688707 h 5808721"/>
              <a:gd name="connsiteX234" fmla="*/ 3987551 w 6251734"/>
              <a:gd name="connsiteY234" fmla="*/ 5698969 h 5808721"/>
              <a:gd name="connsiteX235" fmla="*/ 3919857 w 6251734"/>
              <a:gd name="connsiteY235" fmla="*/ 5670215 h 5808721"/>
              <a:gd name="connsiteX236" fmla="*/ 3914096 w 6251734"/>
              <a:gd name="connsiteY236" fmla="*/ 5689242 h 5808721"/>
              <a:gd name="connsiteX237" fmla="*/ 3807904 w 6251734"/>
              <a:gd name="connsiteY237" fmla="*/ 5808721 h 5808721"/>
              <a:gd name="connsiteX238" fmla="*/ 3702033 w 6251734"/>
              <a:gd name="connsiteY238" fmla="*/ 5689242 h 5808721"/>
              <a:gd name="connsiteX239" fmla="*/ 3696238 w 6251734"/>
              <a:gd name="connsiteY239" fmla="*/ 5670203 h 5808721"/>
              <a:gd name="connsiteX240" fmla="*/ 3627147 w 6251734"/>
              <a:gd name="connsiteY240" fmla="*/ 5699451 h 5808721"/>
              <a:gd name="connsiteX241" fmla="*/ 3518154 w 6251734"/>
              <a:gd name="connsiteY241" fmla="*/ 5689565 h 5808721"/>
              <a:gd name="connsiteX242" fmla="*/ 3527798 w 6251734"/>
              <a:gd name="connsiteY242" fmla="*/ 5529580 h 5808721"/>
              <a:gd name="connsiteX243" fmla="*/ 3537061 w 6251734"/>
              <a:gd name="connsiteY243" fmla="*/ 5512231 h 5808721"/>
              <a:gd name="connsiteX244" fmla="*/ 3519332 w 6251734"/>
              <a:gd name="connsiteY244" fmla="*/ 5506862 h 5808721"/>
              <a:gd name="connsiteX245" fmla="*/ 3399853 w 6251734"/>
              <a:gd name="connsiteY245" fmla="*/ 5400670 h 5808721"/>
              <a:gd name="connsiteX246" fmla="*/ 3469516 w 6251734"/>
              <a:gd name="connsiteY246" fmla="*/ 5316662 h 5808721"/>
              <a:gd name="connsiteX247" fmla="*/ 3537546 w 6251734"/>
              <a:gd name="connsiteY247" fmla="*/ 5289161 h 5808721"/>
              <a:gd name="connsiteX248" fmla="*/ 3527798 w 6251734"/>
              <a:gd name="connsiteY248" fmla="*/ 5270904 h 5808721"/>
              <a:gd name="connsiteX249" fmla="*/ 3518154 w 6251734"/>
              <a:gd name="connsiteY249" fmla="*/ 5110919 h 5808721"/>
              <a:gd name="connsiteX250" fmla="*/ 3582435 w 6251734"/>
              <a:gd name="connsiteY250" fmla="*/ 5092435 h 5808721"/>
              <a:gd name="connsiteX251" fmla="*/ 3678139 w 6251734"/>
              <a:gd name="connsiteY251" fmla="*/ 5120564 h 5808721"/>
              <a:gd name="connsiteX252" fmla="*/ 3696224 w 6251734"/>
              <a:gd name="connsiteY252" fmla="*/ 5130220 h 5808721"/>
              <a:gd name="connsiteX253" fmla="*/ 3701712 w 6251734"/>
              <a:gd name="connsiteY253" fmla="*/ 5112098 h 5808721"/>
              <a:gd name="connsiteX254" fmla="*/ 3807904 w 6251734"/>
              <a:gd name="connsiteY254" fmla="*/ 4992618 h 5808721"/>
              <a:gd name="connsiteX255" fmla="*/ 2165414 w 6251734"/>
              <a:gd name="connsiteY255" fmla="*/ 4987475 h 5808721"/>
              <a:gd name="connsiteX256" fmla="*/ 2099834 w 6251734"/>
              <a:gd name="connsiteY256" fmla="*/ 5030874 h 5808721"/>
              <a:gd name="connsiteX257" fmla="*/ 2095529 w 6251734"/>
              <a:gd name="connsiteY257" fmla="*/ 5052318 h 5808721"/>
              <a:gd name="connsiteX258" fmla="*/ 2115842 w 6251734"/>
              <a:gd name="connsiteY258" fmla="*/ 5109524 h 5808721"/>
              <a:gd name="connsiteX259" fmla="*/ 2137660 w 6251734"/>
              <a:gd name="connsiteY259" fmla="*/ 5124207 h 5808721"/>
              <a:gd name="connsiteX260" fmla="*/ 2165414 w 6251734"/>
              <a:gd name="connsiteY260" fmla="*/ 5129779 h 5808721"/>
              <a:gd name="connsiteX261" fmla="*/ 2236565 w 6251734"/>
              <a:gd name="connsiteY261" fmla="*/ 5058628 h 5808721"/>
              <a:gd name="connsiteX262" fmla="*/ 2165414 w 6251734"/>
              <a:gd name="connsiteY262" fmla="*/ 4987475 h 5808721"/>
              <a:gd name="connsiteX263" fmla="*/ 5334024 w 6251734"/>
              <a:gd name="connsiteY263" fmla="*/ 4966796 h 5808721"/>
              <a:gd name="connsiteX264" fmla="*/ 5296091 w 6251734"/>
              <a:gd name="connsiteY264" fmla="*/ 4976333 h 5808721"/>
              <a:gd name="connsiteX265" fmla="*/ 5285804 w 6251734"/>
              <a:gd name="connsiteY265" fmla="*/ 5048341 h 5808721"/>
              <a:gd name="connsiteX266" fmla="*/ 5356956 w 6251734"/>
              <a:gd name="connsiteY266" fmla="*/ 5059486 h 5808721"/>
              <a:gd name="connsiteX267" fmla="*/ 5368100 w 6251734"/>
              <a:gd name="connsiteY267" fmla="*/ 4987477 h 5808721"/>
              <a:gd name="connsiteX268" fmla="*/ 5334024 w 6251734"/>
              <a:gd name="connsiteY268" fmla="*/ 4966796 h 5808721"/>
              <a:gd name="connsiteX269" fmla="*/ 1939100 w 6251734"/>
              <a:gd name="connsiteY269" fmla="*/ 4858031 h 5808721"/>
              <a:gd name="connsiteX270" fmla="*/ 2026539 w 6251734"/>
              <a:gd name="connsiteY270" fmla="*/ 4858031 h 5808721"/>
              <a:gd name="connsiteX271" fmla="*/ 2042850 w 6251734"/>
              <a:gd name="connsiteY271" fmla="*/ 4903966 h 5808721"/>
              <a:gd name="connsiteX272" fmla="*/ 2112264 w 6251734"/>
              <a:gd name="connsiteY272" fmla="*/ 4899178 h 5808721"/>
              <a:gd name="connsiteX273" fmla="*/ 2286286 w 6251734"/>
              <a:gd name="connsiteY273" fmla="*/ 5018336 h 5808721"/>
              <a:gd name="connsiteX274" fmla="*/ 2136267 w 6251734"/>
              <a:gd name="connsiteY274" fmla="*/ 5212076 h 5808721"/>
              <a:gd name="connsiteX275" fmla="*/ 1901381 w 6251734"/>
              <a:gd name="connsiteY275" fmla="*/ 5428960 h 5808721"/>
              <a:gd name="connsiteX276" fmla="*/ 1852317 w 6251734"/>
              <a:gd name="connsiteY276" fmla="*/ 4950224 h 5808721"/>
              <a:gd name="connsiteX277" fmla="*/ 1914216 w 6251734"/>
              <a:gd name="connsiteY277" fmla="*/ 4926595 h 5808721"/>
              <a:gd name="connsiteX278" fmla="*/ 5285697 w 6251734"/>
              <a:gd name="connsiteY278" fmla="*/ 4798238 h 5808721"/>
              <a:gd name="connsiteX279" fmla="*/ 5235226 w 6251734"/>
              <a:gd name="connsiteY279" fmla="*/ 4810882 h 5808721"/>
              <a:gd name="connsiteX280" fmla="*/ 5221511 w 6251734"/>
              <a:gd name="connsiteY280" fmla="*/ 4906038 h 5808721"/>
              <a:gd name="connsiteX281" fmla="*/ 5316665 w 6251734"/>
              <a:gd name="connsiteY281" fmla="*/ 4920611 h 5808721"/>
              <a:gd name="connsiteX282" fmla="*/ 5330381 w 6251734"/>
              <a:gd name="connsiteY282" fmla="*/ 4825456 h 5808721"/>
              <a:gd name="connsiteX283" fmla="*/ 5285697 w 6251734"/>
              <a:gd name="connsiteY283" fmla="*/ 4798238 h 5808721"/>
              <a:gd name="connsiteX284" fmla="*/ 5149716 w 6251734"/>
              <a:gd name="connsiteY284" fmla="*/ 4681759 h 5808721"/>
              <a:gd name="connsiteX285" fmla="*/ 5092066 w 6251734"/>
              <a:gd name="connsiteY285" fmla="*/ 4696011 h 5808721"/>
              <a:gd name="connsiteX286" fmla="*/ 5076635 w 6251734"/>
              <a:gd name="connsiteY286" fmla="*/ 4804881 h 5808721"/>
              <a:gd name="connsiteX287" fmla="*/ 5185506 w 6251734"/>
              <a:gd name="connsiteY287" fmla="*/ 4822027 h 5808721"/>
              <a:gd name="connsiteX288" fmla="*/ 5200936 w 6251734"/>
              <a:gd name="connsiteY288" fmla="*/ 4713156 h 5808721"/>
              <a:gd name="connsiteX289" fmla="*/ 5149716 w 6251734"/>
              <a:gd name="connsiteY289" fmla="*/ 4681759 h 5808721"/>
              <a:gd name="connsiteX290" fmla="*/ 4961978 w 6251734"/>
              <a:gd name="connsiteY290" fmla="*/ 4656899 h 5808721"/>
              <a:gd name="connsiteX291" fmla="*/ 4900042 w 6251734"/>
              <a:gd name="connsiteY291" fmla="*/ 4672008 h 5808721"/>
              <a:gd name="connsiteX292" fmla="*/ 4882897 w 6251734"/>
              <a:gd name="connsiteY292" fmla="*/ 4789451 h 5808721"/>
              <a:gd name="connsiteX293" fmla="*/ 5000340 w 6251734"/>
              <a:gd name="connsiteY293" fmla="*/ 4807453 h 5808721"/>
              <a:gd name="connsiteX294" fmla="*/ 5017485 w 6251734"/>
              <a:gd name="connsiteY294" fmla="*/ 4690010 h 5808721"/>
              <a:gd name="connsiteX295" fmla="*/ 4961978 w 6251734"/>
              <a:gd name="connsiteY295" fmla="*/ 4656899 h 5808721"/>
              <a:gd name="connsiteX296" fmla="*/ 4998395 w 6251734"/>
              <a:gd name="connsiteY296" fmla="*/ 4598030 h 5808721"/>
              <a:gd name="connsiteX297" fmla="*/ 5114354 w 6251734"/>
              <a:gd name="connsiteY297" fmla="*/ 5410101 h 5808721"/>
              <a:gd name="connsiteX298" fmla="*/ 4811745 w 6251734"/>
              <a:gd name="connsiteY298" fmla="*/ 5421245 h 5808721"/>
              <a:gd name="connsiteX299" fmla="*/ 4821175 w 6251734"/>
              <a:gd name="connsiteY299" fmla="*/ 5069772 h 5808721"/>
              <a:gd name="connsiteX300" fmla="*/ 4906043 w 6251734"/>
              <a:gd name="connsiteY300" fmla="*/ 4620573 h 5808721"/>
              <a:gd name="connsiteX301" fmla="*/ 4998395 w 6251734"/>
              <a:gd name="connsiteY301" fmla="*/ 4598030 h 5808721"/>
              <a:gd name="connsiteX302" fmla="*/ 4274249 w 6251734"/>
              <a:gd name="connsiteY302" fmla="*/ 4584568 h 5808721"/>
              <a:gd name="connsiteX303" fmla="*/ 4374548 w 6251734"/>
              <a:gd name="connsiteY303" fmla="*/ 4755161 h 5808721"/>
              <a:gd name="connsiteX304" fmla="*/ 4257961 w 6251734"/>
              <a:gd name="connsiteY304" fmla="*/ 4835742 h 5808721"/>
              <a:gd name="connsiteX305" fmla="*/ 4411409 w 6251734"/>
              <a:gd name="connsiteY305" fmla="*/ 4762876 h 5808721"/>
              <a:gd name="connsiteX306" fmla="*/ 4274249 w 6251734"/>
              <a:gd name="connsiteY306" fmla="*/ 4584568 h 5808721"/>
              <a:gd name="connsiteX307" fmla="*/ 3351982 w 6251734"/>
              <a:gd name="connsiteY307" fmla="*/ 4540192 h 5808721"/>
              <a:gd name="connsiteX308" fmla="*/ 3423000 w 6251734"/>
              <a:gd name="connsiteY308" fmla="*/ 4575995 h 5808721"/>
              <a:gd name="connsiteX309" fmla="*/ 3655315 w 6251734"/>
              <a:gd name="connsiteY309" fmla="*/ 4575995 h 5808721"/>
              <a:gd name="connsiteX310" fmla="*/ 3655315 w 6251734"/>
              <a:gd name="connsiteY310" fmla="*/ 4916325 h 5808721"/>
              <a:gd name="connsiteX311" fmla="*/ 3417856 w 6251734"/>
              <a:gd name="connsiteY311" fmla="*/ 4918039 h 5808721"/>
              <a:gd name="connsiteX312" fmla="*/ 3190684 w 6251734"/>
              <a:gd name="connsiteY312" fmla="*/ 4914610 h 5808721"/>
              <a:gd name="connsiteX313" fmla="*/ 3190684 w 6251734"/>
              <a:gd name="connsiteY313" fmla="*/ 4575995 h 5808721"/>
              <a:gd name="connsiteX314" fmla="*/ 3351982 w 6251734"/>
              <a:gd name="connsiteY314" fmla="*/ 4540192 h 5808721"/>
              <a:gd name="connsiteX315" fmla="*/ 2448416 w 6251734"/>
              <a:gd name="connsiteY315" fmla="*/ 4421371 h 5808721"/>
              <a:gd name="connsiteX316" fmla="*/ 2457738 w 6251734"/>
              <a:gd name="connsiteY316" fmla="*/ 4427692 h 5808721"/>
              <a:gd name="connsiteX317" fmla="*/ 2484119 w 6251734"/>
              <a:gd name="connsiteY317" fmla="*/ 4467601 h 5808721"/>
              <a:gd name="connsiteX318" fmla="*/ 2494346 w 6251734"/>
              <a:gd name="connsiteY318" fmla="*/ 4463537 h 5808721"/>
              <a:gd name="connsiteX319" fmla="*/ 2578610 w 6251734"/>
              <a:gd name="connsiteY319" fmla="*/ 4499701 h 5808721"/>
              <a:gd name="connsiteX320" fmla="*/ 2590397 w 6251734"/>
              <a:gd name="connsiteY320" fmla="*/ 4561960 h 5808721"/>
              <a:gd name="connsiteX321" fmla="*/ 2583304 w 6251734"/>
              <a:gd name="connsiteY321" fmla="*/ 4578864 h 5808721"/>
              <a:gd name="connsiteX322" fmla="*/ 2600248 w 6251734"/>
              <a:gd name="connsiteY322" fmla="*/ 4591301 h 5808721"/>
              <a:gd name="connsiteX323" fmla="*/ 3017521 w 6251734"/>
              <a:gd name="connsiteY323" fmla="*/ 4906038 h 5808721"/>
              <a:gd name="connsiteX324" fmla="*/ 2910365 w 6251734"/>
              <a:gd name="connsiteY324" fmla="*/ 4886321 h 5808721"/>
              <a:gd name="connsiteX325" fmla="*/ 2580176 w 6251734"/>
              <a:gd name="connsiteY325" fmla="*/ 4648353 h 5808721"/>
              <a:gd name="connsiteX326" fmla="*/ 2571469 w 6251734"/>
              <a:gd name="connsiteY326" fmla="*/ 4642020 h 5808721"/>
              <a:gd name="connsiteX327" fmla="*/ 2632617 w 6251734"/>
              <a:gd name="connsiteY327" fmla="*/ 5059485 h 5808721"/>
              <a:gd name="connsiteX328" fmla="*/ 2611186 w 6251734"/>
              <a:gd name="connsiteY328" fmla="*/ 5161498 h 5808721"/>
              <a:gd name="connsiteX329" fmla="*/ 2574324 w 6251734"/>
              <a:gd name="connsiteY329" fmla="*/ 5065486 h 5808721"/>
              <a:gd name="connsiteX330" fmla="*/ 2504337 w 6251734"/>
              <a:gd name="connsiteY330" fmla="*/ 4626262 h 5808721"/>
              <a:gd name="connsiteX331" fmla="*/ 2492028 w 6251734"/>
              <a:gd name="connsiteY331" fmla="*/ 4626039 h 5808721"/>
              <a:gd name="connsiteX332" fmla="*/ 2439736 w 6251734"/>
              <a:gd name="connsiteY332" fmla="*/ 4590570 h 5808721"/>
              <a:gd name="connsiteX333" fmla="*/ 2440218 w 6251734"/>
              <a:gd name="connsiteY333" fmla="*/ 4499073 h 5808721"/>
              <a:gd name="connsiteX334" fmla="*/ 2457768 w 6251734"/>
              <a:gd name="connsiteY334" fmla="*/ 4481633 h 5808721"/>
              <a:gd name="connsiteX335" fmla="*/ 2432878 w 6251734"/>
              <a:gd name="connsiteY335" fmla="*/ 4443980 h 5808721"/>
              <a:gd name="connsiteX336" fmla="*/ 2437164 w 6251734"/>
              <a:gd name="connsiteY336" fmla="*/ 4423406 h 5808721"/>
              <a:gd name="connsiteX337" fmla="*/ 2448416 w 6251734"/>
              <a:gd name="connsiteY337" fmla="*/ 4421371 h 5808721"/>
              <a:gd name="connsiteX338" fmla="*/ 1177862 w 6251734"/>
              <a:gd name="connsiteY338" fmla="*/ 4374542 h 5808721"/>
              <a:gd name="connsiteX339" fmla="*/ 1272159 w 6251734"/>
              <a:gd name="connsiteY339" fmla="*/ 4609429 h 5808721"/>
              <a:gd name="connsiteX340" fmla="*/ 1177862 w 6251734"/>
              <a:gd name="connsiteY340" fmla="*/ 4374542 h 5808721"/>
              <a:gd name="connsiteX341" fmla="*/ 1102424 w 6251734"/>
              <a:gd name="connsiteY341" fmla="*/ 4309391 h 5808721"/>
              <a:gd name="connsiteX342" fmla="*/ 1108424 w 6251734"/>
              <a:gd name="connsiteY342" fmla="*/ 4309391 h 5808721"/>
              <a:gd name="connsiteX343" fmla="*/ 1109281 w 6251734"/>
              <a:gd name="connsiteY343" fmla="*/ 4309391 h 5808721"/>
              <a:gd name="connsiteX344" fmla="*/ 1115282 w 6251734"/>
              <a:gd name="connsiteY344" fmla="*/ 4309391 h 5808721"/>
              <a:gd name="connsiteX345" fmla="*/ 1276445 w 6251734"/>
              <a:gd name="connsiteY345" fmla="*/ 4720014 h 5808721"/>
              <a:gd name="connsiteX346" fmla="*/ 1193292 w 6251734"/>
              <a:gd name="connsiteY346" fmla="*/ 4900894 h 5808721"/>
              <a:gd name="connsiteX347" fmla="*/ 1121283 w 6251734"/>
              <a:gd name="connsiteY347" fmla="*/ 4900894 h 5808721"/>
              <a:gd name="connsiteX348" fmla="*/ 1108424 w 6251734"/>
              <a:gd name="connsiteY348" fmla="*/ 4900894 h 5808721"/>
              <a:gd name="connsiteX349" fmla="*/ 1030415 w 6251734"/>
              <a:gd name="connsiteY349" fmla="*/ 4900894 h 5808721"/>
              <a:gd name="connsiteX350" fmla="*/ 944690 w 6251734"/>
              <a:gd name="connsiteY350" fmla="*/ 4720014 h 5808721"/>
              <a:gd name="connsiteX351" fmla="*/ 1102424 w 6251734"/>
              <a:gd name="connsiteY351" fmla="*/ 4309391 h 5808721"/>
              <a:gd name="connsiteX352" fmla="*/ 4160235 w 6251734"/>
              <a:gd name="connsiteY352" fmla="*/ 4161086 h 5808721"/>
              <a:gd name="connsiteX353" fmla="*/ 4264820 w 6251734"/>
              <a:gd name="connsiteY353" fmla="*/ 4201377 h 5808721"/>
              <a:gd name="connsiteX354" fmla="*/ 4264820 w 6251734"/>
              <a:gd name="connsiteY354" fmla="*/ 4203949 h 5808721"/>
              <a:gd name="connsiteX355" fmla="*/ 4269106 w 6251734"/>
              <a:gd name="connsiteY355" fmla="*/ 4203949 h 5808721"/>
              <a:gd name="connsiteX356" fmla="*/ 4269106 w 6251734"/>
              <a:gd name="connsiteY356" fmla="*/ 4279387 h 5808721"/>
              <a:gd name="connsiteX357" fmla="*/ 4264820 w 6251734"/>
              <a:gd name="connsiteY357" fmla="*/ 4279387 h 5808721"/>
              <a:gd name="connsiteX358" fmla="*/ 4247675 w 6251734"/>
              <a:gd name="connsiteY358" fmla="*/ 4301676 h 5808721"/>
              <a:gd name="connsiteX359" fmla="*/ 4247675 w 6251734"/>
              <a:gd name="connsiteY359" fmla="*/ 4473126 h 5808721"/>
              <a:gd name="connsiteX360" fmla="*/ 4263962 w 6251734"/>
              <a:gd name="connsiteY360" fmla="*/ 4515131 h 5808721"/>
              <a:gd name="connsiteX361" fmla="*/ 4425983 w 6251734"/>
              <a:gd name="connsiteY361" fmla="*/ 4833171 h 5808721"/>
              <a:gd name="connsiteX362" fmla="*/ 4161091 w 6251734"/>
              <a:gd name="connsiteY362" fmla="*/ 4891464 h 5808721"/>
              <a:gd name="connsiteX363" fmla="*/ 3896201 w 6251734"/>
              <a:gd name="connsiteY363" fmla="*/ 4833171 h 5808721"/>
              <a:gd name="connsiteX364" fmla="*/ 4062507 w 6251734"/>
              <a:gd name="connsiteY364" fmla="*/ 4515131 h 5808721"/>
              <a:gd name="connsiteX365" fmla="*/ 4085653 w 6251734"/>
              <a:gd name="connsiteY365" fmla="*/ 4473126 h 5808721"/>
              <a:gd name="connsiteX366" fmla="*/ 4085653 w 6251734"/>
              <a:gd name="connsiteY366" fmla="*/ 4302533 h 5808721"/>
              <a:gd name="connsiteX367" fmla="*/ 4055650 w 6251734"/>
              <a:gd name="connsiteY367" fmla="*/ 4279387 h 5808721"/>
              <a:gd name="connsiteX368" fmla="*/ 4053935 w 6251734"/>
              <a:gd name="connsiteY368" fmla="*/ 4279387 h 5808721"/>
              <a:gd name="connsiteX369" fmla="*/ 4053935 w 6251734"/>
              <a:gd name="connsiteY369" fmla="*/ 4203949 h 5808721"/>
              <a:gd name="connsiteX370" fmla="*/ 4055650 w 6251734"/>
              <a:gd name="connsiteY370" fmla="*/ 4203949 h 5808721"/>
              <a:gd name="connsiteX371" fmla="*/ 4055650 w 6251734"/>
              <a:gd name="connsiteY371" fmla="*/ 4201377 h 5808721"/>
              <a:gd name="connsiteX372" fmla="*/ 4160235 w 6251734"/>
              <a:gd name="connsiteY372" fmla="*/ 4161086 h 5808721"/>
              <a:gd name="connsiteX373" fmla="*/ 1690622 w 6251734"/>
              <a:gd name="connsiteY373" fmla="*/ 3905928 h 5808721"/>
              <a:gd name="connsiteX374" fmla="*/ 1557624 w 6251734"/>
              <a:gd name="connsiteY374" fmla="*/ 3959633 h 5808721"/>
              <a:gd name="connsiteX375" fmla="*/ 1521619 w 6251734"/>
              <a:gd name="connsiteY375" fmla="*/ 4304248 h 5808721"/>
              <a:gd name="connsiteX376" fmla="*/ 1866235 w 6251734"/>
              <a:gd name="connsiteY376" fmla="*/ 4340253 h 5808721"/>
              <a:gd name="connsiteX377" fmla="*/ 1902239 w 6251734"/>
              <a:gd name="connsiteY377" fmla="*/ 3995637 h 5808721"/>
              <a:gd name="connsiteX378" fmla="*/ 1690622 w 6251734"/>
              <a:gd name="connsiteY378" fmla="*/ 3905928 h 5808721"/>
              <a:gd name="connsiteX379" fmla="*/ 1684921 w 6251734"/>
              <a:gd name="connsiteY379" fmla="*/ 3849926 h 5808721"/>
              <a:gd name="connsiteX380" fmla="*/ 1945102 w 6251734"/>
              <a:gd name="connsiteY380" fmla="*/ 3960490 h 5808721"/>
              <a:gd name="connsiteX381" fmla="*/ 1944751 w 6251734"/>
              <a:gd name="connsiteY381" fmla="*/ 4341023 h 5808721"/>
              <a:gd name="connsiteX382" fmla="*/ 1930222 w 6251734"/>
              <a:gd name="connsiteY382" fmla="*/ 4355411 h 5808721"/>
              <a:gd name="connsiteX383" fmla="*/ 1980119 w 6251734"/>
              <a:gd name="connsiteY383" fmla="*/ 4416919 h 5808721"/>
              <a:gd name="connsiteX384" fmla="*/ 1986891 w 6251734"/>
              <a:gd name="connsiteY384" fmla="*/ 4416333 h 5808721"/>
              <a:gd name="connsiteX385" fmla="*/ 2030826 w 6251734"/>
              <a:gd name="connsiteY385" fmla="*/ 4439693 h 5808721"/>
              <a:gd name="connsiteX386" fmla="*/ 2204848 w 6251734"/>
              <a:gd name="connsiteY386" fmla="*/ 4654864 h 5808721"/>
              <a:gd name="connsiteX387" fmla="*/ 2195418 w 6251734"/>
              <a:gd name="connsiteY387" fmla="*/ 4746590 h 5808721"/>
              <a:gd name="connsiteX388" fmla="*/ 2103692 w 6251734"/>
              <a:gd name="connsiteY388" fmla="*/ 4737160 h 5808721"/>
              <a:gd name="connsiteX389" fmla="*/ 1929670 w 6251734"/>
              <a:gd name="connsiteY389" fmla="*/ 4521990 h 5808721"/>
              <a:gd name="connsiteX390" fmla="*/ 1915740 w 6251734"/>
              <a:gd name="connsiteY390" fmla="*/ 4474198 h 5808721"/>
              <a:gd name="connsiteX391" fmla="*/ 1917360 w 6251734"/>
              <a:gd name="connsiteY391" fmla="*/ 4468826 h 5808721"/>
              <a:gd name="connsiteX392" fmla="*/ 1866912 w 6251734"/>
              <a:gd name="connsiteY392" fmla="*/ 4406639 h 5808721"/>
              <a:gd name="connsiteX393" fmla="*/ 1850557 w 6251734"/>
              <a:gd name="connsiteY393" fmla="*/ 4417393 h 5808721"/>
              <a:gd name="connsiteX394" fmla="*/ 1477899 w 6251734"/>
              <a:gd name="connsiteY394" fmla="*/ 4339396 h 5808721"/>
              <a:gd name="connsiteX395" fmla="*/ 1521619 w 6251734"/>
              <a:gd name="connsiteY395" fmla="*/ 3915913 h 5808721"/>
              <a:gd name="connsiteX396" fmla="*/ 1684921 w 6251734"/>
              <a:gd name="connsiteY396" fmla="*/ 3849926 h 5808721"/>
              <a:gd name="connsiteX397" fmla="*/ 812246 w 6251734"/>
              <a:gd name="connsiteY397" fmla="*/ 3781539 h 5808721"/>
              <a:gd name="connsiteX398" fmla="*/ 822961 w 6251734"/>
              <a:gd name="connsiteY398" fmla="*/ 3785611 h 5808721"/>
              <a:gd name="connsiteX399" fmla="*/ 823818 w 6251734"/>
              <a:gd name="connsiteY399" fmla="*/ 3807042 h 5808721"/>
              <a:gd name="connsiteX400" fmla="*/ 792194 w 6251734"/>
              <a:gd name="connsiteY400" fmla="*/ 3842032 h 5808721"/>
              <a:gd name="connsiteX401" fmla="*/ 798502 w 6251734"/>
              <a:gd name="connsiteY401" fmla="*/ 3850722 h 5808721"/>
              <a:gd name="connsiteX402" fmla="*/ 785241 w 6251734"/>
              <a:gd name="connsiteY402" fmla="*/ 3940773 h 5808721"/>
              <a:gd name="connsiteX403" fmla="*/ 727912 w 6251734"/>
              <a:gd name="connsiteY403" fmla="*/ 3967562 h 5808721"/>
              <a:gd name="connsiteX404" fmla="*/ 709923 w 6251734"/>
              <a:gd name="connsiteY404" fmla="*/ 3965051 h 5808721"/>
              <a:gd name="connsiteX405" fmla="*/ 701209 w 6251734"/>
              <a:gd name="connsiteY405" fmla="*/ 3986914 h 5808721"/>
              <a:gd name="connsiteX406" fmla="*/ 501492 w 6251734"/>
              <a:gd name="connsiteY406" fmla="*/ 4469697 h 5808721"/>
              <a:gd name="connsiteX407" fmla="*/ 493776 w 6251734"/>
              <a:gd name="connsiteY407" fmla="*/ 4360826 h 5808721"/>
              <a:gd name="connsiteX408" fmla="*/ 640969 w 6251734"/>
              <a:gd name="connsiteY408" fmla="*/ 3980729 h 5808721"/>
              <a:gd name="connsiteX409" fmla="*/ 644840 w 6251734"/>
              <a:gd name="connsiteY409" fmla="*/ 3970847 h 5808721"/>
              <a:gd name="connsiteX410" fmla="*/ 257175 w 6251734"/>
              <a:gd name="connsiteY410" fmla="*/ 4134512 h 5808721"/>
              <a:gd name="connsiteX411" fmla="*/ 152590 w 6251734"/>
              <a:gd name="connsiteY411" fmla="*/ 4139655 h 5808721"/>
              <a:gd name="connsiteX412" fmla="*/ 236601 w 6251734"/>
              <a:gd name="connsiteY412" fmla="*/ 4079647 h 5808721"/>
              <a:gd name="connsiteX413" fmla="*/ 644257 w 6251734"/>
              <a:gd name="connsiteY413" fmla="*/ 3901600 h 5808721"/>
              <a:gd name="connsiteX414" fmla="*/ 641223 w 6251734"/>
              <a:gd name="connsiteY414" fmla="*/ 3889445 h 5808721"/>
              <a:gd name="connsiteX415" fmla="*/ 662654 w 6251734"/>
              <a:gd name="connsiteY415" fmla="*/ 3830188 h 5808721"/>
              <a:gd name="connsiteX416" fmla="*/ 719983 w 6251734"/>
              <a:gd name="connsiteY416" fmla="*/ 3802756 h 5808721"/>
              <a:gd name="connsiteX417" fmla="*/ 751260 w 6251734"/>
              <a:gd name="connsiteY417" fmla="*/ 3807283 h 5808721"/>
              <a:gd name="connsiteX418" fmla="*/ 771606 w 6251734"/>
              <a:gd name="connsiteY418" fmla="*/ 3819575 h 5808721"/>
              <a:gd name="connsiteX419" fmla="*/ 801530 w 6251734"/>
              <a:gd name="connsiteY419" fmla="*/ 3786468 h 5808721"/>
              <a:gd name="connsiteX420" fmla="*/ 812246 w 6251734"/>
              <a:gd name="connsiteY420" fmla="*/ 3781539 h 5808721"/>
              <a:gd name="connsiteX421" fmla="*/ 5496913 w 6251734"/>
              <a:gd name="connsiteY421" fmla="*/ 3702672 h 5808721"/>
              <a:gd name="connsiteX422" fmla="*/ 5456397 w 6251734"/>
              <a:gd name="connsiteY422" fmla="*/ 3737606 h 5808721"/>
              <a:gd name="connsiteX423" fmla="*/ 5490901 w 6251734"/>
              <a:gd name="connsiteY423" fmla="*/ 3706745 h 5808721"/>
              <a:gd name="connsiteX424" fmla="*/ 5797583 w 6251734"/>
              <a:gd name="connsiteY424" fmla="*/ 3639879 h 5808721"/>
              <a:gd name="connsiteX425" fmla="*/ 5805112 w 6251734"/>
              <a:gd name="connsiteY425" fmla="*/ 3642965 h 5808721"/>
              <a:gd name="connsiteX426" fmla="*/ 5820840 w 6251734"/>
              <a:gd name="connsiteY426" fmla="*/ 3650383 h 5808721"/>
              <a:gd name="connsiteX427" fmla="*/ 5699857 w 6251734"/>
              <a:gd name="connsiteY427" fmla="*/ 3627877 h 5808721"/>
              <a:gd name="connsiteX428" fmla="*/ 5704143 w 6251734"/>
              <a:gd name="connsiteY428" fmla="*/ 3631306 h 5808721"/>
              <a:gd name="connsiteX429" fmla="*/ 5699857 w 6251734"/>
              <a:gd name="connsiteY429" fmla="*/ 3638164 h 5808721"/>
              <a:gd name="connsiteX430" fmla="*/ 5703285 w 6251734"/>
              <a:gd name="connsiteY430" fmla="*/ 3639022 h 5808721"/>
              <a:gd name="connsiteX431" fmla="*/ 5717002 w 6251734"/>
              <a:gd name="connsiteY431" fmla="*/ 3648451 h 5808721"/>
              <a:gd name="connsiteX432" fmla="*/ 5698999 w 6251734"/>
              <a:gd name="connsiteY432" fmla="*/ 3652738 h 5808721"/>
              <a:gd name="connsiteX433" fmla="*/ 5677567 w 6251734"/>
              <a:gd name="connsiteY433" fmla="*/ 3646737 h 5808721"/>
              <a:gd name="connsiteX434" fmla="*/ 5656993 w 6251734"/>
              <a:gd name="connsiteY434" fmla="*/ 3664739 h 5808721"/>
              <a:gd name="connsiteX435" fmla="*/ 5645849 w 6251734"/>
              <a:gd name="connsiteY435" fmla="*/ 3681027 h 5808721"/>
              <a:gd name="connsiteX436" fmla="*/ 5656136 w 6251734"/>
              <a:gd name="connsiteY436" fmla="*/ 3687028 h 5808721"/>
              <a:gd name="connsiteX437" fmla="*/ 5665566 w 6251734"/>
              <a:gd name="connsiteY437" fmla="*/ 3687885 h 5808721"/>
              <a:gd name="connsiteX438" fmla="*/ 5689569 w 6251734"/>
              <a:gd name="connsiteY438" fmla="*/ 3683599 h 5808721"/>
              <a:gd name="connsiteX439" fmla="*/ 5695569 w 6251734"/>
              <a:gd name="connsiteY439" fmla="*/ 3698172 h 5808721"/>
              <a:gd name="connsiteX440" fmla="*/ 5717859 w 6251734"/>
              <a:gd name="connsiteY440" fmla="*/ 3709316 h 5808721"/>
              <a:gd name="connsiteX441" fmla="*/ 5730718 w 6251734"/>
              <a:gd name="connsiteY441" fmla="*/ 3723889 h 5808721"/>
              <a:gd name="connsiteX442" fmla="*/ 5715287 w 6251734"/>
              <a:gd name="connsiteY442" fmla="*/ 3734176 h 5808721"/>
              <a:gd name="connsiteX443" fmla="*/ 5699857 w 6251734"/>
              <a:gd name="connsiteY443" fmla="*/ 3744463 h 5808721"/>
              <a:gd name="connsiteX444" fmla="*/ 5705857 w 6251734"/>
              <a:gd name="connsiteY444" fmla="*/ 3753893 h 5808721"/>
              <a:gd name="connsiteX445" fmla="*/ 5722145 w 6251734"/>
              <a:gd name="connsiteY445" fmla="*/ 3750464 h 5808721"/>
              <a:gd name="connsiteX446" fmla="*/ 5729003 w 6251734"/>
              <a:gd name="connsiteY446" fmla="*/ 3748750 h 5808721"/>
              <a:gd name="connsiteX447" fmla="*/ 5747863 w 6251734"/>
              <a:gd name="connsiteY447" fmla="*/ 3745321 h 5808721"/>
              <a:gd name="connsiteX448" fmla="*/ 5750435 w 6251734"/>
              <a:gd name="connsiteY448" fmla="*/ 3742749 h 5808721"/>
              <a:gd name="connsiteX449" fmla="*/ 5760722 w 6251734"/>
              <a:gd name="connsiteY449" fmla="*/ 3738463 h 5808721"/>
              <a:gd name="connsiteX450" fmla="*/ 5794154 w 6251734"/>
              <a:gd name="connsiteY450" fmla="*/ 3741892 h 5808721"/>
              <a:gd name="connsiteX451" fmla="*/ 5806156 w 6251734"/>
              <a:gd name="connsiteY451" fmla="*/ 3753036 h 5808721"/>
              <a:gd name="connsiteX452" fmla="*/ 5810442 w 6251734"/>
              <a:gd name="connsiteY452" fmla="*/ 3749607 h 5808721"/>
              <a:gd name="connsiteX453" fmla="*/ 5814728 w 6251734"/>
              <a:gd name="connsiteY453" fmla="*/ 3733319 h 5808721"/>
              <a:gd name="connsiteX454" fmla="*/ 5825015 w 6251734"/>
              <a:gd name="connsiteY454" fmla="*/ 3737606 h 5808721"/>
              <a:gd name="connsiteX455" fmla="*/ 5849018 w 6251734"/>
              <a:gd name="connsiteY455" fmla="*/ 3723032 h 5808721"/>
              <a:gd name="connsiteX456" fmla="*/ 5861877 w 6251734"/>
              <a:gd name="connsiteY456" fmla="*/ 3731605 h 5808721"/>
              <a:gd name="connsiteX457" fmla="*/ 5856733 w 6251734"/>
              <a:gd name="connsiteY457" fmla="*/ 3746178 h 5808721"/>
              <a:gd name="connsiteX458" fmla="*/ 5844732 w 6251734"/>
              <a:gd name="connsiteY458" fmla="*/ 3741034 h 5808721"/>
              <a:gd name="connsiteX459" fmla="*/ 5828444 w 6251734"/>
              <a:gd name="connsiteY459" fmla="*/ 3754751 h 5808721"/>
              <a:gd name="connsiteX460" fmla="*/ 5831016 w 6251734"/>
              <a:gd name="connsiteY460" fmla="*/ 3761608 h 5808721"/>
              <a:gd name="connsiteX461" fmla="*/ 5847304 w 6251734"/>
              <a:gd name="connsiteY461" fmla="*/ 3761608 h 5808721"/>
              <a:gd name="connsiteX462" fmla="*/ 5861877 w 6251734"/>
              <a:gd name="connsiteY462" fmla="*/ 3765895 h 5808721"/>
              <a:gd name="connsiteX463" fmla="*/ 5863592 w 6251734"/>
              <a:gd name="connsiteY463" fmla="*/ 3771896 h 5808721"/>
              <a:gd name="connsiteX464" fmla="*/ 5877308 w 6251734"/>
              <a:gd name="connsiteY464" fmla="*/ 3777039 h 5808721"/>
              <a:gd name="connsiteX465" fmla="*/ 5877308 w 6251734"/>
              <a:gd name="connsiteY465" fmla="*/ 3786469 h 5808721"/>
              <a:gd name="connsiteX466" fmla="*/ 5871307 w 6251734"/>
              <a:gd name="connsiteY466" fmla="*/ 3784754 h 5808721"/>
              <a:gd name="connsiteX467" fmla="*/ 5859305 w 6251734"/>
              <a:gd name="connsiteY467" fmla="*/ 3787326 h 5808721"/>
              <a:gd name="connsiteX468" fmla="*/ 5847304 w 6251734"/>
              <a:gd name="connsiteY468" fmla="*/ 3789898 h 5808721"/>
              <a:gd name="connsiteX469" fmla="*/ 5824158 w 6251734"/>
              <a:gd name="connsiteY469" fmla="*/ 3786469 h 5808721"/>
              <a:gd name="connsiteX470" fmla="*/ 5813871 w 6251734"/>
              <a:gd name="connsiteY470" fmla="*/ 3796756 h 5808721"/>
              <a:gd name="connsiteX471" fmla="*/ 5807013 w 6251734"/>
              <a:gd name="connsiteY471" fmla="*/ 3796756 h 5808721"/>
              <a:gd name="connsiteX472" fmla="*/ 5793297 w 6251734"/>
              <a:gd name="connsiteY472" fmla="*/ 3791612 h 5808721"/>
              <a:gd name="connsiteX473" fmla="*/ 5781295 w 6251734"/>
              <a:gd name="connsiteY473" fmla="*/ 3787326 h 5808721"/>
              <a:gd name="connsiteX474" fmla="*/ 5771866 w 6251734"/>
              <a:gd name="connsiteY474" fmla="*/ 3786469 h 5808721"/>
              <a:gd name="connsiteX475" fmla="*/ 5767580 w 6251734"/>
              <a:gd name="connsiteY475" fmla="*/ 3768466 h 5808721"/>
              <a:gd name="connsiteX476" fmla="*/ 5762436 w 6251734"/>
              <a:gd name="connsiteY476" fmla="*/ 3767609 h 5808721"/>
              <a:gd name="connsiteX477" fmla="*/ 5755578 w 6251734"/>
              <a:gd name="connsiteY477" fmla="*/ 3765895 h 5808721"/>
              <a:gd name="connsiteX478" fmla="*/ 5742719 w 6251734"/>
              <a:gd name="connsiteY478" fmla="*/ 3768466 h 5808721"/>
              <a:gd name="connsiteX479" fmla="*/ 5734147 w 6251734"/>
              <a:gd name="connsiteY479" fmla="*/ 3769324 h 5808721"/>
              <a:gd name="connsiteX480" fmla="*/ 5721288 w 6251734"/>
              <a:gd name="connsiteY480" fmla="*/ 3771896 h 5808721"/>
              <a:gd name="connsiteX481" fmla="*/ 5712715 w 6251734"/>
              <a:gd name="connsiteY481" fmla="*/ 3772753 h 5808721"/>
              <a:gd name="connsiteX482" fmla="*/ 5698999 w 6251734"/>
              <a:gd name="connsiteY482" fmla="*/ 3784754 h 5808721"/>
              <a:gd name="connsiteX483" fmla="*/ 5679282 w 6251734"/>
              <a:gd name="connsiteY483" fmla="*/ 3791612 h 5808721"/>
              <a:gd name="connsiteX484" fmla="*/ 5671567 w 6251734"/>
              <a:gd name="connsiteY484" fmla="*/ 3795898 h 5808721"/>
              <a:gd name="connsiteX485" fmla="*/ 5663851 w 6251734"/>
              <a:gd name="connsiteY485" fmla="*/ 3808757 h 5808721"/>
              <a:gd name="connsiteX486" fmla="*/ 5644134 w 6251734"/>
              <a:gd name="connsiteY486" fmla="*/ 3830188 h 5808721"/>
              <a:gd name="connsiteX487" fmla="*/ 5646706 w 6251734"/>
              <a:gd name="connsiteY487" fmla="*/ 3858478 h 5808721"/>
              <a:gd name="connsiteX488" fmla="*/ 5641563 w 6251734"/>
              <a:gd name="connsiteY488" fmla="*/ 3873051 h 5808721"/>
              <a:gd name="connsiteX489" fmla="*/ 5636419 w 6251734"/>
              <a:gd name="connsiteY489" fmla="*/ 3885052 h 5808721"/>
              <a:gd name="connsiteX490" fmla="*/ 5644992 w 6251734"/>
              <a:gd name="connsiteY490" fmla="*/ 3894482 h 5808721"/>
              <a:gd name="connsiteX491" fmla="*/ 5650135 w 6251734"/>
              <a:gd name="connsiteY491" fmla="*/ 3900483 h 5808721"/>
              <a:gd name="connsiteX492" fmla="*/ 5652707 w 6251734"/>
              <a:gd name="connsiteY492" fmla="*/ 3912484 h 5808721"/>
              <a:gd name="connsiteX493" fmla="*/ 5662137 w 6251734"/>
              <a:gd name="connsiteY493" fmla="*/ 3920200 h 5808721"/>
              <a:gd name="connsiteX494" fmla="*/ 5668995 w 6251734"/>
              <a:gd name="connsiteY494" fmla="*/ 3931344 h 5808721"/>
              <a:gd name="connsiteX495" fmla="*/ 5680139 w 6251734"/>
              <a:gd name="connsiteY495" fmla="*/ 3937345 h 5808721"/>
              <a:gd name="connsiteX496" fmla="*/ 5707571 w 6251734"/>
              <a:gd name="connsiteY496" fmla="*/ 3938202 h 5808721"/>
              <a:gd name="connsiteX497" fmla="*/ 5726432 w 6251734"/>
              <a:gd name="connsiteY497" fmla="*/ 3935630 h 5808721"/>
              <a:gd name="connsiteX498" fmla="*/ 5746148 w 6251734"/>
              <a:gd name="connsiteY498" fmla="*/ 3929629 h 5808721"/>
              <a:gd name="connsiteX499" fmla="*/ 5757293 w 6251734"/>
              <a:gd name="connsiteY499" fmla="*/ 3928772 h 5808721"/>
              <a:gd name="connsiteX500" fmla="*/ 5765008 w 6251734"/>
              <a:gd name="connsiteY500" fmla="*/ 3939916 h 5808721"/>
              <a:gd name="connsiteX501" fmla="*/ 5776152 w 6251734"/>
              <a:gd name="connsiteY501" fmla="*/ 3937345 h 5808721"/>
              <a:gd name="connsiteX502" fmla="*/ 5792440 w 6251734"/>
              <a:gd name="connsiteY502" fmla="*/ 3944203 h 5808721"/>
              <a:gd name="connsiteX503" fmla="*/ 5789011 w 6251734"/>
              <a:gd name="connsiteY503" fmla="*/ 3960491 h 5808721"/>
              <a:gd name="connsiteX504" fmla="*/ 5789011 w 6251734"/>
              <a:gd name="connsiteY504" fmla="*/ 3966491 h 5808721"/>
              <a:gd name="connsiteX505" fmla="*/ 5790725 w 6251734"/>
              <a:gd name="connsiteY505" fmla="*/ 3988780 h 5808721"/>
              <a:gd name="connsiteX506" fmla="*/ 5798440 w 6251734"/>
              <a:gd name="connsiteY506" fmla="*/ 3999924 h 5808721"/>
              <a:gd name="connsiteX507" fmla="*/ 5803584 w 6251734"/>
              <a:gd name="connsiteY507" fmla="*/ 4007639 h 5808721"/>
              <a:gd name="connsiteX508" fmla="*/ 5812157 w 6251734"/>
              <a:gd name="connsiteY508" fmla="*/ 4020498 h 5808721"/>
              <a:gd name="connsiteX509" fmla="*/ 5814728 w 6251734"/>
              <a:gd name="connsiteY509" fmla="*/ 4032499 h 5808721"/>
              <a:gd name="connsiteX510" fmla="*/ 5803584 w 6251734"/>
              <a:gd name="connsiteY510" fmla="*/ 4044501 h 5808721"/>
              <a:gd name="connsiteX511" fmla="*/ 5798440 w 6251734"/>
              <a:gd name="connsiteY511" fmla="*/ 4060789 h 5808721"/>
              <a:gd name="connsiteX512" fmla="*/ 5794154 w 6251734"/>
              <a:gd name="connsiteY512" fmla="*/ 4071075 h 5808721"/>
              <a:gd name="connsiteX513" fmla="*/ 5801012 w 6251734"/>
              <a:gd name="connsiteY513" fmla="*/ 4081363 h 5808721"/>
              <a:gd name="connsiteX514" fmla="*/ 5811299 w 6251734"/>
              <a:gd name="connsiteY514" fmla="*/ 4094221 h 5808721"/>
              <a:gd name="connsiteX515" fmla="*/ 5813871 w 6251734"/>
              <a:gd name="connsiteY515" fmla="*/ 4106223 h 5808721"/>
              <a:gd name="connsiteX516" fmla="*/ 5813871 w 6251734"/>
              <a:gd name="connsiteY516" fmla="*/ 4115653 h 5808721"/>
              <a:gd name="connsiteX517" fmla="*/ 5819015 w 6251734"/>
              <a:gd name="connsiteY517" fmla="*/ 4127654 h 5808721"/>
              <a:gd name="connsiteX518" fmla="*/ 5825873 w 6251734"/>
              <a:gd name="connsiteY518" fmla="*/ 4143942 h 5808721"/>
              <a:gd name="connsiteX519" fmla="*/ 5830159 w 6251734"/>
              <a:gd name="connsiteY519" fmla="*/ 4143942 h 5808721"/>
              <a:gd name="connsiteX520" fmla="*/ 5848161 w 6251734"/>
              <a:gd name="connsiteY520" fmla="*/ 4136227 h 5808721"/>
              <a:gd name="connsiteX521" fmla="*/ 5870450 w 6251734"/>
              <a:gd name="connsiteY521" fmla="*/ 4126797 h 5808721"/>
              <a:gd name="connsiteX522" fmla="*/ 5873878 w 6251734"/>
              <a:gd name="connsiteY522" fmla="*/ 4117367 h 5808721"/>
              <a:gd name="connsiteX523" fmla="*/ 5888452 w 6251734"/>
              <a:gd name="connsiteY523" fmla="*/ 4105365 h 5808721"/>
              <a:gd name="connsiteX524" fmla="*/ 5900453 w 6251734"/>
              <a:gd name="connsiteY524" fmla="*/ 4087363 h 5808721"/>
              <a:gd name="connsiteX525" fmla="*/ 5900453 w 6251734"/>
              <a:gd name="connsiteY525" fmla="*/ 4075362 h 5808721"/>
              <a:gd name="connsiteX526" fmla="*/ 5911598 w 6251734"/>
              <a:gd name="connsiteY526" fmla="*/ 4071933 h 5808721"/>
              <a:gd name="connsiteX527" fmla="*/ 5915884 w 6251734"/>
              <a:gd name="connsiteY527" fmla="*/ 4064218 h 5808721"/>
              <a:gd name="connsiteX528" fmla="*/ 5929600 w 6251734"/>
              <a:gd name="connsiteY528" fmla="*/ 4051359 h 5808721"/>
              <a:gd name="connsiteX529" fmla="*/ 5924456 w 6251734"/>
              <a:gd name="connsiteY529" fmla="*/ 4039358 h 5808721"/>
              <a:gd name="connsiteX530" fmla="*/ 5934743 w 6251734"/>
              <a:gd name="connsiteY530" fmla="*/ 4027356 h 5808721"/>
              <a:gd name="connsiteX531" fmla="*/ 5933886 w 6251734"/>
              <a:gd name="connsiteY531" fmla="*/ 4005925 h 5808721"/>
              <a:gd name="connsiteX532" fmla="*/ 5933886 w 6251734"/>
              <a:gd name="connsiteY532" fmla="*/ 3991351 h 5808721"/>
              <a:gd name="connsiteX533" fmla="*/ 5940744 w 6251734"/>
              <a:gd name="connsiteY533" fmla="*/ 3982779 h 5808721"/>
              <a:gd name="connsiteX534" fmla="*/ 5944173 w 6251734"/>
              <a:gd name="connsiteY534" fmla="*/ 3965634 h 5808721"/>
              <a:gd name="connsiteX535" fmla="*/ 5955317 w 6251734"/>
              <a:gd name="connsiteY535" fmla="*/ 3953632 h 5808721"/>
              <a:gd name="connsiteX536" fmla="*/ 5958746 w 6251734"/>
              <a:gd name="connsiteY536" fmla="*/ 3930487 h 5808721"/>
              <a:gd name="connsiteX537" fmla="*/ 5965604 w 6251734"/>
              <a:gd name="connsiteY537" fmla="*/ 3917628 h 5808721"/>
              <a:gd name="connsiteX538" fmla="*/ 5968176 w 6251734"/>
              <a:gd name="connsiteY538" fmla="*/ 3902197 h 5808721"/>
              <a:gd name="connsiteX539" fmla="*/ 5961318 w 6251734"/>
              <a:gd name="connsiteY539" fmla="*/ 3894482 h 5808721"/>
              <a:gd name="connsiteX540" fmla="*/ 5949317 w 6251734"/>
              <a:gd name="connsiteY540" fmla="*/ 3897054 h 5808721"/>
              <a:gd name="connsiteX541" fmla="*/ 5942458 w 6251734"/>
              <a:gd name="connsiteY541" fmla="*/ 3898768 h 5808721"/>
              <a:gd name="connsiteX542" fmla="*/ 5933029 w 6251734"/>
              <a:gd name="connsiteY542" fmla="*/ 3895339 h 5808721"/>
              <a:gd name="connsiteX543" fmla="*/ 5933029 w 6251734"/>
              <a:gd name="connsiteY543" fmla="*/ 3884195 h 5808721"/>
              <a:gd name="connsiteX544" fmla="*/ 5921885 w 6251734"/>
              <a:gd name="connsiteY544" fmla="*/ 3879909 h 5808721"/>
              <a:gd name="connsiteX545" fmla="*/ 5915884 w 6251734"/>
              <a:gd name="connsiteY545" fmla="*/ 3867050 h 5808721"/>
              <a:gd name="connsiteX546" fmla="*/ 5909883 w 6251734"/>
              <a:gd name="connsiteY546" fmla="*/ 3855049 h 5808721"/>
              <a:gd name="connsiteX547" fmla="*/ 5900453 w 6251734"/>
              <a:gd name="connsiteY547" fmla="*/ 3850762 h 5808721"/>
              <a:gd name="connsiteX548" fmla="*/ 5897024 w 6251734"/>
              <a:gd name="connsiteY548" fmla="*/ 3833617 h 5808721"/>
              <a:gd name="connsiteX549" fmla="*/ 5906454 w 6251734"/>
              <a:gd name="connsiteY549" fmla="*/ 3830188 h 5808721"/>
              <a:gd name="connsiteX550" fmla="*/ 5912455 w 6251734"/>
              <a:gd name="connsiteY550" fmla="*/ 3835332 h 5808721"/>
              <a:gd name="connsiteX551" fmla="*/ 5918455 w 6251734"/>
              <a:gd name="connsiteY551" fmla="*/ 3845619 h 5808721"/>
              <a:gd name="connsiteX552" fmla="*/ 5921027 w 6251734"/>
              <a:gd name="connsiteY552" fmla="*/ 3858478 h 5808721"/>
              <a:gd name="connsiteX553" fmla="*/ 5935600 w 6251734"/>
              <a:gd name="connsiteY553" fmla="*/ 3867907 h 5808721"/>
              <a:gd name="connsiteX554" fmla="*/ 5944173 w 6251734"/>
              <a:gd name="connsiteY554" fmla="*/ 3879052 h 5808721"/>
              <a:gd name="connsiteX555" fmla="*/ 5964747 w 6251734"/>
              <a:gd name="connsiteY555" fmla="*/ 3874766 h 5808721"/>
              <a:gd name="connsiteX556" fmla="*/ 5969033 w 6251734"/>
              <a:gd name="connsiteY556" fmla="*/ 3863621 h 5808721"/>
              <a:gd name="connsiteX557" fmla="*/ 5972462 w 6251734"/>
              <a:gd name="connsiteY557" fmla="*/ 3851620 h 5808721"/>
              <a:gd name="connsiteX558" fmla="*/ 5968176 w 6251734"/>
              <a:gd name="connsiteY558" fmla="*/ 3837046 h 5808721"/>
              <a:gd name="connsiteX559" fmla="*/ 5968176 w 6251734"/>
              <a:gd name="connsiteY559" fmla="*/ 3825045 h 5808721"/>
              <a:gd name="connsiteX560" fmla="*/ 5963890 w 6251734"/>
              <a:gd name="connsiteY560" fmla="*/ 3814758 h 5808721"/>
              <a:gd name="connsiteX561" fmla="*/ 5967319 w 6251734"/>
              <a:gd name="connsiteY561" fmla="*/ 3815615 h 5808721"/>
              <a:gd name="connsiteX562" fmla="*/ 5979320 w 6251734"/>
              <a:gd name="connsiteY562" fmla="*/ 3819901 h 5808721"/>
              <a:gd name="connsiteX563" fmla="*/ 5987893 w 6251734"/>
              <a:gd name="connsiteY563" fmla="*/ 3836189 h 5808721"/>
              <a:gd name="connsiteX564" fmla="*/ 5995608 w 6251734"/>
              <a:gd name="connsiteY564" fmla="*/ 3843904 h 5808721"/>
              <a:gd name="connsiteX565" fmla="*/ 6001609 w 6251734"/>
              <a:gd name="connsiteY565" fmla="*/ 3850762 h 5808721"/>
              <a:gd name="connsiteX566" fmla="*/ 6005895 w 6251734"/>
              <a:gd name="connsiteY566" fmla="*/ 3862764 h 5808721"/>
              <a:gd name="connsiteX567" fmla="*/ 6014468 w 6251734"/>
              <a:gd name="connsiteY567" fmla="*/ 3873051 h 5808721"/>
              <a:gd name="connsiteX568" fmla="*/ 6016182 w 6251734"/>
              <a:gd name="connsiteY568" fmla="*/ 3869622 h 5808721"/>
              <a:gd name="connsiteX569" fmla="*/ 5825350 w 6251734"/>
              <a:gd name="connsiteY569" fmla="*/ 3652510 h 5808721"/>
              <a:gd name="connsiteX570" fmla="*/ 5820840 w 6251734"/>
              <a:gd name="connsiteY570" fmla="*/ 3650383 h 5808721"/>
              <a:gd name="connsiteX571" fmla="*/ 5876805 w 6251734"/>
              <a:gd name="connsiteY571" fmla="*/ 3675659 h 5808721"/>
              <a:gd name="connsiteX572" fmla="*/ 5998180 w 6251734"/>
              <a:gd name="connsiteY572" fmla="*/ 4119082 h 5808721"/>
              <a:gd name="connsiteX573" fmla="*/ 5717002 w 6251734"/>
              <a:gd name="connsiteY573" fmla="*/ 4286246 h 5808721"/>
              <a:gd name="connsiteX574" fmla="*/ 5835302 w 6251734"/>
              <a:gd name="connsiteY574" fmla="*/ 4250241 h 5808721"/>
              <a:gd name="connsiteX575" fmla="*/ 5819015 w 6251734"/>
              <a:gd name="connsiteY575" fmla="*/ 4251098 h 5808721"/>
              <a:gd name="connsiteX576" fmla="*/ 5802727 w 6251734"/>
              <a:gd name="connsiteY576" fmla="*/ 4244240 h 5808721"/>
              <a:gd name="connsiteX577" fmla="*/ 5793297 w 6251734"/>
              <a:gd name="connsiteY577" fmla="*/ 4242525 h 5808721"/>
              <a:gd name="connsiteX578" fmla="*/ 5777867 w 6251734"/>
              <a:gd name="connsiteY578" fmla="*/ 4245098 h 5808721"/>
              <a:gd name="connsiteX579" fmla="*/ 5765865 w 6251734"/>
              <a:gd name="connsiteY579" fmla="*/ 4251098 h 5808721"/>
              <a:gd name="connsiteX580" fmla="*/ 5755578 w 6251734"/>
              <a:gd name="connsiteY580" fmla="*/ 4250241 h 5808721"/>
              <a:gd name="connsiteX581" fmla="*/ 5742719 w 6251734"/>
              <a:gd name="connsiteY581" fmla="*/ 4251098 h 5808721"/>
              <a:gd name="connsiteX582" fmla="*/ 5747005 w 6251734"/>
              <a:gd name="connsiteY582" fmla="*/ 4240811 h 5808721"/>
              <a:gd name="connsiteX583" fmla="*/ 5735861 w 6251734"/>
              <a:gd name="connsiteY583" fmla="*/ 4239097 h 5808721"/>
              <a:gd name="connsiteX584" fmla="*/ 5729003 w 6251734"/>
              <a:gd name="connsiteY584" fmla="*/ 4247669 h 5808721"/>
              <a:gd name="connsiteX585" fmla="*/ 5723003 w 6251734"/>
              <a:gd name="connsiteY585" fmla="*/ 4258813 h 5808721"/>
              <a:gd name="connsiteX586" fmla="*/ 5701571 w 6251734"/>
              <a:gd name="connsiteY586" fmla="*/ 4254527 h 5808721"/>
              <a:gd name="connsiteX587" fmla="*/ 5689569 w 6251734"/>
              <a:gd name="connsiteY587" fmla="*/ 4251956 h 5808721"/>
              <a:gd name="connsiteX588" fmla="*/ 5690426 w 6251734"/>
              <a:gd name="connsiteY588" fmla="*/ 4247669 h 5808721"/>
              <a:gd name="connsiteX589" fmla="*/ 5702427 w 6251734"/>
              <a:gd name="connsiteY589" fmla="*/ 4239097 h 5808721"/>
              <a:gd name="connsiteX590" fmla="*/ 5714430 w 6251734"/>
              <a:gd name="connsiteY590" fmla="*/ 4232239 h 5808721"/>
              <a:gd name="connsiteX591" fmla="*/ 5708429 w 6251734"/>
              <a:gd name="connsiteY591" fmla="*/ 4225380 h 5808721"/>
              <a:gd name="connsiteX592" fmla="*/ 5702427 w 6251734"/>
              <a:gd name="connsiteY592" fmla="*/ 4230524 h 5808721"/>
              <a:gd name="connsiteX593" fmla="*/ 5677567 w 6251734"/>
              <a:gd name="connsiteY593" fmla="*/ 4231381 h 5808721"/>
              <a:gd name="connsiteX594" fmla="*/ 5656993 w 6251734"/>
              <a:gd name="connsiteY594" fmla="*/ 4233096 h 5808721"/>
              <a:gd name="connsiteX595" fmla="*/ 5653564 w 6251734"/>
              <a:gd name="connsiteY595" fmla="*/ 4226238 h 5808721"/>
              <a:gd name="connsiteX596" fmla="*/ 5638991 w 6251734"/>
              <a:gd name="connsiteY596" fmla="*/ 4233096 h 5808721"/>
              <a:gd name="connsiteX597" fmla="*/ 5618417 w 6251734"/>
              <a:gd name="connsiteY597" fmla="*/ 4236525 h 5808721"/>
              <a:gd name="connsiteX598" fmla="*/ 5608130 w 6251734"/>
              <a:gd name="connsiteY598" fmla="*/ 4238239 h 5808721"/>
              <a:gd name="connsiteX599" fmla="*/ 5607273 w 6251734"/>
              <a:gd name="connsiteY599" fmla="*/ 4232239 h 5808721"/>
              <a:gd name="connsiteX600" fmla="*/ 5596986 w 6251734"/>
              <a:gd name="connsiteY600" fmla="*/ 4240811 h 5808721"/>
              <a:gd name="connsiteX601" fmla="*/ 5584984 w 6251734"/>
              <a:gd name="connsiteY601" fmla="*/ 4242525 h 5808721"/>
              <a:gd name="connsiteX602" fmla="*/ 5583270 w 6251734"/>
              <a:gd name="connsiteY602" fmla="*/ 4256242 h 5808721"/>
              <a:gd name="connsiteX603" fmla="*/ 5664709 w 6251734"/>
              <a:gd name="connsiteY603" fmla="*/ 4287103 h 5808721"/>
              <a:gd name="connsiteX604" fmla="*/ 5372386 w 6251734"/>
              <a:gd name="connsiteY604" fmla="*/ 3912484 h 5808721"/>
              <a:gd name="connsiteX605" fmla="*/ 5375815 w 6251734"/>
              <a:gd name="connsiteY605" fmla="*/ 3909913 h 5808721"/>
              <a:gd name="connsiteX606" fmla="*/ 5378387 w 6251734"/>
              <a:gd name="connsiteY606" fmla="*/ 3921057 h 5808721"/>
              <a:gd name="connsiteX607" fmla="*/ 5384388 w 6251734"/>
              <a:gd name="connsiteY607" fmla="*/ 3929629 h 5808721"/>
              <a:gd name="connsiteX608" fmla="*/ 5391246 w 6251734"/>
              <a:gd name="connsiteY608" fmla="*/ 3939059 h 5808721"/>
              <a:gd name="connsiteX609" fmla="*/ 5386959 w 6251734"/>
              <a:gd name="connsiteY609" fmla="*/ 3953632 h 5808721"/>
              <a:gd name="connsiteX610" fmla="*/ 5395532 w 6251734"/>
              <a:gd name="connsiteY610" fmla="*/ 3977636 h 5808721"/>
              <a:gd name="connsiteX611" fmla="*/ 5394675 w 6251734"/>
              <a:gd name="connsiteY611" fmla="*/ 4006782 h 5808721"/>
              <a:gd name="connsiteX612" fmla="*/ 5413534 w 6251734"/>
              <a:gd name="connsiteY612" fmla="*/ 4051359 h 5808721"/>
              <a:gd name="connsiteX613" fmla="*/ 5420392 w 6251734"/>
              <a:gd name="connsiteY613" fmla="*/ 4065932 h 5808721"/>
              <a:gd name="connsiteX614" fmla="*/ 5432394 w 6251734"/>
              <a:gd name="connsiteY614" fmla="*/ 4075362 h 5808721"/>
              <a:gd name="connsiteX615" fmla="*/ 5438394 w 6251734"/>
              <a:gd name="connsiteY615" fmla="*/ 4101079 h 5808721"/>
              <a:gd name="connsiteX616" fmla="*/ 5446110 w 6251734"/>
              <a:gd name="connsiteY616" fmla="*/ 4123368 h 5808721"/>
              <a:gd name="connsiteX617" fmla="*/ 5455539 w 6251734"/>
              <a:gd name="connsiteY617" fmla="*/ 4135369 h 5808721"/>
              <a:gd name="connsiteX618" fmla="*/ 5462397 w 6251734"/>
              <a:gd name="connsiteY618" fmla="*/ 4148228 h 5808721"/>
              <a:gd name="connsiteX619" fmla="*/ 5470113 w 6251734"/>
              <a:gd name="connsiteY619" fmla="*/ 4160230 h 5808721"/>
              <a:gd name="connsiteX620" fmla="*/ 5484686 w 6251734"/>
              <a:gd name="connsiteY620" fmla="*/ 4188519 h 5808721"/>
              <a:gd name="connsiteX621" fmla="*/ 5491544 w 6251734"/>
              <a:gd name="connsiteY621" fmla="*/ 4198806 h 5808721"/>
              <a:gd name="connsiteX622" fmla="*/ 5511261 w 6251734"/>
              <a:gd name="connsiteY622" fmla="*/ 4210808 h 5808721"/>
              <a:gd name="connsiteX623" fmla="*/ 5524119 w 6251734"/>
              <a:gd name="connsiteY623" fmla="*/ 4221094 h 5808721"/>
              <a:gd name="connsiteX624" fmla="*/ 5525834 w 6251734"/>
              <a:gd name="connsiteY624" fmla="*/ 4215094 h 5808721"/>
              <a:gd name="connsiteX625" fmla="*/ 5518119 w 6251734"/>
              <a:gd name="connsiteY625" fmla="*/ 4206521 h 5808721"/>
              <a:gd name="connsiteX626" fmla="*/ 5509546 w 6251734"/>
              <a:gd name="connsiteY626" fmla="*/ 4195377 h 5808721"/>
              <a:gd name="connsiteX627" fmla="*/ 5505260 w 6251734"/>
              <a:gd name="connsiteY627" fmla="*/ 4185947 h 5808721"/>
              <a:gd name="connsiteX628" fmla="*/ 5495830 w 6251734"/>
              <a:gd name="connsiteY628" fmla="*/ 4173088 h 5808721"/>
              <a:gd name="connsiteX629" fmla="*/ 5500117 w 6251734"/>
              <a:gd name="connsiteY629" fmla="*/ 4165373 h 5808721"/>
              <a:gd name="connsiteX630" fmla="*/ 5503546 w 6251734"/>
              <a:gd name="connsiteY630" fmla="*/ 4160230 h 5808721"/>
              <a:gd name="connsiteX631" fmla="*/ 5500117 w 6251734"/>
              <a:gd name="connsiteY631" fmla="*/ 4147371 h 5808721"/>
              <a:gd name="connsiteX632" fmla="*/ 5508689 w 6251734"/>
              <a:gd name="connsiteY632" fmla="*/ 4119082 h 5808721"/>
              <a:gd name="connsiteX633" fmla="*/ 5508689 w 6251734"/>
              <a:gd name="connsiteY633" fmla="*/ 4103651 h 5808721"/>
              <a:gd name="connsiteX634" fmla="*/ 5518119 w 6251734"/>
              <a:gd name="connsiteY634" fmla="*/ 4096793 h 5808721"/>
              <a:gd name="connsiteX635" fmla="*/ 5531835 w 6251734"/>
              <a:gd name="connsiteY635" fmla="*/ 4087363 h 5808721"/>
              <a:gd name="connsiteX636" fmla="*/ 5530120 w 6251734"/>
              <a:gd name="connsiteY636" fmla="*/ 4078791 h 5808721"/>
              <a:gd name="connsiteX637" fmla="*/ 5534407 w 6251734"/>
              <a:gd name="connsiteY637" fmla="*/ 4070218 h 5808721"/>
              <a:gd name="connsiteX638" fmla="*/ 5535264 w 6251734"/>
              <a:gd name="connsiteY638" fmla="*/ 4056503 h 5808721"/>
              <a:gd name="connsiteX639" fmla="*/ 5530977 w 6251734"/>
              <a:gd name="connsiteY639" fmla="*/ 4045358 h 5808721"/>
              <a:gd name="connsiteX640" fmla="*/ 5532692 w 6251734"/>
              <a:gd name="connsiteY640" fmla="*/ 4034214 h 5808721"/>
              <a:gd name="connsiteX641" fmla="*/ 5542122 w 6251734"/>
              <a:gd name="connsiteY641" fmla="*/ 4020498 h 5808721"/>
              <a:gd name="connsiteX642" fmla="*/ 5547265 w 6251734"/>
              <a:gd name="connsiteY642" fmla="*/ 4007639 h 5808721"/>
              <a:gd name="connsiteX643" fmla="*/ 5542122 w 6251734"/>
              <a:gd name="connsiteY643" fmla="*/ 4000781 h 5808721"/>
              <a:gd name="connsiteX644" fmla="*/ 5529263 w 6251734"/>
              <a:gd name="connsiteY644" fmla="*/ 3993923 h 5808721"/>
              <a:gd name="connsiteX645" fmla="*/ 5520691 w 6251734"/>
              <a:gd name="connsiteY645" fmla="*/ 3982779 h 5808721"/>
              <a:gd name="connsiteX646" fmla="*/ 5504403 w 6251734"/>
              <a:gd name="connsiteY646" fmla="*/ 3981922 h 5808721"/>
              <a:gd name="connsiteX647" fmla="*/ 5500974 w 6251734"/>
              <a:gd name="connsiteY647" fmla="*/ 3976778 h 5808721"/>
              <a:gd name="connsiteX648" fmla="*/ 5488115 w 6251734"/>
              <a:gd name="connsiteY648" fmla="*/ 3971635 h 5808721"/>
              <a:gd name="connsiteX649" fmla="*/ 5486401 w 6251734"/>
              <a:gd name="connsiteY649" fmla="*/ 3964777 h 5808721"/>
              <a:gd name="connsiteX650" fmla="*/ 5476971 w 6251734"/>
              <a:gd name="connsiteY650" fmla="*/ 3963062 h 5808721"/>
              <a:gd name="connsiteX651" fmla="*/ 5475256 w 6251734"/>
              <a:gd name="connsiteY651" fmla="*/ 3957061 h 5808721"/>
              <a:gd name="connsiteX652" fmla="*/ 5474399 w 6251734"/>
              <a:gd name="connsiteY652" fmla="*/ 3947632 h 5808721"/>
              <a:gd name="connsiteX653" fmla="*/ 5469256 w 6251734"/>
              <a:gd name="connsiteY653" fmla="*/ 3938202 h 5808721"/>
              <a:gd name="connsiteX654" fmla="*/ 5464969 w 6251734"/>
              <a:gd name="connsiteY654" fmla="*/ 3932201 h 5808721"/>
              <a:gd name="connsiteX655" fmla="*/ 5453825 w 6251734"/>
              <a:gd name="connsiteY655" fmla="*/ 3930487 h 5808721"/>
              <a:gd name="connsiteX656" fmla="*/ 5444395 w 6251734"/>
              <a:gd name="connsiteY656" fmla="*/ 3925343 h 5808721"/>
              <a:gd name="connsiteX657" fmla="*/ 5441824 w 6251734"/>
              <a:gd name="connsiteY657" fmla="*/ 3916771 h 5808721"/>
              <a:gd name="connsiteX658" fmla="*/ 5437537 w 6251734"/>
              <a:gd name="connsiteY658" fmla="*/ 3907341 h 5808721"/>
              <a:gd name="connsiteX659" fmla="*/ 5431536 w 6251734"/>
              <a:gd name="connsiteY659" fmla="*/ 3903055 h 5808721"/>
              <a:gd name="connsiteX660" fmla="*/ 5419535 w 6251734"/>
              <a:gd name="connsiteY660" fmla="*/ 3905626 h 5808721"/>
              <a:gd name="connsiteX661" fmla="*/ 5418678 w 6251734"/>
              <a:gd name="connsiteY661" fmla="*/ 3897911 h 5808721"/>
              <a:gd name="connsiteX662" fmla="*/ 5411820 w 6251734"/>
              <a:gd name="connsiteY662" fmla="*/ 3896197 h 5808721"/>
              <a:gd name="connsiteX663" fmla="*/ 5406676 w 6251734"/>
              <a:gd name="connsiteY663" fmla="*/ 3899626 h 5808721"/>
              <a:gd name="connsiteX664" fmla="*/ 5404104 w 6251734"/>
              <a:gd name="connsiteY664" fmla="*/ 3903055 h 5808721"/>
              <a:gd name="connsiteX665" fmla="*/ 5398104 w 6251734"/>
              <a:gd name="connsiteY665" fmla="*/ 3911627 h 5808721"/>
              <a:gd name="connsiteX666" fmla="*/ 5396389 w 6251734"/>
              <a:gd name="connsiteY666" fmla="*/ 3909913 h 5808721"/>
              <a:gd name="connsiteX667" fmla="*/ 5393817 w 6251734"/>
              <a:gd name="connsiteY667" fmla="*/ 3906484 h 5808721"/>
              <a:gd name="connsiteX668" fmla="*/ 5390389 w 6251734"/>
              <a:gd name="connsiteY668" fmla="*/ 3893625 h 5808721"/>
              <a:gd name="connsiteX669" fmla="*/ 5393817 w 6251734"/>
              <a:gd name="connsiteY669" fmla="*/ 3884195 h 5808721"/>
              <a:gd name="connsiteX670" fmla="*/ 5392960 w 6251734"/>
              <a:gd name="connsiteY670" fmla="*/ 3871336 h 5808721"/>
              <a:gd name="connsiteX671" fmla="*/ 5393817 w 6251734"/>
              <a:gd name="connsiteY671" fmla="*/ 3861049 h 5808721"/>
              <a:gd name="connsiteX672" fmla="*/ 5392960 w 6251734"/>
              <a:gd name="connsiteY672" fmla="*/ 3853334 h 5808721"/>
              <a:gd name="connsiteX673" fmla="*/ 5388674 w 6251734"/>
              <a:gd name="connsiteY673" fmla="*/ 3851620 h 5808721"/>
              <a:gd name="connsiteX674" fmla="*/ 5402390 w 6251734"/>
              <a:gd name="connsiteY674" fmla="*/ 3815615 h 5808721"/>
              <a:gd name="connsiteX675" fmla="*/ 5400676 w 6251734"/>
              <a:gd name="connsiteY675" fmla="*/ 3826759 h 5808721"/>
              <a:gd name="connsiteX676" fmla="*/ 5399818 w 6251734"/>
              <a:gd name="connsiteY676" fmla="*/ 3833617 h 5808721"/>
              <a:gd name="connsiteX677" fmla="*/ 5398961 w 6251734"/>
              <a:gd name="connsiteY677" fmla="*/ 3841333 h 5808721"/>
              <a:gd name="connsiteX678" fmla="*/ 5401533 w 6251734"/>
              <a:gd name="connsiteY678" fmla="*/ 3842190 h 5808721"/>
              <a:gd name="connsiteX679" fmla="*/ 5406676 w 6251734"/>
              <a:gd name="connsiteY679" fmla="*/ 3845619 h 5808721"/>
              <a:gd name="connsiteX680" fmla="*/ 5408391 w 6251734"/>
              <a:gd name="connsiteY680" fmla="*/ 3845619 h 5808721"/>
              <a:gd name="connsiteX681" fmla="*/ 5412677 w 6251734"/>
              <a:gd name="connsiteY681" fmla="*/ 3850762 h 5808721"/>
              <a:gd name="connsiteX682" fmla="*/ 5411820 w 6251734"/>
              <a:gd name="connsiteY682" fmla="*/ 3857621 h 5808721"/>
              <a:gd name="connsiteX683" fmla="*/ 5413534 w 6251734"/>
              <a:gd name="connsiteY683" fmla="*/ 3859335 h 5808721"/>
              <a:gd name="connsiteX684" fmla="*/ 5418678 w 6251734"/>
              <a:gd name="connsiteY684" fmla="*/ 3861907 h 5808721"/>
              <a:gd name="connsiteX685" fmla="*/ 5425536 w 6251734"/>
              <a:gd name="connsiteY685" fmla="*/ 3861049 h 5808721"/>
              <a:gd name="connsiteX686" fmla="*/ 5428965 w 6251734"/>
              <a:gd name="connsiteY686" fmla="*/ 3865336 h 5808721"/>
              <a:gd name="connsiteX687" fmla="*/ 5430679 w 6251734"/>
              <a:gd name="connsiteY687" fmla="*/ 3868765 h 5808721"/>
              <a:gd name="connsiteX688" fmla="*/ 5434108 w 6251734"/>
              <a:gd name="connsiteY688" fmla="*/ 3865336 h 5808721"/>
              <a:gd name="connsiteX689" fmla="*/ 5435823 w 6251734"/>
              <a:gd name="connsiteY689" fmla="*/ 3861049 h 5808721"/>
              <a:gd name="connsiteX690" fmla="*/ 5432394 w 6251734"/>
              <a:gd name="connsiteY690" fmla="*/ 3858478 h 5808721"/>
              <a:gd name="connsiteX691" fmla="*/ 5427250 w 6251734"/>
              <a:gd name="connsiteY691" fmla="*/ 3855049 h 5808721"/>
              <a:gd name="connsiteX692" fmla="*/ 5421249 w 6251734"/>
              <a:gd name="connsiteY692" fmla="*/ 3853334 h 5808721"/>
              <a:gd name="connsiteX693" fmla="*/ 5415249 w 6251734"/>
              <a:gd name="connsiteY693" fmla="*/ 3852477 h 5808721"/>
              <a:gd name="connsiteX694" fmla="*/ 5415249 w 6251734"/>
              <a:gd name="connsiteY694" fmla="*/ 3845619 h 5808721"/>
              <a:gd name="connsiteX695" fmla="*/ 5415249 w 6251734"/>
              <a:gd name="connsiteY695" fmla="*/ 3837904 h 5808721"/>
              <a:gd name="connsiteX696" fmla="*/ 5410962 w 6251734"/>
              <a:gd name="connsiteY696" fmla="*/ 3837046 h 5808721"/>
              <a:gd name="connsiteX697" fmla="*/ 5406676 w 6251734"/>
              <a:gd name="connsiteY697" fmla="*/ 3833617 h 5808721"/>
              <a:gd name="connsiteX698" fmla="*/ 5410105 w 6251734"/>
              <a:gd name="connsiteY698" fmla="*/ 3826759 h 5808721"/>
              <a:gd name="connsiteX699" fmla="*/ 5420392 w 6251734"/>
              <a:gd name="connsiteY699" fmla="*/ 3822473 h 5808721"/>
              <a:gd name="connsiteX700" fmla="*/ 5425536 w 6251734"/>
              <a:gd name="connsiteY700" fmla="*/ 3818187 h 5808721"/>
              <a:gd name="connsiteX701" fmla="*/ 5428965 w 6251734"/>
              <a:gd name="connsiteY701" fmla="*/ 3810472 h 5808721"/>
              <a:gd name="connsiteX702" fmla="*/ 5432394 w 6251734"/>
              <a:gd name="connsiteY702" fmla="*/ 3801899 h 5808721"/>
              <a:gd name="connsiteX703" fmla="*/ 5434108 w 6251734"/>
              <a:gd name="connsiteY703" fmla="*/ 3792469 h 5808721"/>
              <a:gd name="connsiteX704" fmla="*/ 5439252 w 6251734"/>
              <a:gd name="connsiteY704" fmla="*/ 3785611 h 5808721"/>
              <a:gd name="connsiteX705" fmla="*/ 5451253 w 6251734"/>
              <a:gd name="connsiteY705" fmla="*/ 3776182 h 5808721"/>
              <a:gd name="connsiteX706" fmla="*/ 5458111 w 6251734"/>
              <a:gd name="connsiteY706" fmla="*/ 3770181 h 5808721"/>
              <a:gd name="connsiteX707" fmla="*/ 5460683 w 6251734"/>
              <a:gd name="connsiteY707" fmla="*/ 3764180 h 5808721"/>
              <a:gd name="connsiteX708" fmla="*/ 5466684 w 6251734"/>
              <a:gd name="connsiteY708" fmla="*/ 3761608 h 5808721"/>
              <a:gd name="connsiteX709" fmla="*/ 5474399 w 6251734"/>
              <a:gd name="connsiteY709" fmla="*/ 3757322 h 5808721"/>
              <a:gd name="connsiteX710" fmla="*/ 5476971 w 6251734"/>
              <a:gd name="connsiteY710" fmla="*/ 3749607 h 5808721"/>
              <a:gd name="connsiteX711" fmla="*/ 5479542 w 6251734"/>
              <a:gd name="connsiteY711" fmla="*/ 3747035 h 5808721"/>
              <a:gd name="connsiteX712" fmla="*/ 5488115 w 6251734"/>
              <a:gd name="connsiteY712" fmla="*/ 3741034 h 5808721"/>
              <a:gd name="connsiteX713" fmla="*/ 5491544 w 6251734"/>
              <a:gd name="connsiteY713" fmla="*/ 3738463 h 5808721"/>
              <a:gd name="connsiteX714" fmla="*/ 5498402 w 6251734"/>
              <a:gd name="connsiteY714" fmla="*/ 3739320 h 5808721"/>
              <a:gd name="connsiteX715" fmla="*/ 5507832 w 6251734"/>
              <a:gd name="connsiteY715" fmla="*/ 3741892 h 5808721"/>
              <a:gd name="connsiteX716" fmla="*/ 5512975 w 6251734"/>
              <a:gd name="connsiteY716" fmla="*/ 3741034 h 5808721"/>
              <a:gd name="connsiteX717" fmla="*/ 5514690 w 6251734"/>
              <a:gd name="connsiteY717" fmla="*/ 3735034 h 5808721"/>
              <a:gd name="connsiteX718" fmla="*/ 5513832 w 6251734"/>
              <a:gd name="connsiteY718" fmla="*/ 3731605 h 5808721"/>
              <a:gd name="connsiteX719" fmla="*/ 5509546 w 6251734"/>
              <a:gd name="connsiteY719" fmla="*/ 3729890 h 5808721"/>
              <a:gd name="connsiteX720" fmla="*/ 5511261 w 6251734"/>
              <a:gd name="connsiteY720" fmla="*/ 3723032 h 5808721"/>
              <a:gd name="connsiteX721" fmla="*/ 5517262 w 6251734"/>
              <a:gd name="connsiteY721" fmla="*/ 3718746 h 5808721"/>
              <a:gd name="connsiteX722" fmla="*/ 5525834 w 6251734"/>
              <a:gd name="connsiteY722" fmla="*/ 3713602 h 5808721"/>
              <a:gd name="connsiteX723" fmla="*/ 5530977 w 6251734"/>
              <a:gd name="connsiteY723" fmla="*/ 3717889 h 5808721"/>
              <a:gd name="connsiteX724" fmla="*/ 5531835 w 6251734"/>
              <a:gd name="connsiteY724" fmla="*/ 3720461 h 5808721"/>
              <a:gd name="connsiteX725" fmla="*/ 5524977 w 6251734"/>
              <a:gd name="connsiteY725" fmla="*/ 3724747 h 5808721"/>
              <a:gd name="connsiteX726" fmla="*/ 5528406 w 6251734"/>
              <a:gd name="connsiteY726" fmla="*/ 3730747 h 5808721"/>
              <a:gd name="connsiteX727" fmla="*/ 5536978 w 6251734"/>
              <a:gd name="connsiteY727" fmla="*/ 3730747 h 5808721"/>
              <a:gd name="connsiteX728" fmla="*/ 5542122 w 6251734"/>
              <a:gd name="connsiteY728" fmla="*/ 3727318 h 5808721"/>
              <a:gd name="connsiteX729" fmla="*/ 5543836 w 6251734"/>
              <a:gd name="connsiteY729" fmla="*/ 3723032 h 5808721"/>
              <a:gd name="connsiteX730" fmla="*/ 5543836 w 6251734"/>
              <a:gd name="connsiteY730" fmla="*/ 3716174 h 5808721"/>
              <a:gd name="connsiteX731" fmla="*/ 5542979 w 6251734"/>
              <a:gd name="connsiteY731" fmla="*/ 3710173 h 5808721"/>
              <a:gd name="connsiteX732" fmla="*/ 5545551 w 6251734"/>
              <a:gd name="connsiteY732" fmla="*/ 3705887 h 5808721"/>
              <a:gd name="connsiteX733" fmla="*/ 5548980 w 6251734"/>
              <a:gd name="connsiteY733" fmla="*/ 3703316 h 5808721"/>
              <a:gd name="connsiteX734" fmla="*/ 5551552 w 6251734"/>
              <a:gd name="connsiteY734" fmla="*/ 3699029 h 5808721"/>
              <a:gd name="connsiteX735" fmla="*/ 5551552 w 6251734"/>
              <a:gd name="connsiteY735" fmla="*/ 3692171 h 5808721"/>
              <a:gd name="connsiteX736" fmla="*/ 5557552 w 6251734"/>
              <a:gd name="connsiteY736" fmla="*/ 3683599 h 5808721"/>
              <a:gd name="connsiteX737" fmla="*/ 5560124 w 6251734"/>
              <a:gd name="connsiteY737" fmla="*/ 3679312 h 5808721"/>
              <a:gd name="connsiteX738" fmla="*/ 5552409 w 6251734"/>
              <a:gd name="connsiteY738" fmla="*/ 3675883 h 5808721"/>
              <a:gd name="connsiteX739" fmla="*/ 5522218 w 6251734"/>
              <a:gd name="connsiteY739" fmla="*/ 3685527 h 5808721"/>
              <a:gd name="connsiteX740" fmla="*/ 5496913 w 6251734"/>
              <a:gd name="connsiteY740" fmla="*/ 3702672 h 5808721"/>
              <a:gd name="connsiteX741" fmla="*/ 5518815 w 6251734"/>
              <a:gd name="connsiteY741" fmla="*/ 3683786 h 5808721"/>
              <a:gd name="connsiteX742" fmla="*/ 5647564 w 6251734"/>
              <a:gd name="connsiteY742" fmla="*/ 3633878 h 5808721"/>
              <a:gd name="connsiteX743" fmla="*/ 5699857 w 6251734"/>
              <a:gd name="connsiteY743" fmla="*/ 3627877 h 5808721"/>
              <a:gd name="connsiteX744" fmla="*/ 4861612 w 6251734"/>
              <a:gd name="connsiteY744" fmla="*/ 3580313 h 5808721"/>
              <a:gd name="connsiteX745" fmla="*/ 4631722 w 6251734"/>
              <a:gd name="connsiteY745" fmla="*/ 3723889 h 5808721"/>
              <a:gd name="connsiteX746" fmla="*/ 4753451 w 6251734"/>
              <a:gd name="connsiteY746" fmla="*/ 4048788 h 5808721"/>
              <a:gd name="connsiteX747" fmla="*/ 5078350 w 6251734"/>
              <a:gd name="connsiteY747" fmla="*/ 3927058 h 5808721"/>
              <a:gd name="connsiteX748" fmla="*/ 4956620 w 6251734"/>
              <a:gd name="connsiteY748" fmla="*/ 3602159 h 5808721"/>
              <a:gd name="connsiteX749" fmla="*/ 4861612 w 6251734"/>
              <a:gd name="connsiteY749" fmla="*/ 3580313 h 5808721"/>
              <a:gd name="connsiteX750" fmla="*/ 4863113 w 6251734"/>
              <a:gd name="connsiteY750" fmla="*/ 3524739 h 5808721"/>
              <a:gd name="connsiteX751" fmla="*/ 4979766 w 6251734"/>
              <a:gd name="connsiteY751" fmla="*/ 3551582 h 5808721"/>
              <a:gd name="connsiteX752" fmla="*/ 5128928 w 6251734"/>
              <a:gd name="connsiteY752" fmla="*/ 3950204 h 5808721"/>
              <a:gd name="connsiteX753" fmla="*/ 4788185 w 6251734"/>
              <a:gd name="connsiteY753" fmla="*/ 4118835 h 5808721"/>
              <a:gd name="connsiteX754" fmla="*/ 4769854 w 6251734"/>
              <a:gd name="connsiteY754" fmla="*/ 4112669 h 5808721"/>
              <a:gd name="connsiteX755" fmla="*/ 4736576 w 6251734"/>
              <a:gd name="connsiteY755" fmla="*/ 4185841 h 5808721"/>
              <a:gd name="connsiteX756" fmla="*/ 4739414 w 6251734"/>
              <a:gd name="connsiteY756" fmla="*/ 4190448 h 5808721"/>
              <a:gd name="connsiteX757" fmla="*/ 4738021 w 6251734"/>
              <a:gd name="connsiteY757" fmla="*/ 4240811 h 5808721"/>
              <a:gd name="connsiteX758" fmla="*/ 4623149 w 6251734"/>
              <a:gd name="connsiteY758" fmla="*/ 4492842 h 5808721"/>
              <a:gd name="connsiteX759" fmla="*/ 4536567 w 6251734"/>
              <a:gd name="connsiteY759" fmla="*/ 4525418 h 5808721"/>
              <a:gd name="connsiteX760" fmla="*/ 4503991 w 6251734"/>
              <a:gd name="connsiteY760" fmla="*/ 4438835 h 5808721"/>
              <a:gd name="connsiteX761" fmla="*/ 4618863 w 6251734"/>
              <a:gd name="connsiteY761" fmla="*/ 4186804 h 5808721"/>
              <a:gd name="connsiteX762" fmla="*/ 4643847 w 6251734"/>
              <a:gd name="connsiteY762" fmla="*/ 4158339 h 5808721"/>
              <a:gd name="connsiteX763" fmla="*/ 4661831 w 6251734"/>
              <a:gd name="connsiteY763" fmla="*/ 4153470 h 5808721"/>
              <a:gd name="connsiteX764" fmla="*/ 4695622 w 6251734"/>
              <a:gd name="connsiteY764" fmla="*/ 4079170 h 5808721"/>
              <a:gd name="connsiteX765" fmla="*/ 4677765 w 6251734"/>
              <a:gd name="connsiteY765" fmla="*/ 4068771 h 5808721"/>
              <a:gd name="connsiteX766" fmla="*/ 4581144 w 6251734"/>
              <a:gd name="connsiteY766" fmla="*/ 3700743 h 5808721"/>
              <a:gd name="connsiteX767" fmla="*/ 4863113 w 6251734"/>
              <a:gd name="connsiteY767" fmla="*/ 3524739 h 5808721"/>
              <a:gd name="connsiteX768" fmla="*/ 1544765 w 6251734"/>
              <a:gd name="connsiteY768" fmla="*/ 3428138 h 5808721"/>
              <a:gd name="connsiteX769" fmla="*/ 1620204 w 6251734"/>
              <a:gd name="connsiteY769" fmla="*/ 3555010 h 5808721"/>
              <a:gd name="connsiteX770" fmla="*/ 1532764 w 6251734"/>
              <a:gd name="connsiteY770" fmla="*/ 3615018 h 5808721"/>
              <a:gd name="connsiteX771" fmla="*/ 1646779 w 6251734"/>
              <a:gd name="connsiteY771" fmla="*/ 3561011 h 5808721"/>
              <a:gd name="connsiteX772" fmla="*/ 1544765 w 6251734"/>
              <a:gd name="connsiteY772" fmla="*/ 3428138 h 5808721"/>
              <a:gd name="connsiteX773" fmla="*/ 408910 w 6251734"/>
              <a:gd name="connsiteY773" fmla="*/ 3284263 h 5808721"/>
              <a:gd name="connsiteX774" fmla="*/ 393653 w 6251734"/>
              <a:gd name="connsiteY774" fmla="*/ 3296390 h 5808721"/>
              <a:gd name="connsiteX775" fmla="*/ 334836 w 6251734"/>
              <a:gd name="connsiteY775" fmla="*/ 3335610 h 5808721"/>
              <a:gd name="connsiteX776" fmla="*/ 325136 w 6251734"/>
              <a:gd name="connsiteY776" fmla="*/ 3340789 h 5808721"/>
              <a:gd name="connsiteX777" fmla="*/ 330318 w 6251734"/>
              <a:gd name="connsiteY777" fmla="*/ 3354497 h 5808721"/>
              <a:gd name="connsiteX778" fmla="*/ 408051 w 6251734"/>
              <a:gd name="connsiteY778" fmla="*/ 3427281 h 5808721"/>
              <a:gd name="connsiteX779" fmla="*/ 478438 w 6251734"/>
              <a:gd name="connsiteY779" fmla="*/ 3369010 h 5808721"/>
              <a:gd name="connsiteX780" fmla="*/ 491268 w 6251734"/>
              <a:gd name="connsiteY780" fmla="*/ 3340334 h 5808721"/>
              <a:gd name="connsiteX781" fmla="*/ 481268 w 6251734"/>
              <a:gd name="connsiteY781" fmla="*/ 3334978 h 5808721"/>
              <a:gd name="connsiteX782" fmla="*/ 385103 w 6251734"/>
              <a:gd name="connsiteY782" fmla="*/ 3234417 h 5808721"/>
              <a:gd name="connsiteX783" fmla="*/ 394907 w 6251734"/>
              <a:gd name="connsiteY783" fmla="*/ 3243179 h 5808721"/>
              <a:gd name="connsiteX784" fmla="*/ 407331 w 6251734"/>
              <a:gd name="connsiteY784" fmla="*/ 3251843 h 5808721"/>
              <a:gd name="connsiteX785" fmla="*/ 427247 w 6251734"/>
              <a:gd name="connsiteY785" fmla="*/ 3234680 h 5808721"/>
              <a:gd name="connsiteX786" fmla="*/ 408051 w 6251734"/>
              <a:gd name="connsiteY786" fmla="*/ 3236114 h 5808721"/>
              <a:gd name="connsiteX787" fmla="*/ 293992 w 6251734"/>
              <a:gd name="connsiteY787" fmla="*/ 3227681 h 5808721"/>
              <a:gd name="connsiteX788" fmla="*/ 310863 w 6251734"/>
              <a:gd name="connsiteY788" fmla="*/ 3303036 h 5808721"/>
              <a:gd name="connsiteX789" fmla="*/ 314200 w 6251734"/>
              <a:gd name="connsiteY789" fmla="*/ 3311864 h 5808721"/>
              <a:gd name="connsiteX790" fmla="*/ 346623 w 6251734"/>
              <a:gd name="connsiteY790" fmla="*/ 3294552 h 5808721"/>
              <a:gd name="connsiteX791" fmla="*/ 386844 w 6251734"/>
              <a:gd name="connsiteY791" fmla="*/ 3267724 h 5808721"/>
              <a:gd name="connsiteX792" fmla="*/ 346453 w 6251734"/>
              <a:gd name="connsiteY792" fmla="*/ 3231560 h 5808721"/>
              <a:gd name="connsiteX793" fmla="*/ 521204 w 6251734"/>
              <a:gd name="connsiteY793" fmla="*/ 3227662 h 5808721"/>
              <a:gd name="connsiteX794" fmla="*/ 472442 w 6251734"/>
              <a:gd name="connsiteY794" fmla="*/ 3231304 h 5808721"/>
              <a:gd name="connsiteX795" fmla="*/ 454017 w 6251734"/>
              <a:gd name="connsiteY795" fmla="*/ 3248411 h 5808721"/>
              <a:gd name="connsiteX796" fmla="*/ 429899 w 6251734"/>
              <a:gd name="connsiteY796" fmla="*/ 3267581 h 5808721"/>
              <a:gd name="connsiteX797" fmla="*/ 469481 w 6251734"/>
              <a:gd name="connsiteY797" fmla="*/ 3295183 h 5808721"/>
              <a:gd name="connsiteX798" fmla="*/ 501667 w 6251734"/>
              <a:gd name="connsiteY798" fmla="*/ 3312302 h 5808721"/>
              <a:gd name="connsiteX799" fmla="*/ 512504 w 6251734"/>
              <a:gd name="connsiteY799" fmla="*/ 3276718 h 5808721"/>
              <a:gd name="connsiteX800" fmla="*/ 645944 w 6251734"/>
              <a:gd name="connsiteY800" fmla="*/ 3207392 h 5808721"/>
              <a:gd name="connsiteX801" fmla="*/ 636239 w 6251734"/>
              <a:gd name="connsiteY801" fmla="*/ 3210346 h 5808721"/>
              <a:gd name="connsiteX802" fmla="*/ 566924 w 6251734"/>
              <a:gd name="connsiteY802" fmla="*/ 3224247 h 5808721"/>
              <a:gd name="connsiteX803" fmla="*/ 548148 w 6251734"/>
              <a:gd name="connsiteY803" fmla="*/ 3225649 h 5808721"/>
              <a:gd name="connsiteX804" fmla="*/ 532529 w 6251734"/>
              <a:gd name="connsiteY804" fmla="*/ 3314283 h 5808721"/>
              <a:gd name="connsiteX805" fmla="*/ 529280 w 6251734"/>
              <a:gd name="connsiteY805" fmla="*/ 3325012 h 5808721"/>
              <a:gd name="connsiteX806" fmla="*/ 558887 w 6251734"/>
              <a:gd name="connsiteY806" fmla="*/ 3336294 h 5808721"/>
              <a:gd name="connsiteX807" fmla="*/ 649797 w 6251734"/>
              <a:gd name="connsiteY807" fmla="*/ 3327840 h 5808721"/>
              <a:gd name="connsiteX808" fmla="*/ 658251 w 6251734"/>
              <a:gd name="connsiteY808" fmla="*/ 3236553 h 5808721"/>
              <a:gd name="connsiteX809" fmla="*/ 169104 w 6251734"/>
              <a:gd name="connsiteY809" fmla="*/ 3206549 h 5808721"/>
              <a:gd name="connsiteX810" fmla="*/ 157854 w 6251734"/>
              <a:gd name="connsiteY810" fmla="*/ 3236073 h 5808721"/>
              <a:gd name="connsiteX811" fmla="*/ 166307 w 6251734"/>
              <a:gd name="connsiteY811" fmla="*/ 3326984 h 5808721"/>
              <a:gd name="connsiteX812" fmla="*/ 257218 w 6251734"/>
              <a:gd name="connsiteY812" fmla="*/ 3335814 h 5808721"/>
              <a:gd name="connsiteX813" fmla="*/ 287649 w 6251734"/>
              <a:gd name="connsiteY813" fmla="*/ 3324179 h 5808721"/>
              <a:gd name="connsiteX814" fmla="*/ 269900 w 6251734"/>
              <a:gd name="connsiteY814" fmla="*/ 3244968 h 5808721"/>
              <a:gd name="connsiteX815" fmla="*/ 268468 w 6251734"/>
              <a:gd name="connsiteY815" fmla="*/ 3225793 h 5808721"/>
              <a:gd name="connsiteX816" fmla="*/ 249179 w 6251734"/>
              <a:gd name="connsiteY816" fmla="*/ 3224367 h 5808721"/>
              <a:gd name="connsiteX817" fmla="*/ 288917 w 6251734"/>
              <a:gd name="connsiteY817" fmla="*/ 3177713 h 5808721"/>
              <a:gd name="connsiteX818" fmla="*/ 290802 w 6251734"/>
              <a:gd name="connsiteY818" fmla="*/ 3203043 h 5808721"/>
              <a:gd name="connsiteX819" fmla="*/ 316853 w 6251734"/>
              <a:gd name="connsiteY819" fmla="*/ 3205057 h 5808721"/>
              <a:gd name="connsiteX820" fmla="*/ 301752 w 6251734"/>
              <a:gd name="connsiteY820" fmla="*/ 3191537 h 5808721"/>
              <a:gd name="connsiteX821" fmla="*/ 528974 w 6251734"/>
              <a:gd name="connsiteY821" fmla="*/ 3176635 h 5808721"/>
              <a:gd name="connsiteX822" fmla="*/ 514351 w 6251734"/>
              <a:gd name="connsiteY822" fmla="*/ 3192395 h 5808721"/>
              <a:gd name="connsiteX823" fmla="*/ 500527 w 6251734"/>
              <a:gd name="connsiteY823" fmla="*/ 3205229 h 5808721"/>
              <a:gd name="connsiteX824" fmla="*/ 525512 w 6251734"/>
              <a:gd name="connsiteY824" fmla="*/ 3203370 h 5808721"/>
              <a:gd name="connsiteX825" fmla="*/ 528388 w 6251734"/>
              <a:gd name="connsiteY825" fmla="*/ 3187154 h 5808721"/>
              <a:gd name="connsiteX826" fmla="*/ 1459898 w 6251734"/>
              <a:gd name="connsiteY826" fmla="*/ 3111812 h 5808721"/>
              <a:gd name="connsiteX827" fmla="*/ 1537907 w 6251734"/>
              <a:gd name="connsiteY827" fmla="*/ 3141816 h 5808721"/>
              <a:gd name="connsiteX828" fmla="*/ 1537907 w 6251734"/>
              <a:gd name="connsiteY828" fmla="*/ 3143530 h 5808721"/>
              <a:gd name="connsiteX829" fmla="*/ 1540479 w 6251734"/>
              <a:gd name="connsiteY829" fmla="*/ 3143530 h 5808721"/>
              <a:gd name="connsiteX830" fmla="*/ 1540479 w 6251734"/>
              <a:gd name="connsiteY830" fmla="*/ 3199252 h 5808721"/>
              <a:gd name="connsiteX831" fmla="*/ 1537907 w 6251734"/>
              <a:gd name="connsiteY831" fmla="*/ 3199252 h 5808721"/>
              <a:gd name="connsiteX832" fmla="*/ 1525048 w 6251734"/>
              <a:gd name="connsiteY832" fmla="*/ 3216397 h 5808721"/>
              <a:gd name="connsiteX833" fmla="*/ 1525048 w 6251734"/>
              <a:gd name="connsiteY833" fmla="*/ 3344127 h 5808721"/>
              <a:gd name="connsiteX834" fmla="*/ 1537050 w 6251734"/>
              <a:gd name="connsiteY834" fmla="*/ 3375845 h 5808721"/>
              <a:gd name="connsiteX835" fmla="*/ 1658780 w 6251734"/>
              <a:gd name="connsiteY835" fmla="*/ 3612446 h 5808721"/>
              <a:gd name="connsiteX836" fmla="*/ 1461612 w 6251734"/>
              <a:gd name="connsiteY836" fmla="*/ 3655309 h 5808721"/>
              <a:gd name="connsiteX837" fmla="*/ 1263587 w 6251734"/>
              <a:gd name="connsiteY837" fmla="*/ 3612446 h 5808721"/>
              <a:gd name="connsiteX838" fmla="*/ 1387888 w 6251734"/>
              <a:gd name="connsiteY838" fmla="*/ 3374988 h 5808721"/>
              <a:gd name="connsiteX839" fmla="*/ 1405033 w 6251734"/>
              <a:gd name="connsiteY839" fmla="*/ 3343270 h 5808721"/>
              <a:gd name="connsiteX840" fmla="*/ 1405033 w 6251734"/>
              <a:gd name="connsiteY840" fmla="*/ 3216397 h 5808721"/>
              <a:gd name="connsiteX841" fmla="*/ 1382745 w 6251734"/>
              <a:gd name="connsiteY841" fmla="*/ 3199252 h 5808721"/>
              <a:gd name="connsiteX842" fmla="*/ 1381030 w 6251734"/>
              <a:gd name="connsiteY842" fmla="*/ 3199252 h 5808721"/>
              <a:gd name="connsiteX843" fmla="*/ 1381030 w 6251734"/>
              <a:gd name="connsiteY843" fmla="*/ 3143530 h 5808721"/>
              <a:gd name="connsiteX844" fmla="*/ 1381888 w 6251734"/>
              <a:gd name="connsiteY844" fmla="*/ 3143530 h 5808721"/>
              <a:gd name="connsiteX845" fmla="*/ 1381888 w 6251734"/>
              <a:gd name="connsiteY845" fmla="*/ 3141816 h 5808721"/>
              <a:gd name="connsiteX846" fmla="*/ 1459898 w 6251734"/>
              <a:gd name="connsiteY846" fmla="*/ 3111812 h 5808721"/>
              <a:gd name="connsiteX847" fmla="*/ 590102 w 6251734"/>
              <a:gd name="connsiteY847" fmla="*/ 3107161 h 5808721"/>
              <a:gd name="connsiteX848" fmla="*/ 570367 w 6251734"/>
              <a:gd name="connsiteY848" fmla="*/ 3132026 h 5808721"/>
              <a:gd name="connsiteX849" fmla="*/ 554587 w 6251734"/>
              <a:gd name="connsiteY849" fmla="*/ 3149033 h 5808721"/>
              <a:gd name="connsiteX850" fmla="*/ 551759 w 6251734"/>
              <a:gd name="connsiteY850" fmla="*/ 3200115 h 5808721"/>
              <a:gd name="connsiteX851" fmla="*/ 599532 w 6251734"/>
              <a:gd name="connsiteY851" fmla="*/ 3190547 h 5808721"/>
              <a:gd name="connsiteX852" fmla="*/ 634360 w 6251734"/>
              <a:gd name="connsiteY852" fmla="*/ 3179941 h 5808721"/>
              <a:gd name="connsiteX853" fmla="*/ 630590 w 6251734"/>
              <a:gd name="connsiteY853" fmla="*/ 3171008 h 5808721"/>
              <a:gd name="connsiteX854" fmla="*/ 226426 w 6251734"/>
              <a:gd name="connsiteY854" fmla="*/ 3105365 h 5808721"/>
              <a:gd name="connsiteX855" fmla="*/ 198965 w 6251734"/>
              <a:gd name="connsiteY855" fmla="*/ 3146668 h 5808721"/>
              <a:gd name="connsiteX856" fmla="*/ 181775 w 6251734"/>
              <a:gd name="connsiteY856" fmla="*/ 3178985 h 5808721"/>
              <a:gd name="connsiteX857" fmla="*/ 216948 w 6251734"/>
              <a:gd name="connsiteY857" fmla="*/ 3190170 h 5808721"/>
              <a:gd name="connsiteX858" fmla="*/ 266550 w 6251734"/>
              <a:gd name="connsiteY858" fmla="*/ 3200120 h 5808721"/>
              <a:gd name="connsiteX859" fmla="*/ 262773 w 6251734"/>
              <a:gd name="connsiteY859" fmla="*/ 3149552 h 5808721"/>
              <a:gd name="connsiteX860" fmla="*/ 245737 w 6251734"/>
              <a:gd name="connsiteY860" fmla="*/ 3131203 h 5808721"/>
              <a:gd name="connsiteX861" fmla="*/ 556573 w 6251734"/>
              <a:gd name="connsiteY861" fmla="*/ 3065846 h 5808721"/>
              <a:gd name="connsiteX862" fmla="*/ 558070 w 6251734"/>
              <a:gd name="connsiteY862" fmla="*/ 3086095 h 5808721"/>
              <a:gd name="connsiteX863" fmla="*/ 557031 w 6251734"/>
              <a:gd name="connsiteY863" fmla="*/ 3104875 h 5808721"/>
              <a:gd name="connsiteX864" fmla="*/ 573606 w 6251734"/>
              <a:gd name="connsiteY864" fmla="*/ 3085614 h 5808721"/>
              <a:gd name="connsiteX865" fmla="*/ 259173 w 6251734"/>
              <a:gd name="connsiteY865" fmla="*/ 3065486 h 5808721"/>
              <a:gd name="connsiteX866" fmla="*/ 241966 w 6251734"/>
              <a:gd name="connsiteY866" fmla="*/ 3085481 h 5808721"/>
              <a:gd name="connsiteX867" fmla="*/ 259516 w 6251734"/>
              <a:gd name="connsiteY867" fmla="*/ 3105960 h 5808721"/>
              <a:gd name="connsiteX868" fmla="*/ 258032 w 6251734"/>
              <a:gd name="connsiteY868" fmla="*/ 3086095 h 5808721"/>
              <a:gd name="connsiteX869" fmla="*/ 408909 w 6251734"/>
              <a:gd name="connsiteY869" fmla="*/ 3023515 h 5808721"/>
              <a:gd name="connsiteX870" fmla="*/ 471488 w 6251734"/>
              <a:gd name="connsiteY870" fmla="*/ 3086095 h 5808721"/>
              <a:gd name="connsiteX871" fmla="*/ 408909 w 6251734"/>
              <a:gd name="connsiteY871" fmla="*/ 3148674 h 5808721"/>
              <a:gd name="connsiteX872" fmla="*/ 346329 w 6251734"/>
              <a:gd name="connsiteY872" fmla="*/ 3086095 h 5808721"/>
              <a:gd name="connsiteX873" fmla="*/ 408909 w 6251734"/>
              <a:gd name="connsiteY873" fmla="*/ 3023515 h 5808721"/>
              <a:gd name="connsiteX874" fmla="*/ 153678 w 6251734"/>
              <a:gd name="connsiteY874" fmla="*/ 3002555 h 5808721"/>
              <a:gd name="connsiteX875" fmla="*/ 124280 w 6251734"/>
              <a:gd name="connsiteY875" fmla="*/ 3015709 h 5808721"/>
              <a:gd name="connsiteX876" fmla="*/ 66009 w 6251734"/>
              <a:gd name="connsiteY876" fmla="*/ 3086095 h 5808721"/>
              <a:gd name="connsiteX877" fmla="*/ 107354 w 6251734"/>
              <a:gd name="connsiteY877" fmla="*/ 3145918 h 5808721"/>
              <a:gd name="connsiteX878" fmla="*/ 153101 w 6251734"/>
              <a:gd name="connsiteY878" fmla="*/ 3169496 h 5808721"/>
              <a:gd name="connsiteX879" fmla="*/ 158538 w 6251734"/>
              <a:gd name="connsiteY879" fmla="*/ 3159312 h 5808721"/>
              <a:gd name="connsiteX880" fmla="*/ 197758 w 6251734"/>
              <a:gd name="connsiteY880" fmla="*/ 3100495 h 5808721"/>
              <a:gd name="connsiteX881" fmla="*/ 210657 w 6251734"/>
              <a:gd name="connsiteY881" fmla="*/ 3084265 h 5808721"/>
              <a:gd name="connsiteX882" fmla="*/ 167482 w 6251734"/>
              <a:gd name="connsiteY882" fmla="*/ 3026495 h 5808721"/>
              <a:gd name="connsiteX883" fmla="*/ 663026 w 6251734"/>
              <a:gd name="connsiteY883" fmla="*/ 3002411 h 5808721"/>
              <a:gd name="connsiteX884" fmla="*/ 657566 w 6251734"/>
              <a:gd name="connsiteY884" fmla="*/ 3012654 h 5808721"/>
              <a:gd name="connsiteX885" fmla="*/ 618347 w 6251734"/>
              <a:gd name="connsiteY885" fmla="*/ 3071576 h 5808721"/>
              <a:gd name="connsiteX886" fmla="*/ 606027 w 6251734"/>
              <a:gd name="connsiteY886" fmla="*/ 3087098 h 5808721"/>
              <a:gd name="connsiteX887" fmla="*/ 648622 w 6251734"/>
              <a:gd name="connsiteY887" fmla="*/ 3144181 h 5808721"/>
              <a:gd name="connsiteX888" fmla="*/ 663100 w 6251734"/>
              <a:gd name="connsiteY888" fmla="*/ 3169333 h 5808721"/>
              <a:gd name="connsiteX889" fmla="*/ 691823 w 6251734"/>
              <a:gd name="connsiteY889" fmla="*/ 3156482 h 5808721"/>
              <a:gd name="connsiteX890" fmla="*/ 750094 w 6251734"/>
              <a:gd name="connsiteY890" fmla="*/ 3086095 h 5808721"/>
              <a:gd name="connsiteX891" fmla="*/ 708749 w 6251734"/>
              <a:gd name="connsiteY891" fmla="*/ 3026099 h 5808721"/>
              <a:gd name="connsiteX892" fmla="*/ 264344 w 6251734"/>
              <a:gd name="connsiteY892" fmla="*/ 2972075 h 5808721"/>
              <a:gd name="connsiteX893" fmla="*/ 216572 w 6251734"/>
              <a:gd name="connsiteY893" fmla="*/ 2981643 h 5808721"/>
              <a:gd name="connsiteX894" fmla="*/ 182153 w 6251734"/>
              <a:gd name="connsiteY894" fmla="*/ 2992125 h 5808721"/>
              <a:gd name="connsiteX895" fmla="*/ 185871 w 6251734"/>
              <a:gd name="connsiteY895" fmla="*/ 3000908 h 5808721"/>
              <a:gd name="connsiteX896" fmla="*/ 226227 w 6251734"/>
              <a:gd name="connsiteY896" fmla="*/ 3064676 h 5808721"/>
              <a:gd name="connsiteX897" fmla="*/ 245737 w 6251734"/>
              <a:gd name="connsiteY897" fmla="*/ 3040131 h 5808721"/>
              <a:gd name="connsiteX898" fmla="*/ 261518 w 6251734"/>
              <a:gd name="connsiteY898" fmla="*/ 3023133 h 5808721"/>
              <a:gd name="connsiteX899" fmla="*/ 549613 w 6251734"/>
              <a:gd name="connsiteY899" fmla="*/ 2971718 h 5808721"/>
              <a:gd name="connsiteX900" fmla="*/ 553247 w 6251734"/>
              <a:gd name="connsiteY900" fmla="*/ 3020858 h 5808721"/>
              <a:gd name="connsiteX901" fmla="*/ 570367 w 6251734"/>
              <a:gd name="connsiteY901" fmla="*/ 3039308 h 5808721"/>
              <a:gd name="connsiteX902" fmla="*/ 589651 w 6251734"/>
              <a:gd name="connsiteY902" fmla="*/ 3065152 h 5808721"/>
              <a:gd name="connsiteX903" fmla="*/ 617139 w 6251734"/>
              <a:gd name="connsiteY903" fmla="*/ 3023810 h 5808721"/>
              <a:gd name="connsiteX904" fmla="*/ 633701 w 6251734"/>
              <a:gd name="connsiteY904" fmla="*/ 2992672 h 5808721"/>
              <a:gd name="connsiteX905" fmla="*/ 599155 w 6251734"/>
              <a:gd name="connsiteY905" fmla="*/ 2981643 h 5808721"/>
              <a:gd name="connsiteX906" fmla="*/ 501023 w 6251734"/>
              <a:gd name="connsiteY906" fmla="*/ 2967017 h 5808721"/>
              <a:gd name="connsiteX907" fmla="*/ 514350 w 6251734"/>
              <a:gd name="connsiteY907" fmla="*/ 2978939 h 5808721"/>
              <a:gd name="connsiteX908" fmla="*/ 527186 w 6251734"/>
              <a:gd name="connsiteY908" fmla="*/ 2992772 h 5808721"/>
              <a:gd name="connsiteX909" fmla="*/ 525405 w 6251734"/>
              <a:gd name="connsiteY909" fmla="*/ 2968836 h 5808721"/>
              <a:gd name="connsiteX910" fmla="*/ 315586 w 6251734"/>
              <a:gd name="connsiteY910" fmla="*/ 2966960 h 5808721"/>
              <a:gd name="connsiteX911" fmla="*/ 290341 w 6251734"/>
              <a:gd name="connsiteY911" fmla="*/ 2968839 h 5808721"/>
              <a:gd name="connsiteX912" fmla="*/ 287715 w 6251734"/>
              <a:gd name="connsiteY912" fmla="*/ 2983640 h 5808721"/>
              <a:gd name="connsiteX913" fmla="*/ 287044 w 6251734"/>
              <a:gd name="connsiteY913" fmla="*/ 2995639 h 5808721"/>
              <a:gd name="connsiteX914" fmla="*/ 301753 w 6251734"/>
              <a:gd name="connsiteY914" fmla="*/ 2979796 h 5808721"/>
              <a:gd name="connsiteX915" fmla="*/ 408051 w 6251734"/>
              <a:gd name="connsiteY915" fmla="*/ 2960079 h 5808721"/>
              <a:gd name="connsiteX916" fmla="*/ 356209 w 6251734"/>
              <a:gd name="connsiteY916" fmla="*/ 2963937 h 5808721"/>
              <a:gd name="connsiteX917" fmla="*/ 318898 w 6251734"/>
              <a:gd name="connsiteY917" fmla="*/ 2996084 h 5808721"/>
              <a:gd name="connsiteX918" fmla="*/ 284805 w 6251734"/>
              <a:gd name="connsiteY918" fmla="*/ 3035702 h 5808721"/>
              <a:gd name="connsiteX919" fmla="*/ 282035 w 6251734"/>
              <a:gd name="connsiteY919" fmla="*/ 3085238 h 5808721"/>
              <a:gd name="connsiteX920" fmla="*/ 285866 w 6251734"/>
              <a:gd name="connsiteY920" fmla="*/ 3136706 h 5808721"/>
              <a:gd name="connsiteX921" fmla="*/ 318897 w 6251734"/>
              <a:gd name="connsiteY921" fmla="*/ 3175250 h 5808721"/>
              <a:gd name="connsiteX922" fmla="*/ 355604 w 6251734"/>
              <a:gd name="connsiteY922" fmla="*/ 3208055 h 5808721"/>
              <a:gd name="connsiteX923" fmla="*/ 408051 w 6251734"/>
              <a:gd name="connsiteY923" fmla="*/ 3212111 h 5808721"/>
              <a:gd name="connsiteX924" fmla="*/ 457727 w 6251734"/>
              <a:gd name="connsiteY924" fmla="*/ 3208414 h 5808721"/>
              <a:gd name="connsiteX925" fmla="*/ 497206 w 6251734"/>
              <a:gd name="connsiteY925" fmla="*/ 3174393 h 5808721"/>
              <a:gd name="connsiteX926" fmla="*/ 531308 w 6251734"/>
              <a:gd name="connsiteY926" fmla="*/ 3134766 h 5808721"/>
              <a:gd name="connsiteX927" fmla="*/ 534067 w 6251734"/>
              <a:gd name="connsiteY927" fmla="*/ 3085238 h 5808721"/>
              <a:gd name="connsiteX928" fmla="*/ 530360 w 6251734"/>
              <a:gd name="connsiteY928" fmla="*/ 3035422 h 5808721"/>
              <a:gd name="connsiteX929" fmla="*/ 497205 w 6251734"/>
              <a:gd name="connsiteY929" fmla="*/ 2996941 h 5808721"/>
              <a:gd name="connsiteX930" fmla="*/ 460323 w 6251734"/>
              <a:gd name="connsiteY930" fmla="*/ 2963980 h 5808721"/>
              <a:gd name="connsiteX931" fmla="*/ 407682 w 6251734"/>
              <a:gd name="connsiteY931" fmla="*/ 2919589 h 5808721"/>
              <a:gd name="connsiteX932" fmla="*/ 386715 w 6251734"/>
              <a:gd name="connsiteY932" fmla="*/ 2937654 h 5808721"/>
              <a:gd name="connsiteX933" fmla="*/ 408051 w 6251734"/>
              <a:gd name="connsiteY933" fmla="*/ 2936076 h 5808721"/>
              <a:gd name="connsiteX934" fmla="*/ 430998 w 6251734"/>
              <a:gd name="connsiteY934" fmla="*/ 2937773 h 5808721"/>
              <a:gd name="connsiteX935" fmla="*/ 421196 w 6251734"/>
              <a:gd name="connsiteY935" fmla="*/ 2929013 h 5808721"/>
              <a:gd name="connsiteX936" fmla="*/ 313772 w 6251734"/>
              <a:gd name="connsiteY936" fmla="*/ 2860695 h 5808721"/>
              <a:gd name="connsiteX937" fmla="*/ 303599 w 6251734"/>
              <a:gd name="connsiteY937" fmla="*/ 2894135 h 5808721"/>
              <a:gd name="connsiteX938" fmla="*/ 294668 w 6251734"/>
              <a:gd name="connsiteY938" fmla="*/ 2944460 h 5808721"/>
              <a:gd name="connsiteX939" fmla="*/ 343747 w 6251734"/>
              <a:gd name="connsiteY939" fmla="*/ 2940831 h 5808721"/>
              <a:gd name="connsiteX940" fmla="*/ 362122 w 6251734"/>
              <a:gd name="connsiteY940" fmla="*/ 2923781 h 5808721"/>
              <a:gd name="connsiteX941" fmla="*/ 386241 w 6251734"/>
              <a:gd name="connsiteY941" fmla="*/ 2904637 h 5808721"/>
              <a:gd name="connsiteX942" fmla="*/ 346622 w 6251734"/>
              <a:gd name="connsiteY942" fmla="*/ 2877008 h 5808721"/>
              <a:gd name="connsiteX943" fmla="*/ 501946 w 6251734"/>
              <a:gd name="connsiteY943" fmla="*/ 2858728 h 5808721"/>
              <a:gd name="connsiteX944" fmla="*/ 469255 w 6251734"/>
              <a:gd name="connsiteY944" fmla="*/ 2876151 h 5808721"/>
              <a:gd name="connsiteX945" fmla="*/ 429247 w 6251734"/>
              <a:gd name="connsiteY945" fmla="*/ 2902810 h 5808721"/>
              <a:gd name="connsiteX946" fmla="*/ 471695 w 6251734"/>
              <a:gd name="connsiteY946" fmla="*/ 2940782 h 5808721"/>
              <a:gd name="connsiteX947" fmla="*/ 522501 w 6251734"/>
              <a:gd name="connsiteY947" fmla="*/ 2944539 h 5808721"/>
              <a:gd name="connsiteX948" fmla="*/ 505240 w 6251734"/>
              <a:gd name="connsiteY948" fmla="*/ 2867440 h 5808721"/>
              <a:gd name="connsiteX949" fmla="*/ 219818 w 6251734"/>
              <a:gd name="connsiteY949" fmla="*/ 2828773 h 5808721"/>
              <a:gd name="connsiteX950" fmla="*/ 166307 w 6251734"/>
              <a:gd name="connsiteY950" fmla="*/ 2844350 h 5808721"/>
              <a:gd name="connsiteX951" fmla="*/ 158080 w 6251734"/>
              <a:gd name="connsiteY951" fmla="*/ 2935262 h 5808721"/>
              <a:gd name="connsiteX952" fmla="*/ 170445 w 6251734"/>
              <a:gd name="connsiteY952" fmla="*/ 2964470 h 5808721"/>
              <a:gd name="connsiteX953" fmla="*/ 179864 w 6251734"/>
              <a:gd name="connsiteY953" fmla="*/ 2961618 h 5808721"/>
              <a:gd name="connsiteX954" fmla="*/ 249179 w 6251734"/>
              <a:gd name="connsiteY954" fmla="*/ 2947823 h 5808721"/>
              <a:gd name="connsiteX955" fmla="*/ 267973 w 6251734"/>
              <a:gd name="connsiteY955" fmla="*/ 2946434 h 5808721"/>
              <a:gd name="connsiteX956" fmla="*/ 283574 w 6251734"/>
              <a:gd name="connsiteY956" fmla="*/ 2857908 h 5808721"/>
              <a:gd name="connsiteX957" fmla="*/ 286788 w 6251734"/>
              <a:gd name="connsiteY957" fmla="*/ 2847295 h 5808721"/>
              <a:gd name="connsiteX958" fmla="*/ 277993 w 6251734"/>
              <a:gd name="connsiteY958" fmla="*/ 2842929 h 5808721"/>
              <a:gd name="connsiteX959" fmla="*/ 219818 w 6251734"/>
              <a:gd name="connsiteY959" fmla="*/ 2828773 h 5808721"/>
              <a:gd name="connsiteX960" fmla="*/ 595924 w 6251734"/>
              <a:gd name="connsiteY960" fmla="*/ 2827916 h 5808721"/>
              <a:gd name="connsiteX961" fmla="*/ 558510 w 6251734"/>
              <a:gd name="connsiteY961" fmla="*/ 2835040 h 5808721"/>
              <a:gd name="connsiteX962" fmla="*/ 528370 w 6251734"/>
              <a:gd name="connsiteY962" fmla="*/ 2846540 h 5808721"/>
              <a:gd name="connsiteX963" fmla="*/ 546323 w 6251734"/>
              <a:gd name="connsiteY963" fmla="*/ 2927223 h 5808721"/>
              <a:gd name="connsiteX964" fmla="*/ 547742 w 6251734"/>
              <a:gd name="connsiteY964" fmla="*/ 2946405 h 5808721"/>
              <a:gd name="connsiteX965" fmla="*/ 566924 w 6251734"/>
              <a:gd name="connsiteY965" fmla="*/ 2947823 h 5808721"/>
              <a:gd name="connsiteX966" fmla="*/ 646399 w 6251734"/>
              <a:gd name="connsiteY966" fmla="*/ 2965508 h 5808721"/>
              <a:gd name="connsiteX967" fmla="*/ 658251 w 6251734"/>
              <a:gd name="connsiteY967" fmla="*/ 2934405 h 5808721"/>
              <a:gd name="connsiteX968" fmla="*/ 649797 w 6251734"/>
              <a:gd name="connsiteY968" fmla="*/ 2843494 h 5808721"/>
              <a:gd name="connsiteX969" fmla="*/ 595924 w 6251734"/>
              <a:gd name="connsiteY969" fmla="*/ 2827916 h 5808721"/>
              <a:gd name="connsiteX970" fmla="*/ 408051 w 6251734"/>
              <a:gd name="connsiteY970" fmla="*/ 2743195 h 5808721"/>
              <a:gd name="connsiteX971" fmla="*/ 337665 w 6251734"/>
              <a:gd name="connsiteY971" fmla="*/ 2801693 h 5808721"/>
              <a:gd name="connsiteX972" fmla="*/ 324723 w 6251734"/>
              <a:gd name="connsiteY972" fmla="*/ 2830683 h 5808721"/>
              <a:gd name="connsiteX973" fmla="*/ 334835 w 6251734"/>
              <a:gd name="connsiteY973" fmla="*/ 2835724 h 5808721"/>
              <a:gd name="connsiteX974" fmla="*/ 408327 w 6251734"/>
              <a:gd name="connsiteY974" fmla="*/ 2887107 h 5808721"/>
              <a:gd name="connsiteX975" fmla="*/ 422572 w 6251734"/>
              <a:gd name="connsiteY975" fmla="*/ 2875801 h 5808721"/>
              <a:gd name="connsiteX976" fmla="*/ 481495 w 6251734"/>
              <a:gd name="connsiteY976" fmla="*/ 2836582 h 5808721"/>
              <a:gd name="connsiteX977" fmla="*/ 491548 w 6251734"/>
              <a:gd name="connsiteY977" fmla="*/ 2831224 h 5808721"/>
              <a:gd name="connsiteX978" fmla="*/ 485785 w 6251734"/>
              <a:gd name="connsiteY978" fmla="*/ 2815980 h 5808721"/>
              <a:gd name="connsiteX979" fmla="*/ 408051 w 6251734"/>
              <a:gd name="connsiteY979" fmla="*/ 2743195 h 5808721"/>
              <a:gd name="connsiteX980" fmla="*/ 6236067 w 6251734"/>
              <a:gd name="connsiteY980" fmla="*/ 2687689 h 5808721"/>
              <a:gd name="connsiteX981" fmla="*/ 6246782 w 6251734"/>
              <a:gd name="connsiteY981" fmla="*/ 2691760 h 5808721"/>
              <a:gd name="connsiteX982" fmla="*/ 6247640 w 6251734"/>
              <a:gd name="connsiteY982" fmla="*/ 2713192 h 5808721"/>
              <a:gd name="connsiteX983" fmla="*/ 6216014 w 6251734"/>
              <a:gd name="connsiteY983" fmla="*/ 2748180 h 5808721"/>
              <a:gd name="connsiteX984" fmla="*/ 6222322 w 6251734"/>
              <a:gd name="connsiteY984" fmla="*/ 2756871 h 5808721"/>
              <a:gd name="connsiteX985" fmla="*/ 6209062 w 6251734"/>
              <a:gd name="connsiteY985" fmla="*/ 2846922 h 5808721"/>
              <a:gd name="connsiteX986" fmla="*/ 6151734 w 6251734"/>
              <a:gd name="connsiteY986" fmla="*/ 2873711 h 5808721"/>
              <a:gd name="connsiteX987" fmla="*/ 6133744 w 6251734"/>
              <a:gd name="connsiteY987" fmla="*/ 2871200 h 5808721"/>
              <a:gd name="connsiteX988" fmla="*/ 6125031 w 6251734"/>
              <a:gd name="connsiteY988" fmla="*/ 2893063 h 5808721"/>
              <a:gd name="connsiteX989" fmla="*/ 5925312 w 6251734"/>
              <a:gd name="connsiteY989" fmla="*/ 3375846 h 5808721"/>
              <a:gd name="connsiteX990" fmla="*/ 5917597 w 6251734"/>
              <a:gd name="connsiteY990" fmla="*/ 3266975 h 5808721"/>
              <a:gd name="connsiteX991" fmla="*/ 6056644 w 6251734"/>
              <a:gd name="connsiteY991" fmla="*/ 2907754 h 5808721"/>
              <a:gd name="connsiteX992" fmla="*/ 6068648 w 6251734"/>
              <a:gd name="connsiteY992" fmla="*/ 2877062 h 5808721"/>
              <a:gd name="connsiteX993" fmla="*/ 5680138 w 6251734"/>
              <a:gd name="connsiteY993" fmla="*/ 3041518 h 5808721"/>
              <a:gd name="connsiteX994" fmla="*/ 5576411 w 6251734"/>
              <a:gd name="connsiteY994" fmla="*/ 3046661 h 5808721"/>
              <a:gd name="connsiteX995" fmla="*/ 5660422 w 6251734"/>
              <a:gd name="connsiteY995" fmla="*/ 2986654 h 5808721"/>
              <a:gd name="connsiteX996" fmla="*/ 6069879 w 6251734"/>
              <a:gd name="connsiteY996" fmla="*/ 2807820 h 5808721"/>
              <a:gd name="connsiteX997" fmla="*/ 6065771 w 6251734"/>
              <a:gd name="connsiteY997" fmla="*/ 2780383 h 5808721"/>
              <a:gd name="connsiteX998" fmla="*/ 6086476 w 6251734"/>
              <a:gd name="connsiteY998" fmla="*/ 2736337 h 5808721"/>
              <a:gd name="connsiteX999" fmla="*/ 6143804 w 6251734"/>
              <a:gd name="connsiteY999" fmla="*/ 2709228 h 5808721"/>
              <a:gd name="connsiteX1000" fmla="*/ 6175080 w 6251734"/>
              <a:gd name="connsiteY1000" fmla="*/ 2713794 h 5808721"/>
              <a:gd name="connsiteX1001" fmla="*/ 6195368 w 6251734"/>
              <a:gd name="connsiteY1001" fmla="*/ 2725788 h 5808721"/>
              <a:gd name="connsiteX1002" fmla="*/ 6225351 w 6251734"/>
              <a:gd name="connsiteY1002" fmla="*/ 2692617 h 5808721"/>
              <a:gd name="connsiteX1003" fmla="*/ 6236067 w 6251734"/>
              <a:gd name="connsiteY1003" fmla="*/ 2687689 h 5808721"/>
              <a:gd name="connsiteX1004" fmla="*/ 408051 w 6251734"/>
              <a:gd name="connsiteY1004" fmla="*/ 2678044 h 5808721"/>
              <a:gd name="connsiteX1005" fmla="*/ 492060 w 6251734"/>
              <a:gd name="connsiteY1005" fmla="*/ 2747708 h 5808721"/>
              <a:gd name="connsiteX1006" fmla="*/ 519745 w 6251734"/>
              <a:gd name="connsiteY1006" fmla="*/ 2816195 h 5808721"/>
              <a:gd name="connsiteX1007" fmla="*/ 537283 w 6251734"/>
              <a:gd name="connsiteY1007" fmla="*/ 2806846 h 5808721"/>
              <a:gd name="connsiteX1008" fmla="*/ 696946 w 6251734"/>
              <a:gd name="connsiteY1008" fmla="*/ 2797202 h 5808721"/>
              <a:gd name="connsiteX1009" fmla="*/ 687302 w 6251734"/>
              <a:gd name="connsiteY1009" fmla="*/ 2956865 h 5808721"/>
              <a:gd name="connsiteX1010" fmla="*/ 677955 w 6251734"/>
              <a:gd name="connsiteY1010" fmla="*/ 2974402 h 5808721"/>
              <a:gd name="connsiteX1011" fmla="*/ 746440 w 6251734"/>
              <a:gd name="connsiteY1011" fmla="*/ 3002086 h 5808721"/>
              <a:gd name="connsiteX1012" fmla="*/ 816103 w 6251734"/>
              <a:gd name="connsiteY1012" fmla="*/ 3086095 h 5808721"/>
              <a:gd name="connsiteX1013" fmla="*/ 696624 w 6251734"/>
              <a:gd name="connsiteY1013" fmla="*/ 3191966 h 5808721"/>
              <a:gd name="connsiteX1014" fmla="*/ 678828 w 6251734"/>
              <a:gd name="connsiteY1014" fmla="*/ 3197383 h 5808721"/>
              <a:gd name="connsiteX1015" fmla="*/ 698388 w 6251734"/>
              <a:gd name="connsiteY1015" fmla="*/ 3240686 h 5808721"/>
              <a:gd name="connsiteX1016" fmla="*/ 696946 w 6251734"/>
              <a:gd name="connsiteY1016" fmla="*/ 3374132 h 5808721"/>
              <a:gd name="connsiteX1017" fmla="*/ 536961 w 6251734"/>
              <a:gd name="connsiteY1017" fmla="*/ 3364809 h 5808721"/>
              <a:gd name="connsiteX1018" fmla="*/ 519982 w 6251734"/>
              <a:gd name="connsiteY1018" fmla="*/ 3355715 h 5808721"/>
              <a:gd name="connsiteX1019" fmla="*/ 514243 w 6251734"/>
              <a:gd name="connsiteY1019" fmla="*/ 3374667 h 5808721"/>
              <a:gd name="connsiteX1020" fmla="*/ 408051 w 6251734"/>
              <a:gd name="connsiteY1020" fmla="*/ 3494146 h 5808721"/>
              <a:gd name="connsiteX1021" fmla="*/ 324419 w 6251734"/>
              <a:gd name="connsiteY1021" fmla="*/ 3424483 h 5808721"/>
              <a:gd name="connsiteX1022" fmla="*/ 296648 w 6251734"/>
              <a:gd name="connsiteY1022" fmla="*/ 3355999 h 5808721"/>
              <a:gd name="connsiteX1023" fmla="*/ 279143 w 6251734"/>
              <a:gd name="connsiteY1023" fmla="*/ 3365346 h 5808721"/>
              <a:gd name="connsiteX1024" fmla="*/ 119158 w 6251734"/>
              <a:gd name="connsiteY1024" fmla="*/ 3374990 h 5808721"/>
              <a:gd name="connsiteX1025" fmla="*/ 128803 w 6251734"/>
              <a:gd name="connsiteY1025" fmla="*/ 3215005 h 5808721"/>
              <a:gd name="connsiteX1026" fmla="*/ 138022 w 6251734"/>
              <a:gd name="connsiteY1026" fmla="*/ 3197737 h 5808721"/>
              <a:gd name="connsiteX1027" fmla="*/ 69663 w 6251734"/>
              <a:gd name="connsiteY1027" fmla="*/ 3170104 h 5808721"/>
              <a:gd name="connsiteX1028" fmla="*/ 0 w 6251734"/>
              <a:gd name="connsiteY1028" fmla="*/ 3086095 h 5808721"/>
              <a:gd name="connsiteX1029" fmla="*/ 119480 w 6251734"/>
              <a:gd name="connsiteY1029" fmla="*/ 2979903 h 5808721"/>
              <a:gd name="connsiteX1030" fmla="*/ 137725 w 6251734"/>
              <a:gd name="connsiteY1030" fmla="*/ 2974378 h 5808721"/>
              <a:gd name="connsiteX1031" fmla="*/ 117717 w 6251734"/>
              <a:gd name="connsiteY1031" fmla="*/ 2930147 h 5808721"/>
              <a:gd name="connsiteX1032" fmla="*/ 119158 w 6251734"/>
              <a:gd name="connsiteY1032" fmla="*/ 2796344 h 5808721"/>
              <a:gd name="connsiteX1033" fmla="*/ 183438 w 6251734"/>
              <a:gd name="connsiteY1033" fmla="*/ 2777860 h 5808721"/>
              <a:gd name="connsiteX1034" fmla="*/ 252960 w 6251734"/>
              <a:gd name="connsiteY1034" fmla="*/ 2794903 h 5808721"/>
              <a:gd name="connsiteX1035" fmla="*/ 296135 w 6251734"/>
              <a:gd name="connsiteY1035" fmla="*/ 2816430 h 5808721"/>
              <a:gd name="connsiteX1036" fmla="*/ 301859 w 6251734"/>
              <a:gd name="connsiteY1036" fmla="*/ 2797524 h 5808721"/>
              <a:gd name="connsiteX1037" fmla="*/ 408051 w 6251734"/>
              <a:gd name="connsiteY1037" fmla="*/ 2678044 h 5808721"/>
              <a:gd name="connsiteX1038" fmla="*/ 5013199 w 6251734"/>
              <a:gd name="connsiteY1038" fmla="*/ 2674617 h 5808721"/>
              <a:gd name="connsiteX1039" fmla="*/ 5013199 w 6251734"/>
              <a:gd name="connsiteY1039" fmla="*/ 3173535 h 5808721"/>
              <a:gd name="connsiteX1040" fmla="*/ 5299521 w 6251734"/>
              <a:gd name="connsiteY1040" fmla="*/ 3173535 h 5808721"/>
              <a:gd name="connsiteX1041" fmla="*/ 1456470 w 6251734"/>
              <a:gd name="connsiteY1041" fmla="*/ 2362577 h 5808721"/>
              <a:gd name="connsiteX1042" fmla="*/ 1669068 w 6251734"/>
              <a:gd name="connsiteY1042" fmla="*/ 2628325 h 5808721"/>
              <a:gd name="connsiteX1043" fmla="*/ 1485616 w 6251734"/>
              <a:gd name="connsiteY1043" fmla="*/ 2776629 h 5808721"/>
              <a:gd name="connsiteX1044" fmla="*/ 1306451 w 6251734"/>
              <a:gd name="connsiteY1044" fmla="*/ 2916361 h 5808721"/>
              <a:gd name="connsiteX1045" fmla="*/ 1094710 w 6251734"/>
              <a:gd name="connsiteY1045" fmla="*/ 2652328 h 5808721"/>
              <a:gd name="connsiteX1046" fmla="*/ 1275590 w 6251734"/>
              <a:gd name="connsiteY1046" fmla="*/ 2507453 h 5808721"/>
              <a:gd name="connsiteX1047" fmla="*/ 4655725 w 6251734"/>
              <a:gd name="connsiteY1047" fmla="*/ 2293138 h 5808721"/>
              <a:gd name="connsiteX1048" fmla="*/ 4792886 w 6251734"/>
              <a:gd name="connsiteY1048" fmla="*/ 2293138 h 5808721"/>
              <a:gd name="connsiteX1049" fmla="*/ 4792886 w 6251734"/>
              <a:gd name="connsiteY1049" fmla="*/ 3310694 h 5808721"/>
              <a:gd name="connsiteX1050" fmla="*/ 4655725 w 6251734"/>
              <a:gd name="connsiteY1050" fmla="*/ 3310694 h 5808721"/>
              <a:gd name="connsiteX1051" fmla="*/ 409649 w 6251734"/>
              <a:gd name="connsiteY1051" fmla="*/ 2273959 h 5808721"/>
              <a:gd name="connsiteX1052" fmla="*/ 459486 w 6251734"/>
              <a:gd name="connsiteY1052" fmla="*/ 2287996 h 5808721"/>
              <a:gd name="connsiteX1053" fmla="*/ 421017 w 6251734"/>
              <a:gd name="connsiteY1053" fmla="*/ 2278031 h 5808721"/>
              <a:gd name="connsiteX1054" fmla="*/ 4930045 w 6251734"/>
              <a:gd name="connsiteY1054" fmla="*/ 2273422 h 5808721"/>
              <a:gd name="connsiteX1055" fmla="*/ 5477829 w 6251734"/>
              <a:gd name="connsiteY1055" fmla="*/ 3311552 h 5808721"/>
              <a:gd name="connsiteX1056" fmla="*/ 4930045 w 6251734"/>
              <a:gd name="connsiteY1056" fmla="*/ 3311552 h 5808721"/>
              <a:gd name="connsiteX1057" fmla="*/ 5782627 w 6251734"/>
              <a:gd name="connsiteY1057" fmla="*/ 2202717 h 5808721"/>
              <a:gd name="connsiteX1058" fmla="*/ 5767752 w 6251734"/>
              <a:gd name="connsiteY1058" fmla="*/ 2214541 h 5808721"/>
              <a:gd name="connsiteX1059" fmla="*/ 5708935 w 6251734"/>
              <a:gd name="connsiteY1059" fmla="*/ 2253760 h 5808721"/>
              <a:gd name="connsiteX1060" fmla="*/ 5698749 w 6251734"/>
              <a:gd name="connsiteY1060" fmla="*/ 2259199 h 5808721"/>
              <a:gd name="connsiteX1061" fmla="*/ 5722156 w 6251734"/>
              <a:gd name="connsiteY1061" fmla="*/ 2304260 h 5808721"/>
              <a:gd name="connsiteX1062" fmla="*/ 5782152 w 6251734"/>
              <a:gd name="connsiteY1062" fmla="*/ 2345431 h 5808721"/>
              <a:gd name="connsiteX1063" fmla="*/ 5842148 w 6251734"/>
              <a:gd name="connsiteY1063" fmla="*/ 2304260 h 5808721"/>
              <a:gd name="connsiteX1064" fmla="*/ 5865804 w 6251734"/>
              <a:gd name="connsiteY1064" fmla="*/ 2258720 h 5808721"/>
              <a:gd name="connsiteX1065" fmla="*/ 5855368 w 6251734"/>
              <a:gd name="connsiteY1065" fmla="*/ 2253129 h 5808721"/>
              <a:gd name="connsiteX1066" fmla="*/ 5796551 w 6251734"/>
              <a:gd name="connsiteY1066" fmla="*/ 2213804 h 5808721"/>
              <a:gd name="connsiteX1067" fmla="*/ 5760901 w 6251734"/>
              <a:gd name="connsiteY1067" fmla="*/ 2151836 h 5808721"/>
              <a:gd name="connsiteX1068" fmla="*/ 5781715 w 6251734"/>
              <a:gd name="connsiteY1068" fmla="*/ 2169748 h 5808721"/>
              <a:gd name="connsiteX1069" fmla="*/ 5802358 w 6251734"/>
              <a:gd name="connsiteY1069" fmla="*/ 2151959 h 5808721"/>
              <a:gd name="connsiteX1070" fmla="*/ 5782152 w 6251734"/>
              <a:gd name="connsiteY1070" fmla="*/ 2153407 h 5808721"/>
              <a:gd name="connsiteX1071" fmla="*/ 5896549 w 6251734"/>
              <a:gd name="connsiteY1071" fmla="*/ 2145209 h 5808721"/>
              <a:gd name="connsiteX1072" fmla="*/ 5847314 w 6251734"/>
              <a:gd name="connsiteY1072" fmla="*/ 2148737 h 5808721"/>
              <a:gd name="connsiteX1073" fmla="*/ 5828117 w 6251734"/>
              <a:gd name="connsiteY1073" fmla="*/ 2166561 h 5808721"/>
              <a:gd name="connsiteX1074" fmla="*/ 5803118 w 6251734"/>
              <a:gd name="connsiteY1074" fmla="*/ 2186431 h 5808721"/>
              <a:gd name="connsiteX1075" fmla="*/ 5843581 w 6251734"/>
              <a:gd name="connsiteY1075" fmla="*/ 2213334 h 5808721"/>
              <a:gd name="connsiteX1076" fmla="*/ 5875307 w 6251734"/>
              <a:gd name="connsiteY1076" fmla="*/ 2230209 h 5808721"/>
              <a:gd name="connsiteX1077" fmla="*/ 5886604 w 6251734"/>
              <a:gd name="connsiteY1077" fmla="*/ 2194868 h 5808721"/>
              <a:gd name="connsiteX1078" fmla="*/ 5667701 w 6251734"/>
              <a:gd name="connsiteY1078" fmla="*/ 2144945 h 5808721"/>
              <a:gd name="connsiteX1079" fmla="*/ 5677700 w 6251734"/>
              <a:gd name="connsiteY1079" fmla="*/ 2194868 h 5808721"/>
              <a:gd name="connsiteX1080" fmla="*/ 5688842 w 6251734"/>
              <a:gd name="connsiteY1080" fmla="*/ 2229724 h 5808721"/>
              <a:gd name="connsiteX1081" fmla="*/ 5720722 w 6251734"/>
              <a:gd name="connsiteY1081" fmla="*/ 2212702 h 5808721"/>
              <a:gd name="connsiteX1082" fmla="*/ 5761232 w 6251734"/>
              <a:gd name="connsiteY1082" fmla="*/ 2185681 h 5808721"/>
              <a:gd name="connsiteX1083" fmla="*/ 5736186 w 6251734"/>
              <a:gd name="connsiteY1083" fmla="*/ 2165739 h 5808721"/>
              <a:gd name="connsiteX1084" fmla="*/ 5717789 w 6251734"/>
              <a:gd name="connsiteY1084" fmla="*/ 2148648 h 5808721"/>
              <a:gd name="connsiteX1085" fmla="*/ 6020742 w 6251734"/>
              <a:gd name="connsiteY1085" fmla="*/ 2124279 h 5808721"/>
              <a:gd name="connsiteX1086" fmla="*/ 5941024 w 6251734"/>
              <a:gd name="connsiteY1086" fmla="*/ 2142022 h 5808721"/>
              <a:gd name="connsiteX1087" fmla="*/ 5921776 w 6251734"/>
              <a:gd name="connsiteY1087" fmla="*/ 2143401 h 5808721"/>
              <a:gd name="connsiteX1088" fmla="*/ 5920303 w 6251734"/>
              <a:gd name="connsiteY1088" fmla="*/ 2163118 h 5808721"/>
              <a:gd name="connsiteX1089" fmla="*/ 5902447 w 6251734"/>
              <a:gd name="connsiteY1089" fmla="*/ 2242808 h 5808721"/>
              <a:gd name="connsiteX1090" fmla="*/ 5932987 w 6251734"/>
              <a:gd name="connsiteY1090" fmla="*/ 2254446 h 5808721"/>
              <a:gd name="connsiteX1091" fmla="*/ 6023897 w 6251734"/>
              <a:gd name="connsiteY1091" fmla="*/ 2245992 h 5808721"/>
              <a:gd name="connsiteX1092" fmla="*/ 6032350 w 6251734"/>
              <a:gd name="connsiteY1092" fmla="*/ 2154704 h 5808721"/>
              <a:gd name="connsiteX1093" fmla="*/ 5543504 w 6251734"/>
              <a:gd name="connsiteY1093" fmla="*/ 2123909 h 5808721"/>
              <a:gd name="connsiteX1094" fmla="*/ 5531953 w 6251734"/>
              <a:gd name="connsiteY1094" fmla="*/ 2154223 h 5808721"/>
              <a:gd name="connsiteX1095" fmla="*/ 5540407 w 6251734"/>
              <a:gd name="connsiteY1095" fmla="*/ 2245135 h 5808721"/>
              <a:gd name="connsiteX1096" fmla="*/ 5631317 w 6251734"/>
              <a:gd name="connsiteY1096" fmla="*/ 2253964 h 5808721"/>
              <a:gd name="connsiteX1097" fmla="*/ 5661749 w 6251734"/>
              <a:gd name="connsiteY1097" fmla="*/ 2242328 h 5808721"/>
              <a:gd name="connsiteX1098" fmla="*/ 5644001 w 6251734"/>
              <a:gd name="connsiteY1098" fmla="*/ 2163118 h 5808721"/>
              <a:gd name="connsiteX1099" fmla="*/ 5642504 w 6251734"/>
              <a:gd name="connsiteY1099" fmla="*/ 2143082 h 5808721"/>
              <a:gd name="connsiteX1100" fmla="*/ 5623279 w 6251734"/>
              <a:gd name="connsiteY1100" fmla="*/ 2141660 h 5808721"/>
              <a:gd name="connsiteX1101" fmla="*/ 5901217 w 6251734"/>
              <a:gd name="connsiteY1101" fmla="*/ 2096788 h 5808721"/>
              <a:gd name="connsiteX1102" fmla="*/ 5888451 w 6251734"/>
              <a:gd name="connsiteY1102" fmla="*/ 2110545 h 5808721"/>
              <a:gd name="connsiteX1103" fmla="*/ 5875630 w 6251734"/>
              <a:gd name="connsiteY1103" fmla="*/ 2122448 h 5808721"/>
              <a:gd name="connsiteX1104" fmla="*/ 5899439 w 6251734"/>
              <a:gd name="connsiteY1104" fmla="*/ 2120676 h 5808721"/>
              <a:gd name="connsiteX1105" fmla="*/ 5663018 w 6251734"/>
              <a:gd name="connsiteY1105" fmla="*/ 2095865 h 5808721"/>
              <a:gd name="connsiteX1106" fmla="*/ 5664871 w 6251734"/>
              <a:gd name="connsiteY1106" fmla="*/ 2120759 h 5808721"/>
              <a:gd name="connsiteX1107" fmla="*/ 5689742 w 6251734"/>
              <a:gd name="connsiteY1107" fmla="*/ 2122592 h 5808721"/>
              <a:gd name="connsiteX1108" fmla="*/ 5675852 w 6251734"/>
              <a:gd name="connsiteY1108" fmla="*/ 2109688 h 5808721"/>
              <a:gd name="connsiteX1109" fmla="*/ 5964361 w 6251734"/>
              <a:gd name="connsiteY1109" fmla="*/ 2025112 h 5808721"/>
              <a:gd name="connsiteX1110" fmla="*/ 5944467 w 6251734"/>
              <a:gd name="connsiteY1110" fmla="*/ 2050176 h 5808721"/>
              <a:gd name="connsiteX1111" fmla="*/ 5927363 w 6251734"/>
              <a:gd name="connsiteY1111" fmla="*/ 2068609 h 5808721"/>
              <a:gd name="connsiteX1112" fmla="*/ 5923685 w 6251734"/>
              <a:gd name="connsiteY1112" fmla="*/ 2117844 h 5808721"/>
              <a:gd name="connsiteX1113" fmla="*/ 5973632 w 6251734"/>
              <a:gd name="connsiteY1113" fmla="*/ 2107841 h 5808721"/>
              <a:gd name="connsiteX1114" fmla="*/ 6007981 w 6251734"/>
              <a:gd name="connsiteY1114" fmla="*/ 2096861 h 5808721"/>
              <a:gd name="connsiteX1115" fmla="*/ 5991239 w 6251734"/>
              <a:gd name="connsiteY1115" fmla="*/ 2065450 h 5808721"/>
              <a:gd name="connsiteX1116" fmla="*/ 5599967 w 6251734"/>
              <a:gd name="connsiteY1116" fmla="*/ 2024356 h 5808721"/>
              <a:gd name="connsiteX1117" fmla="*/ 5573064 w 6251734"/>
              <a:gd name="connsiteY1117" fmla="*/ 2064817 h 5808721"/>
              <a:gd name="connsiteX1118" fmla="*/ 5555981 w 6251734"/>
              <a:gd name="connsiteY1118" fmla="*/ 2096936 h 5808721"/>
              <a:gd name="connsiteX1119" fmla="*/ 5591049 w 6251734"/>
              <a:gd name="connsiteY1119" fmla="*/ 2108067 h 5808721"/>
              <a:gd name="connsiteX1120" fmla="*/ 5640623 w 6251734"/>
              <a:gd name="connsiteY1120" fmla="*/ 2117908 h 5808721"/>
              <a:gd name="connsiteX1121" fmla="*/ 5636873 w 6251734"/>
              <a:gd name="connsiteY1121" fmla="*/ 2067704 h 5808721"/>
              <a:gd name="connsiteX1122" fmla="*/ 5619836 w 6251734"/>
              <a:gd name="connsiteY1122" fmla="*/ 2049354 h 5808721"/>
              <a:gd name="connsiteX1123" fmla="*/ 5930674 w 6251734"/>
              <a:gd name="connsiteY1123" fmla="*/ 1983998 h 5808721"/>
              <a:gd name="connsiteX1124" fmla="*/ 5932171 w 6251734"/>
              <a:gd name="connsiteY1124" fmla="*/ 2004246 h 5808721"/>
              <a:gd name="connsiteX1125" fmla="*/ 5930734 w 6251734"/>
              <a:gd name="connsiteY1125" fmla="*/ 2023487 h 5808721"/>
              <a:gd name="connsiteX1126" fmla="*/ 5947705 w 6251734"/>
              <a:gd name="connsiteY1126" fmla="*/ 2003765 h 5808721"/>
              <a:gd name="connsiteX1127" fmla="*/ 5633693 w 6251734"/>
              <a:gd name="connsiteY1127" fmla="*/ 1983147 h 5808721"/>
              <a:gd name="connsiteX1128" fmla="*/ 5615905 w 6251734"/>
              <a:gd name="connsiteY1128" fmla="*/ 2003818 h 5808721"/>
              <a:gd name="connsiteX1129" fmla="*/ 5633640 w 6251734"/>
              <a:gd name="connsiteY1129" fmla="*/ 2024428 h 5808721"/>
              <a:gd name="connsiteX1130" fmla="*/ 5632133 w 6251734"/>
              <a:gd name="connsiteY1130" fmla="*/ 2004246 h 5808721"/>
              <a:gd name="connsiteX1131" fmla="*/ 5783009 w 6251734"/>
              <a:gd name="connsiteY1131" fmla="*/ 1940810 h 5808721"/>
              <a:gd name="connsiteX1132" fmla="*/ 5845588 w 6251734"/>
              <a:gd name="connsiteY1132" fmla="*/ 2003389 h 5808721"/>
              <a:gd name="connsiteX1133" fmla="*/ 5783009 w 6251734"/>
              <a:gd name="connsiteY1133" fmla="*/ 2065968 h 5808721"/>
              <a:gd name="connsiteX1134" fmla="*/ 5720429 w 6251734"/>
              <a:gd name="connsiteY1134" fmla="*/ 2003389 h 5808721"/>
              <a:gd name="connsiteX1135" fmla="*/ 5783009 w 6251734"/>
              <a:gd name="connsiteY1135" fmla="*/ 1940810 h 5808721"/>
              <a:gd name="connsiteX1136" fmla="*/ 6037483 w 6251734"/>
              <a:gd name="connsiteY1136" fmla="*/ 1919889 h 5808721"/>
              <a:gd name="connsiteX1137" fmla="*/ 6031666 w 6251734"/>
              <a:gd name="connsiteY1137" fmla="*/ 1930805 h 5808721"/>
              <a:gd name="connsiteX1138" fmla="*/ 5992446 w 6251734"/>
              <a:gd name="connsiteY1138" fmla="*/ 1989726 h 5808721"/>
              <a:gd name="connsiteX1139" fmla="*/ 5981262 w 6251734"/>
              <a:gd name="connsiteY1139" fmla="*/ 2003818 h 5808721"/>
              <a:gd name="connsiteX1140" fmla="*/ 5992446 w 6251734"/>
              <a:gd name="connsiteY1140" fmla="*/ 2017909 h 5808721"/>
              <a:gd name="connsiteX1141" fmla="*/ 6031666 w 6251734"/>
              <a:gd name="connsiteY1141" fmla="*/ 2076831 h 5808721"/>
              <a:gd name="connsiteX1142" fmla="*/ 6037189 w 6251734"/>
              <a:gd name="connsiteY1142" fmla="*/ 2087193 h 5808721"/>
              <a:gd name="connsiteX1143" fmla="*/ 6083022 w 6251734"/>
              <a:gd name="connsiteY1143" fmla="*/ 2063384 h 5808721"/>
              <a:gd name="connsiteX1144" fmla="*/ 6124194 w 6251734"/>
              <a:gd name="connsiteY1144" fmla="*/ 2003388 h 5808721"/>
              <a:gd name="connsiteX1145" fmla="*/ 6082849 w 6251734"/>
              <a:gd name="connsiteY1145" fmla="*/ 1943392 h 5808721"/>
              <a:gd name="connsiteX1146" fmla="*/ 5527012 w 6251734"/>
              <a:gd name="connsiteY1146" fmla="*/ 1919637 h 5808721"/>
              <a:gd name="connsiteX1147" fmla="*/ 5481281 w 6251734"/>
              <a:gd name="connsiteY1147" fmla="*/ 1943393 h 5808721"/>
              <a:gd name="connsiteX1148" fmla="*/ 5440109 w 6251734"/>
              <a:gd name="connsiteY1148" fmla="*/ 2003388 h 5808721"/>
              <a:gd name="connsiteX1149" fmla="*/ 5481454 w 6251734"/>
              <a:gd name="connsiteY1149" fmla="*/ 2063765 h 5808721"/>
              <a:gd name="connsiteX1150" fmla="*/ 5527292 w 6251734"/>
              <a:gd name="connsiteY1150" fmla="*/ 2087474 h 5808721"/>
              <a:gd name="connsiteX1151" fmla="*/ 5532638 w 6251734"/>
              <a:gd name="connsiteY1151" fmla="*/ 2077462 h 5808721"/>
              <a:gd name="connsiteX1152" fmla="*/ 5571857 w 6251734"/>
              <a:gd name="connsiteY1152" fmla="*/ 2018645 h 5808721"/>
              <a:gd name="connsiteX1153" fmla="*/ 5583642 w 6251734"/>
              <a:gd name="connsiteY1153" fmla="*/ 2003818 h 5808721"/>
              <a:gd name="connsiteX1154" fmla="*/ 5571857 w 6251734"/>
              <a:gd name="connsiteY1154" fmla="*/ 1988990 h 5808721"/>
              <a:gd name="connsiteX1155" fmla="*/ 5532638 w 6251734"/>
              <a:gd name="connsiteY1155" fmla="*/ 1930175 h 5808721"/>
              <a:gd name="connsiteX1156" fmla="*/ 5923650 w 6251734"/>
              <a:gd name="connsiteY1156" fmla="*/ 1888999 h 5808721"/>
              <a:gd name="connsiteX1157" fmla="*/ 5927348 w 6251734"/>
              <a:gd name="connsiteY1157" fmla="*/ 1939009 h 5808721"/>
              <a:gd name="connsiteX1158" fmla="*/ 5944467 w 6251734"/>
              <a:gd name="connsiteY1158" fmla="*/ 1957460 h 5808721"/>
              <a:gd name="connsiteX1159" fmla="*/ 5964311 w 6251734"/>
              <a:gd name="connsiteY1159" fmla="*/ 1982460 h 5808721"/>
              <a:gd name="connsiteX1160" fmla="*/ 5991239 w 6251734"/>
              <a:gd name="connsiteY1160" fmla="*/ 1941959 h 5808721"/>
              <a:gd name="connsiteX1161" fmla="*/ 6008190 w 6251734"/>
              <a:gd name="connsiteY1161" fmla="*/ 1910091 h 5808721"/>
              <a:gd name="connsiteX1162" fmla="*/ 5973255 w 6251734"/>
              <a:gd name="connsiteY1162" fmla="*/ 1898937 h 5808721"/>
              <a:gd name="connsiteX1163" fmla="*/ 5640660 w 6251734"/>
              <a:gd name="connsiteY1163" fmla="*/ 1888926 h 5808721"/>
              <a:gd name="connsiteX1164" fmla="*/ 5590672 w 6251734"/>
              <a:gd name="connsiteY1164" fmla="*/ 1898937 h 5808721"/>
              <a:gd name="connsiteX1165" fmla="*/ 5555674 w 6251734"/>
              <a:gd name="connsiteY1165" fmla="*/ 1910123 h 5808721"/>
              <a:gd name="connsiteX1166" fmla="*/ 5573064 w 6251734"/>
              <a:gd name="connsiteY1166" fmla="*/ 1942817 h 5808721"/>
              <a:gd name="connsiteX1167" fmla="*/ 5599967 w 6251734"/>
              <a:gd name="connsiteY1167" fmla="*/ 1983279 h 5808721"/>
              <a:gd name="connsiteX1168" fmla="*/ 5619836 w 6251734"/>
              <a:gd name="connsiteY1168" fmla="*/ 1958282 h 5808721"/>
              <a:gd name="connsiteX1169" fmla="*/ 5636890 w 6251734"/>
              <a:gd name="connsiteY1169" fmla="*/ 1939913 h 5808721"/>
              <a:gd name="connsiteX1170" fmla="*/ 5874649 w 6251734"/>
              <a:gd name="connsiteY1170" fmla="*/ 1884276 h 5808721"/>
              <a:gd name="connsiteX1171" fmla="*/ 5888451 w 6251734"/>
              <a:gd name="connsiteY1171" fmla="*/ 1897089 h 5808721"/>
              <a:gd name="connsiteX1172" fmla="*/ 5901285 w 6251734"/>
              <a:gd name="connsiteY1172" fmla="*/ 1910921 h 5808721"/>
              <a:gd name="connsiteX1173" fmla="*/ 5899440 w 6251734"/>
              <a:gd name="connsiteY1173" fmla="*/ 1886125 h 5808721"/>
              <a:gd name="connsiteX1174" fmla="*/ 5691290 w 6251734"/>
              <a:gd name="connsiteY1174" fmla="*/ 1884137 h 5808721"/>
              <a:gd name="connsiteX1175" fmla="*/ 5664888 w 6251734"/>
              <a:gd name="connsiteY1175" fmla="*/ 1886102 h 5808721"/>
              <a:gd name="connsiteX1176" fmla="*/ 5662969 w 6251734"/>
              <a:gd name="connsiteY1176" fmla="*/ 1911824 h 5808721"/>
              <a:gd name="connsiteX1177" fmla="*/ 5675852 w 6251734"/>
              <a:gd name="connsiteY1177" fmla="*/ 1897947 h 5808721"/>
              <a:gd name="connsiteX1178" fmla="*/ 5782152 w 6251734"/>
              <a:gd name="connsiteY1178" fmla="*/ 1877374 h 5808721"/>
              <a:gd name="connsiteX1179" fmla="*/ 5729852 w 6251734"/>
              <a:gd name="connsiteY1179" fmla="*/ 1881266 h 5808721"/>
              <a:gd name="connsiteX1180" fmla="*/ 5692997 w 6251734"/>
              <a:gd name="connsiteY1180" fmla="*/ 1914234 h 5808721"/>
              <a:gd name="connsiteX1181" fmla="*/ 5659921 w 6251734"/>
              <a:gd name="connsiteY1181" fmla="*/ 1952671 h 5808721"/>
              <a:gd name="connsiteX1182" fmla="*/ 5656136 w 6251734"/>
              <a:gd name="connsiteY1182" fmla="*/ 2003388 h 5808721"/>
              <a:gd name="connsiteX1183" fmla="*/ 5659980 w 6251734"/>
              <a:gd name="connsiteY1183" fmla="*/ 2055033 h 5808721"/>
              <a:gd name="connsiteX1184" fmla="*/ 5692997 w 6251734"/>
              <a:gd name="connsiteY1184" fmla="*/ 2093401 h 5808721"/>
              <a:gd name="connsiteX1185" fmla="*/ 5730401 w 6251734"/>
              <a:gd name="connsiteY1185" fmla="*/ 2125589 h 5808721"/>
              <a:gd name="connsiteX1186" fmla="*/ 5782152 w 6251734"/>
              <a:gd name="connsiteY1186" fmla="*/ 2129404 h 5808721"/>
              <a:gd name="connsiteX1187" fmla="*/ 5832915 w 6251734"/>
              <a:gd name="connsiteY1187" fmla="*/ 2125626 h 5808721"/>
              <a:gd name="connsiteX1188" fmla="*/ 5871306 w 6251734"/>
              <a:gd name="connsiteY1188" fmla="*/ 2092543 h 5808721"/>
              <a:gd name="connsiteX1189" fmla="*/ 5904394 w 6251734"/>
              <a:gd name="connsiteY1189" fmla="*/ 2054095 h 5808721"/>
              <a:gd name="connsiteX1190" fmla="*/ 5908167 w 6251734"/>
              <a:gd name="connsiteY1190" fmla="*/ 2003388 h 5808721"/>
              <a:gd name="connsiteX1191" fmla="*/ 5904460 w 6251734"/>
              <a:gd name="connsiteY1191" fmla="*/ 1953572 h 5808721"/>
              <a:gd name="connsiteX1192" fmla="*/ 5871306 w 6251734"/>
              <a:gd name="connsiteY1192" fmla="*/ 1915093 h 5808721"/>
              <a:gd name="connsiteX1193" fmla="*/ 5831778 w 6251734"/>
              <a:gd name="connsiteY1193" fmla="*/ 1881078 h 5808721"/>
              <a:gd name="connsiteX1194" fmla="*/ 5781317 w 6251734"/>
              <a:gd name="connsiteY1194" fmla="*/ 1837652 h 5808721"/>
              <a:gd name="connsiteX1195" fmla="*/ 5768933 w 6251734"/>
              <a:gd name="connsiteY1195" fmla="*/ 1846306 h 5808721"/>
              <a:gd name="connsiteX1196" fmla="*/ 5759134 w 6251734"/>
              <a:gd name="connsiteY1196" fmla="*/ 1855072 h 5808721"/>
              <a:gd name="connsiteX1197" fmla="*/ 5782152 w 6251734"/>
              <a:gd name="connsiteY1197" fmla="*/ 1853370 h 5808721"/>
              <a:gd name="connsiteX1198" fmla="*/ 5801220 w 6251734"/>
              <a:gd name="connsiteY1198" fmla="*/ 1854779 h 5808721"/>
              <a:gd name="connsiteX1199" fmla="*/ 5875814 w 6251734"/>
              <a:gd name="connsiteY1199" fmla="*/ 1778152 h 5808721"/>
              <a:gd name="connsiteX1200" fmla="*/ 5843355 w 6251734"/>
              <a:gd name="connsiteY1200" fmla="*/ 1794301 h 5808721"/>
              <a:gd name="connsiteX1201" fmla="*/ 5803931 w 6251734"/>
              <a:gd name="connsiteY1201" fmla="*/ 1821851 h 5808721"/>
              <a:gd name="connsiteX1202" fmla="*/ 5828117 w 6251734"/>
              <a:gd name="connsiteY1202" fmla="*/ 1841074 h 5808721"/>
              <a:gd name="connsiteX1203" fmla="*/ 5846484 w 6251734"/>
              <a:gd name="connsiteY1203" fmla="*/ 1858127 h 5808721"/>
              <a:gd name="connsiteX1204" fmla="*/ 5896602 w 6251734"/>
              <a:gd name="connsiteY1204" fmla="*/ 1861833 h 5808721"/>
              <a:gd name="connsiteX1205" fmla="*/ 5886604 w 6251734"/>
              <a:gd name="connsiteY1205" fmla="*/ 1811909 h 5808721"/>
              <a:gd name="connsiteX1206" fmla="*/ 5688619 w 6251734"/>
              <a:gd name="connsiteY1206" fmla="*/ 1778083 h 5808721"/>
              <a:gd name="connsiteX1207" fmla="*/ 5677700 w 6251734"/>
              <a:gd name="connsiteY1207" fmla="*/ 1812285 h 5808721"/>
              <a:gd name="connsiteX1208" fmla="*/ 5667775 w 6251734"/>
              <a:gd name="connsiteY1208" fmla="*/ 1861826 h 5808721"/>
              <a:gd name="connsiteX1209" fmla="*/ 5720592 w 6251734"/>
              <a:gd name="connsiteY1209" fmla="*/ 1857921 h 5808721"/>
              <a:gd name="connsiteX1210" fmla="*/ 5760892 w 6251734"/>
              <a:gd name="connsiteY1210" fmla="*/ 1821868 h 5808721"/>
              <a:gd name="connsiteX1211" fmla="*/ 5720722 w 6251734"/>
              <a:gd name="connsiteY1211" fmla="*/ 1795160 h 5808721"/>
              <a:gd name="connsiteX1212" fmla="*/ 1448754 w 6251734"/>
              <a:gd name="connsiteY1212" fmla="*/ 1765931 h 5808721"/>
              <a:gd name="connsiteX1213" fmla="*/ 1666496 w 6251734"/>
              <a:gd name="connsiteY1213" fmla="*/ 1868802 h 5808721"/>
              <a:gd name="connsiteX1214" fmla="*/ 1884238 w 6251734"/>
              <a:gd name="connsiteY1214" fmla="*/ 1765931 h 5808721"/>
              <a:gd name="connsiteX1215" fmla="*/ 1884238 w 6251734"/>
              <a:gd name="connsiteY1215" fmla="*/ 2016249 h 5808721"/>
              <a:gd name="connsiteX1216" fmla="*/ 1672497 w 6251734"/>
              <a:gd name="connsiteY1216" fmla="*/ 2089973 h 5808721"/>
              <a:gd name="connsiteX1217" fmla="*/ 1666496 w 6251734"/>
              <a:gd name="connsiteY1217" fmla="*/ 2089973 h 5808721"/>
              <a:gd name="connsiteX1218" fmla="*/ 1660495 w 6251734"/>
              <a:gd name="connsiteY1218" fmla="*/ 2089973 h 5808721"/>
              <a:gd name="connsiteX1219" fmla="*/ 1448754 w 6251734"/>
              <a:gd name="connsiteY1219" fmla="*/ 2016249 h 5808721"/>
              <a:gd name="connsiteX1220" fmla="*/ 5593918 w 6251734"/>
              <a:gd name="connsiteY1220" fmla="*/ 1746924 h 5808721"/>
              <a:gd name="connsiteX1221" fmla="*/ 5540407 w 6251734"/>
              <a:gd name="connsiteY1221" fmla="*/ 1762502 h 5808721"/>
              <a:gd name="connsiteX1222" fmla="*/ 5531953 w 6251734"/>
              <a:gd name="connsiteY1222" fmla="*/ 1853413 h 5808721"/>
              <a:gd name="connsiteX1223" fmla="*/ 5543203 w 6251734"/>
              <a:gd name="connsiteY1223" fmla="*/ 1882935 h 5808721"/>
              <a:gd name="connsiteX1224" fmla="*/ 5623279 w 6251734"/>
              <a:gd name="connsiteY1224" fmla="*/ 1865117 h 5808721"/>
              <a:gd name="connsiteX1225" fmla="*/ 5642525 w 6251734"/>
              <a:gd name="connsiteY1225" fmla="*/ 1863694 h 5808721"/>
              <a:gd name="connsiteX1226" fmla="*/ 5643880 w 6251734"/>
              <a:gd name="connsiteY1226" fmla="*/ 1845375 h 5808721"/>
              <a:gd name="connsiteX1227" fmla="*/ 5661631 w 6251734"/>
              <a:gd name="connsiteY1227" fmla="*/ 1765599 h 5808721"/>
              <a:gd name="connsiteX1228" fmla="*/ 5631317 w 6251734"/>
              <a:gd name="connsiteY1228" fmla="*/ 1754048 h 5808721"/>
              <a:gd name="connsiteX1229" fmla="*/ 5593918 w 6251734"/>
              <a:gd name="connsiteY1229" fmla="*/ 1746924 h 5808721"/>
              <a:gd name="connsiteX1230" fmla="*/ 5970024 w 6251734"/>
              <a:gd name="connsiteY1230" fmla="*/ 1746066 h 5808721"/>
              <a:gd name="connsiteX1231" fmla="*/ 5911854 w 6251734"/>
              <a:gd name="connsiteY1231" fmla="*/ 1760221 h 5808721"/>
              <a:gd name="connsiteX1232" fmla="*/ 5902511 w 6251734"/>
              <a:gd name="connsiteY1232" fmla="*/ 1764870 h 5808721"/>
              <a:gd name="connsiteX1233" fmla="*/ 5920424 w 6251734"/>
              <a:gd name="connsiteY1233" fmla="*/ 1845375 h 5808721"/>
              <a:gd name="connsiteX1234" fmla="*/ 5921779 w 6251734"/>
              <a:gd name="connsiteY1234" fmla="*/ 1863694 h 5808721"/>
              <a:gd name="connsiteX1235" fmla="*/ 5941024 w 6251734"/>
              <a:gd name="connsiteY1235" fmla="*/ 1865117 h 5808721"/>
              <a:gd name="connsiteX1236" fmla="*/ 6020799 w 6251734"/>
              <a:gd name="connsiteY1236" fmla="*/ 1882868 h 5808721"/>
              <a:gd name="connsiteX1237" fmla="*/ 6032350 w 6251734"/>
              <a:gd name="connsiteY1237" fmla="*/ 1852555 h 5808721"/>
              <a:gd name="connsiteX1238" fmla="*/ 6023897 w 6251734"/>
              <a:gd name="connsiteY1238" fmla="*/ 1761646 h 5808721"/>
              <a:gd name="connsiteX1239" fmla="*/ 5970024 w 6251734"/>
              <a:gd name="connsiteY1239" fmla="*/ 1746066 h 5808721"/>
              <a:gd name="connsiteX1240" fmla="*/ 289975 w 6251734"/>
              <a:gd name="connsiteY1240" fmla="*/ 1703570 h 5808721"/>
              <a:gd name="connsiteX1241" fmla="*/ 249460 w 6251734"/>
              <a:gd name="connsiteY1241" fmla="*/ 1738503 h 5808721"/>
              <a:gd name="connsiteX1242" fmla="*/ 283964 w 6251734"/>
              <a:gd name="connsiteY1242" fmla="*/ 1707642 h 5808721"/>
              <a:gd name="connsiteX1243" fmla="*/ 4368605 w 6251734"/>
              <a:gd name="connsiteY1243" fmla="*/ 1696916 h 5808721"/>
              <a:gd name="connsiteX1244" fmla="*/ 4478277 w 6251734"/>
              <a:gd name="connsiteY1244" fmla="*/ 1734211 h 5808721"/>
              <a:gd name="connsiteX1245" fmla="*/ 4710592 w 6251734"/>
              <a:gd name="connsiteY1245" fmla="*/ 1734211 h 5808721"/>
              <a:gd name="connsiteX1246" fmla="*/ 4710592 w 6251734"/>
              <a:gd name="connsiteY1246" fmla="*/ 2074541 h 5808721"/>
              <a:gd name="connsiteX1247" fmla="*/ 4473133 w 6251734"/>
              <a:gd name="connsiteY1247" fmla="*/ 2076255 h 5808721"/>
              <a:gd name="connsiteX1248" fmla="*/ 4245961 w 6251734"/>
              <a:gd name="connsiteY1248" fmla="*/ 2072826 h 5808721"/>
              <a:gd name="connsiteX1249" fmla="*/ 4245961 w 6251734"/>
              <a:gd name="connsiteY1249" fmla="*/ 1734211 h 5808721"/>
              <a:gd name="connsiteX1250" fmla="*/ 4368605 w 6251734"/>
              <a:gd name="connsiteY1250" fmla="*/ 1696916 h 5808721"/>
              <a:gd name="connsiteX1251" fmla="*/ 5782152 w 6251734"/>
              <a:gd name="connsiteY1251" fmla="*/ 1661348 h 5808721"/>
              <a:gd name="connsiteX1252" fmla="*/ 5722156 w 6251734"/>
              <a:gd name="connsiteY1252" fmla="*/ 1702693 h 5808721"/>
              <a:gd name="connsiteX1253" fmla="*/ 5698519 w 6251734"/>
              <a:gd name="connsiteY1253" fmla="*/ 1748314 h 5808721"/>
              <a:gd name="connsiteX1254" fmla="*/ 5708935 w 6251734"/>
              <a:gd name="connsiteY1254" fmla="*/ 1753875 h 5808721"/>
              <a:gd name="connsiteX1255" fmla="*/ 5767753 w 6251734"/>
              <a:gd name="connsiteY1255" fmla="*/ 1793094 h 5808721"/>
              <a:gd name="connsiteX1256" fmla="*/ 5783057 w 6251734"/>
              <a:gd name="connsiteY1256" fmla="*/ 1805259 h 5808721"/>
              <a:gd name="connsiteX1257" fmla="*/ 5855594 w 6251734"/>
              <a:gd name="connsiteY1257" fmla="*/ 1754507 h 5808721"/>
              <a:gd name="connsiteX1258" fmla="*/ 5866361 w 6251734"/>
              <a:gd name="connsiteY1258" fmla="*/ 1749129 h 5808721"/>
              <a:gd name="connsiteX1259" fmla="*/ 5842148 w 6251734"/>
              <a:gd name="connsiteY1259" fmla="*/ 1702521 h 5808721"/>
              <a:gd name="connsiteX1260" fmla="*/ 5782152 w 6251734"/>
              <a:gd name="connsiteY1260" fmla="*/ 1661348 h 5808721"/>
              <a:gd name="connsiteX1261" fmla="*/ 592360 w 6251734"/>
              <a:gd name="connsiteY1261" fmla="*/ 1640776 h 5808721"/>
              <a:gd name="connsiteX1262" fmla="*/ 599890 w 6251734"/>
              <a:gd name="connsiteY1262" fmla="*/ 1643860 h 5808721"/>
              <a:gd name="connsiteX1263" fmla="*/ 615617 w 6251734"/>
              <a:gd name="connsiteY1263" fmla="*/ 1651278 h 5808721"/>
              <a:gd name="connsiteX1264" fmla="*/ 493776 w 6251734"/>
              <a:gd name="connsiteY1264" fmla="*/ 1630488 h 5808721"/>
              <a:gd name="connsiteX1265" fmla="*/ 498063 w 6251734"/>
              <a:gd name="connsiteY1265" fmla="*/ 1633917 h 5808721"/>
              <a:gd name="connsiteX1266" fmla="*/ 493776 w 6251734"/>
              <a:gd name="connsiteY1266" fmla="*/ 1640776 h 5808721"/>
              <a:gd name="connsiteX1267" fmla="*/ 497205 w 6251734"/>
              <a:gd name="connsiteY1267" fmla="*/ 1641634 h 5808721"/>
              <a:gd name="connsiteX1268" fmla="*/ 510921 w 6251734"/>
              <a:gd name="connsiteY1268" fmla="*/ 1651062 h 5808721"/>
              <a:gd name="connsiteX1269" fmla="*/ 492919 w 6251734"/>
              <a:gd name="connsiteY1269" fmla="*/ 1655350 h 5808721"/>
              <a:gd name="connsiteX1270" fmla="*/ 471488 w 6251734"/>
              <a:gd name="connsiteY1270" fmla="*/ 1649348 h 5808721"/>
              <a:gd name="connsiteX1271" fmla="*/ 451771 w 6251734"/>
              <a:gd name="connsiteY1271" fmla="*/ 1667351 h 5808721"/>
              <a:gd name="connsiteX1272" fmla="*/ 440627 w 6251734"/>
              <a:gd name="connsiteY1272" fmla="*/ 1683638 h 5808721"/>
              <a:gd name="connsiteX1273" fmla="*/ 450914 w 6251734"/>
              <a:gd name="connsiteY1273" fmla="*/ 1689640 h 5808721"/>
              <a:gd name="connsiteX1274" fmla="*/ 460344 w 6251734"/>
              <a:gd name="connsiteY1274" fmla="*/ 1690497 h 5808721"/>
              <a:gd name="connsiteX1275" fmla="*/ 484347 w 6251734"/>
              <a:gd name="connsiteY1275" fmla="*/ 1686210 h 5808721"/>
              <a:gd name="connsiteX1276" fmla="*/ 490347 w 6251734"/>
              <a:gd name="connsiteY1276" fmla="*/ 1700784 h 5808721"/>
              <a:gd name="connsiteX1277" fmla="*/ 512636 w 6251734"/>
              <a:gd name="connsiteY1277" fmla="*/ 1711927 h 5808721"/>
              <a:gd name="connsiteX1278" fmla="*/ 525495 w 6251734"/>
              <a:gd name="connsiteY1278" fmla="*/ 1726501 h 5808721"/>
              <a:gd name="connsiteX1279" fmla="*/ 510064 w 6251734"/>
              <a:gd name="connsiteY1279" fmla="*/ 1736787 h 5808721"/>
              <a:gd name="connsiteX1280" fmla="*/ 494634 w 6251734"/>
              <a:gd name="connsiteY1280" fmla="*/ 1747070 h 5808721"/>
              <a:gd name="connsiteX1281" fmla="*/ 500634 w 6251734"/>
              <a:gd name="connsiteY1281" fmla="*/ 1756500 h 5808721"/>
              <a:gd name="connsiteX1282" fmla="*/ 516922 w 6251734"/>
              <a:gd name="connsiteY1282" fmla="*/ 1753071 h 5808721"/>
              <a:gd name="connsiteX1283" fmla="*/ 523780 w 6251734"/>
              <a:gd name="connsiteY1283" fmla="*/ 1751357 h 5808721"/>
              <a:gd name="connsiteX1284" fmla="*/ 542640 w 6251734"/>
              <a:gd name="connsiteY1284" fmla="*/ 1747928 h 5808721"/>
              <a:gd name="connsiteX1285" fmla="*/ 545211 w 6251734"/>
              <a:gd name="connsiteY1285" fmla="*/ 1745356 h 5808721"/>
              <a:gd name="connsiteX1286" fmla="*/ 555498 w 6251734"/>
              <a:gd name="connsiteY1286" fmla="*/ 1741075 h 5808721"/>
              <a:gd name="connsiteX1287" fmla="*/ 588931 w 6251734"/>
              <a:gd name="connsiteY1287" fmla="*/ 1744499 h 5808721"/>
              <a:gd name="connsiteX1288" fmla="*/ 600933 w 6251734"/>
              <a:gd name="connsiteY1288" fmla="*/ 1755643 h 5808721"/>
              <a:gd name="connsiteX1289" fmla="*/ 605219 w 6251734"/>
              <a:gd name="connsiteY1289" fmla="*/ 1752214 h 5808721"/>
              <a:gd name="connsiteX1290" fmla="*/ 609505 w 6251734"/>
              <a:gd name="connsiteY1290" fmla="*/ 1735930 h 5808721"/>
              <a:gd name="connsiteX1291" fmla="*/ 619792 w 6251734"/>
              <a:gd name="connsiteY1291" fmla="*/ 1739360 h 5808721"/>
              <a:gd name="connsiteX1292" fmla="*/ 643795 w 6251734"/>
              <a:gd name="connsiteY1292" fmla="*/ 1724786 h 5808721"/>
              <a:gd name="connsiteX1293" fmla="*/ 656654 w 6251734"/>
              <a:gd name="connsiteY1293" fmla="*/ 1733358 h 5808721"/>
              <a:gd name="connsiteX1294" fmla="*/ 651510 w 6251734"/>
              <a:gd name="connsiteY1294" fmla="*/ 1747928 h 5808721"/>
              <a:gd name="connsiteX1295" fmla="*/ 639509 w 6251734"/>
              <a:gd name="connsiteY1295" fmla="*/ 1742789 h 5808721"/>
              <a:gd name="connsiteX1296" fmla="*/ 623221 w 6251734"/>
              <a:gd name="connsiteY1296" fmla="*/ 1756500 h 5808721"/>
              <a:gd name="connsiteX1297" fmla="*/ 625793 w 6251734"/>
              <a:gd name="connsiteY1297" fmla="*/ 1763359 h 5808721"/>
              <a:gd name="connsiteX1298" fmla="*/ 642081 w 6251734"/>
              <a:gd name="connsiteY1298" fmla="*/ 1763359 h 5808721"/>
              <a:gd name="connsiteX1299" fmla="*/ 656654 w 6251734"/>
              <a:gd name="connsiteY1299" fmla="*/ 1767644 h 5808721"/>
              <a:gd name="connsiteX1300" fmla="*/ 658369 w 6251734"/>
              <a:gd name="connsiteY1300" fmla="*/ 1773647 h 5808721"/>
              <a:gd name="connsiteX1301" fmla="*/ 672085 w 6251734"/>
              <a:gd name="connsiteY1301" fmla="*/ 1778790 h 5808721"/>
              <a:gd name="connsiteX1302" fmla="*/ 672085 w 6251734"/>
              <a:gd name="connsiteY1302" fmla="*/ 1788218 h 5808721"/>
              <a:gd name="connsiteX1303" fmla="*/ 666085 w 6251734"/>
              <a:gd name="connsiteY1303" fmla="*/ 1786504 h 5808721"/>
              <a:gd name="connsiteX1304" fmla="*/ 654082 w 6251734"/>
              <a:gd name="connsiteY1304" fmla="*/ 1789076 h 5808721"/>
              <a:gd name="connsiteX1305" fmla="*/ 642081 w 6251734"/>
              <a:gd name="connsiteY1305" fmla="*/ 1791647 h 5808721"/>
              <a:gd name="connsiteX1306" fmla="*/ 618935 w 6251734"/>
              <a:gd name="connsiteY1306" fmla="*/ 1788218 h 5808721"/>
              <a:gd name="connsiteX1307" fmla="*/ 608648 w 6251734"/>
              <a:gd name="connsiteY1307" fmla="*/ 1798505 h 5808721"/>
              <a:gd name="connsiteX1308" fmla="*/ 601790 w 6251734"/>
              <a:gd name="connsiteY1308" fmla="*/ 1798505 h 5808721"/>
              <a:gd name="connsiteX1309" fmla="*/ 588074 w 6251734"/>
              <a:gd name="connsiteY1309" fmla="*/ 1793363 h 5808721"/>
              <a:gd name="connsiteX1310" fmla="*/ 576072 w 6251734"/>
              <a:gd name="connsiteY1310" fmla="*/ 1789076 h 5808721"/>
              <a:gd name="connsiteX1311" fmla="*/ 566643 w 6251734"/>
              <a:gd name="connsiteY1311" fmla="*/ 1788218 h 5808721"/>
              <a:gd name="connsiteX1312" fmla="*/ 562356 w 6251734"/>
              <a:gd name="connsiteY1312" fmla="*/ 1770216 h 5808721"/>
              <a:gd name="connsiteX1313" fmla="*/ 557213 w 6251734"/>
              <a:gd name="connsiteY1313" fmla="*/ 1769359 h 5808721"/>
              <a:gd name="connsiteX1314" fmla="*/ 550355 w 6251734"/>
              <a:gd name="connsiteY1314" fmla="*/ 1767644 h 5808721"/>
              <a:gd name="connsiteX1315" fmla="*/ 537496 w 6251734"/>
              <a:gd name="connsiteY1315" fmla="*/ 1770216 h 5808721"/>
              <a:gd name="connsiteX1316" fmla="*/ 528924 w 6251734"/>
              <a:gd name="connsiteY1316" fmla="*/ 1771073 h 5808721"/>
              <a:gd name="connsiteX1317" fmla="*/ 516065 w 6251734"/>
              <a:gd name="connsiteY1317" fmla="*/ 1773647 h 5808721"/>
              <a:gd name="connsiteX1318" fmla="*/ 507492 w 6251734"/>
              <a:gd name="connsiteY1318" fmla="*/ 1774503 h 5808721"/>
              <a:gd name="connsiteX1319" fmla="*/ 493776 w 6251734"/>
              <a:gd name="connsiteY1319" fmla="*/ 1786504 h 5808721"/>
              <a:gd name="connsiteX1320" fmla="*/ 474060 w 6251734"/>
              <a:gd name="connsiteY1320" fmla="*/ 1793363 h 5808721"/>
              <a:gd name="connsiteX1321" fmla="*/ 466344 w 6251734"/>
              <a:gd name="connsiteY1321" fmla="*/ 1797648 h 5808721"/>
              <a:gd name="connsiteX1322" fmla="*/ 458629 w 6251734"/>
              <a:gd name="connsiteY1322" fmla="*/ 1810508 h 5808721"/>
              <a:gd name="connsiteX1323" fmla="*/ 438912 w 6251734"/>
              <a:gd name="connsiteY1323" fmla="*/ 1831938 h 5808721"/>
              <a:gd name="connsiteX1324" fmla="*/ 441484 w 6251734"/>
              <a:gd name="connsiteY1324" fmla="*/ 1860230 h 5808721"/>
              <a:gd name="connsiteX1325" fmla="*/ 436341 w 6251734"/>
              <a:gd name="connsiteY1325" fmla="*/ 1874802 h 5808721"/>
              <a:gd name="connsiteX1326" fmla="*/ 431197 w 6251734"/>
              <a:gd name="connsiteY1326" fmla="*/ 1886803 h 5808721"/>
              <a:gd name="connsiteX1327" fmla="*/ 439770 w 6251734"/>
              <a:gd name="connsiteY1327" fmla="*/ 1896233 h 5808721"/>
              <a:gd name="connsiteX1328" fmla="*/ 444913 w 6251734"/>
              <a:gd name="connsiteY1328" fmla="*/ 1902233 h 5808721"/>
              <a:gd name="connsiteX1329" fmla="*/ 447485 w 6251734"/>
              <a:gd name="connsiteY1329" fmla="*/ 1914235 h 5808721"/>
              <a:gd name="connsiteX1330" fmla="*/ 456915 w 6251734"/>
              <a:gd name="connsiteY1330" fmla="*/ 1921951 h 5808721"/>
              <a:gd name="connsiteX1331" fmla="*/ 463773 w 6251734"/>
              <a:gd name="connsiteY1331" fmla="*/ 1933095 h 5808721"/>
              <a:gd name="connsiteX1332" fmla="*/ 474917 w 6251734"/>
              <a:gd name="connsiteY1332" fmla="*/ 1939095 h 5808721"/>
              <a:gd name="connsiteX1333" fmla="*/ 502349 w 6251734"/>
              <a:gd name="connsiteY1333" fmla="*/ 1939953 h 5808721"/>
              <a:gd name="connsiteX1334" fmla="*/ 521208 w 6251734"/>
              <a:gd name="connsiteY1334" fmla="*/ 1937380 h 5808721"/>
              <a:gd name="connsiteX1335" fmla="*/ 540925 w 6251734"/>
              <a:gd name="connsiteY1335" fmla="*/ 1931380 h 5808721"/>
              <a:gd name="connsiteX1336" fmla="*/ 552069 w 6251734"/>
              <a:gd name="connsiteY1336" fmla="*/ 1930522 h 5808721"/>
              <a:gd name="connsiteX1337" fmla="*/ 559785 w 6251734"/>
              <a:gd name="connsiteY1337" fmla="*/ 1941666 h 5808721"/>
              <a:gd name="connsiteX1338" fmla="*/ 570929 w 6251734"/>
              <a:gd name="connsiteY1338" fmla="*/ 1939095 h 5808721"/>
              <a:gd name="connsiteX1339" fmla="*/ 587217 w 6251734"/>
              <a:gd name="connsiteY1339" fmla="*/ 1945953 h 5808721"/>
              <a:gd name="connsiteX1340" fmla="*/ 583788 w 6251734"/>
              <a:gd name="connsiteY1340" fmla="*/ 1962240 h 5808721"/>
              <a:gd name="connsiteX1341" fmla="*/ 583788 w 6251734"/>
              <a:gd name="connsiteY1341" fmla="*/ 1968242 h 5808721"/>
              <a:gd name="connsiteX1342" fmla="*/ 585502 w 6251734"/>
              <a:gd name="connsiteY1342" fmla="*/ 1990529 h 5808721"/>
              <a:gd name="connsiteX1343" fmla="*/ 593217 w 6251734"/>
              <a:gd name="connsiteY1343" fmla="*/ 2001674 h 5808721"/>
              <a:gd name="connsiteX1344" fmla="*/ 598361 w 6251734"/>
              <a:gd name="connsiteY1344" fmla="*/ 2009389 h 5808721"/>
              <a:gd name="connsiteX1345" fmla="*/ 606933 w 6251734"/>
              <a:gd name="connsiteY1345" fmla="*/ 2021391 h 5808721"/>
              <a:gd name="connsiteX1346" fmla="*/ 609505 w 6251734"/>
              <a:gd name="connsiteY1346" fmla="*/ 2033392 h 5808721"/>
              <a:gd name="connsiteX1347" fmla="*/ 598361 w 6251734"/>
              <a:gd name="connsiteY1347" fmla="*/ 2045393 h 5808721"/>
              <a:gd name="connsiteX1348" fmla="*/ 593217 w 6251734"/>
              <a:gd name="connsiteY1348" fmla="*/ 2061682 h 5808721"/>
              <a:gd name="connsiteX1349" fmla="*/ 588931 w 6251734"/>
              <a:gd name="connsiteY1349" fmla="*/ 2071968 h 5808721"/>
              <a:gd name="connsiteX1350" fmla="*/ 595789 w 6251734"/>
              <a:gd name="connsiteY1350" fmla="*/ 2082255 h 5808721"/>
              <a:gd name="connsiteX1351" fmla="*/ 606076 w 6251734"/>
              <a:gd name="connsiteY1351" fmla="*/ 2095114 h 5808721"/>
              <a:gd name="connsiteX1352" fmla="*/ 608648 w 6251734"/>
              <a:gd name="connsiteY1352" fmla="*/ 2107115 h 5808721"/>
              <a:gd name="connsiteX1353" fmla="*/ 608648 w 6251734"/>
              <a:gd name="connsiteY1353" fmla="*/ 2116545 h 5808721"/>
              <a:gd name="connsiteX1354" fmla="*/ 613791 w 6251734"/>
              <a:gd name="connsiteY1354" fmla="*/ 2128547 h 5808721"/>
              <a:gd name="connsiteX1355" fmla="*/ 620649 w 6251734"/>
              <a:gd name="connsiteY1355" fmla="*/ 2144834 h 5808721"/>
              <a:gd name="connsiteX1356" fmla="*/ 624936 w 6251734"/>
              <a:gd name="connsiteY1356" fmla="*/ 2144834 h 5808721"/>
              <a:gd name="connsiteX1357" fmla="*/ 642938 w 6251734"/>
              <a:gd name="connsiteY1357" fmla="*/ 2137119 h 5808721"/>
              <a:gd name="connsiteX1358" fmla="*/ 665227 w 6251734"/>
              <a:gd name="connsiteY1358" fmla="*/ 2127690 h 5808721"/>
              <a:gd name="connsiteX1359" fmla="*/ 668656 w 6251734"/>
              <a:gd name="connsiteY1359" fmla="*/ 2118260 h 5808721"/>
              <a:gd name="connsiteX1360" fmla="*/ 683230 w 6251734"/>
              <a:gd name="connsiteY1360" fmla="*/ 2106258 h 5808721"/>
              <a:gd name="connsiteX1361" fmla="*/ 695231 w 6251734"/>
              <a:gd name="connsiteY1361" fmla="*/ 2088256 h 5808721"/>
              <a:gd name="connsiteX1362" fmla="*/ 695231 w 6251734"/>
              <a:gd name="connsiteY1362" fmla="*/ 2076254 h 5808721"/>
              <a:gd name="connsiteX1363" fmla="*/ 706375 w 6251734"/>
              <a:gd name="connsiteY1363" fmla="*/ 2072825 h 5808721"/>
              <a:gd name="connsiteX1364" fmla="*/ 710662 w 6251734"/>
              <a:gd name="connsiteY1364" fmla="*/ 2065110 h 5808721"/>
              <a:gd name="connsiteX1365" fmla="*/ 724378 w 6251734"/>
              <a:gd name="connsiteY1365" fmla="*/ 2052252 h 5808721"/>
              <a:gd name="connsiteX1366" fmla="*/ 719234 w 6251734"/>
              <a:gd name="connsiteY1366" fmla="*/ 2040250 h 5808721"/>
              <a:gd name="connsiteX1367" fmla="*/ 729521 w 6251734"/>
              <a:gd name="connsiteY1367" fmla="*/ 2028248 h 5808721"/>
              <a:gd name="connsiteX1368" fmla="*/ 728664 w 6251734"/>
              <a:gd name="connsiteY1368" fmla="*/ 2006817 h 5808721"/>
              <a:gd name="connsiteX1369" fmla="*/ 728664 w 6251734"/>
              <a:gd name="connsiteY1369" fmla="*/ 1992244 h 5808721"/>
              <a:gd name="connsiteX1370" fmla="*/ 735522 w 6251734"/>
              <a:gd name="connsiteY1370" fmla="*/ 1983671 h 5808721"/>
              <a:gd name="connsiteX1371" fmla="*/ 738951 w 6251734"/>
              <a:gd name="connsiteY1371" fmla="*/ 1966526 h 5808721"/>
              <a:gd name="connsiteX1372" fmla="*/ 750095 w 6251734"/>
              <a:gd name="connsiteY1372" fmla="*/ 1954526 h 5808721"/>
              <a:gd name="connsiteX1373" fmla="*/ 753524 w 6251734"/>
              <a:gd name="connsiteY1373" fmla="*/ 1931380 h 5808721"/>
              <a:gd name="connsiteX1374" fmla="*/ 760382 w 6251734"/>
              <a:gd name="connsiteY1374" fmla="*/ 1918520 h 5808721"/>
              <a:gd name="connsiteX1375" fmla="*/ 762954 w 6251734"/>
              <a:gd name="connsiteY1375" fmla="*/ 1903090 h 5808721"/>
              <a:gd name="connsiteX1376" fmla="*/ 756096 w 6251734"/>
              <a:gd name="connsiteY1376" fmla="*/ 1895375 h 5808721"/>
              <a:gd name="connsiteX1377" fmla="*/ 744094 w 6251734"/>
              <a:gd name="connsiteY1377" fmla="*/ 1897947 h 5808721"/>
              <a:gd name="connsiteX1378" fmla="*/ 737236 w 6251734"/>
              <a:gd name="connsiteY1378" fmla="*/ 1899662 h 5808721"/>
              <a:gd name="connsiteX1379" fmla="*/ 727807 w 6251734"/>
              <a:gd name="connsiteY1379" fmla="*/ 1896233 h 5808721"/>
              <a:gd name="connsiteX1380" fmla="*/ 727807 w 6251734"/>
              <a:gd name="connsiteY1380" fmla="*/ 1885088 h 5808721"/>
              <a:gd name="connsiteX1381" fmla="*/ 716662 w 6251734"/>
              <a:gd name="connsiteY1381" fmla="*/ 1880803 h 5808721"/>
              <a:gd name="connsiteX1382" fmla="*/ 710662 w 6251734"/>
              <a:gd name="connsiteY1382" fmla="*/ 1867944 h 5808721"/>
              <a:gd name="connsiteX1383" fmla="*/ 704661 w 6251734"/>
              <a:gd name="connsiteY1383" fmla="*/ 1855941 h 5808721"/>
              <a:gd name="connsiteX1384" fmla="*/ 695231 w 6251734"/>
              <a:gd name="connsiteY1384" fmla="*/ 1851655 h 5808721"/>
              <a:gd name="connsiteX1385" fmla="*/ 691802 w 6251734"/>
              <a:gd name="connsiteY1385" fmla="*/ 1834510 h 5808721"/>
              <a:gd name="connsiteX1386" fmla="*/ 701232 w 6251734"/>
              <a:gd name="connsiteY1386" fmla="*/ 1831082 h 5808721"/>
              <a:gd name="connsiteX1387" fmla="*/ 707233 w 6251734"/>
              <a:gd name="connsiteY1387" fmla="*/ 1836225 h 5808721"/>
              <a:gd name="connsiteX1388" fmla="*/ 713233 w 6251734"/>
              <a:gd name="connsiteY1388" fmla="*/ 1846511 h 5808721"/>
              <a:gd name="connsiteX1389" fmla="*/ 715805 w 6251734"/>
              <a:gd name="connsiteY1389" fmla="*/ 1859371 h 5808721"/>
              <a:gd name="connsiteX1390" fmla="*/ 730378 w 6251734"/>
              <a:gd name="connsiteY1390" fmla="*/ 1868802 h 5808721"/>
              <a:gd name="connsiteX1391" fmla="*/ 738951 w 6251734"/>
              <a:gd name="connsiteY1391" fmla="*/ 1879945 h 5808721"/>
              <a:gd name="connsiteX1392" fmla="*/ 759525 w 6251734"/>
              <a:gd name="connsiteY1392" fmla="*/ 1875660 h 5808721"/>
              <a:gd name="connsiteX1393" fmla="*/ 763811 w 6251734"/>
              <a:gd name="connsiteY1393" fmla="*/ 1864514 h 5808721"/>
              <a:gd name="connsiteX1394" fmla="*/ 767240 w 6251734"/>
              <a:gd name="connsiteY1394" fmla="*/ 1852513 h 5808721"/>
              <a:gd name="connsiteX1395" fmla="*/ 762954 w 6251734"/>
              <a:gd name="connsiteY1395" fmla="*/ 1837940 h 5808721"/>
              <a:gd name="connsiteX1396" fmla="*/ 762954 w 6251734"/>
              <a:gd name="connsiteY1396" fmla="*/ 1825938 h 5808721"/>
              <a:gd name="connsiteX1397" fmla="*/ 758668 w 6251734"/>
              <a:gd name="connsiteY1397" fmla="*/ 1815651 h 5808721"/>
              <a:gd name="connsiteX1398" fmla="*/ 762097 w 6251734"/>
              <a:gd name="connsiteY1398" fmla="*/ 1816508 h 5808721"/>
              <a:gd name="connsiteX1399" fmla="*/ 774098 w 6251734"/>
              <a:gd name="connsiteY1399" fmla="*/ 1820794 h 5808721"/>
              <a:gd name="connsiteX1400" fmla="*/ 782671 w 6251734"/>
              <a:gd name="connsiteY1400" fmla="*/ 1837084 h 5808721"/>
              <a:gd name="connsiteX1401" fmla="*/ 790386 w 6251734"/>
              <a:gd name="connsiteY1401" fmla="*/ 1844797 h 5808721"/>
              <a:gd name="connsiteX1402" fmla="*/ 796387 w 6251734"/>
              <a:gd name="connsiteY1402" fmla="*/ 1851655 h 5808721"/>
              <a:gd name="connsiteX1403" fmla="*/ 800673 w 6251734"/>
              <a:gd name="connsiteY1403" fmla="*/ 1863658 h 5808721"/>
              <a:gd name="connsiteX1404" fmla="*/ 809245 w 6251734"/>
              <a:gd name="connsiteY1404" fmla="*/ 1873945 h 5808721"/>
              <a:gd name="connsiteX1405" fmla="*/ 810960 w 6251734"/>
              <a:gd name="connsiteY1405" fmla="*/ 1870514 h 5808721"/>
              <a:gd name="connsiteX1406" fmla="*/ 620127 w 6251734"/>
              <a:gd name="connsiteY1406" fmla="*/ 1653407 h 5808721"/>
              <a:gd name="connsiteX1407" fmla="*/ 615617 w 6251734"/>
              <a:gd name="connsiteY1407" fmla="*/ 1651278 h 5808721"/>
              <a:gd name="connsiteX1408" fmla="*/ 671583 w 6251734"/>
              <a:gd name="connsiteY1408" fmla="*/ 1676556 h 5808721"/>
              <a:gd name="connsiteX1409" fmla="*/ 792958 w 6251734"/>
              <a:gd name="connsiteY1409" fmla="*/ 2119974 h 5808721"/>
              <a:gd name="connsiteX1410" fmla="*/ 511779 w 6251734"/>
              <a:gd name="connsiteY1410" fmla="*/ 2287139 h 5808721"/>
              <a:gd name="connsiteX1411" fmla="*/ 630079 w 6251734"/>
              <a:gd name="connsiteY1411" fmla="*/ 2251133 h 5808721"/>
              <a:gd name="connsiteX1412" fmla="*/ 613791 w 6251734"/>
              <a:gd name="connsiteY1412" fmla="*/ 2251993 h 5808721"/>
              <a:gd name="connsiteX1413" fmla="*/ 597504 w 6251734"/>
              <a:gd name="connsiteY1413" fmla="*/ 2245133 h 5808721"/>
              <a:gd name="connsiteX1414" fmla="*/ 588074 w 6251734"/>
              <a:gd name="connsiteY1414" fmla="*/ 2243418 h 5808721"/>
              <a:gd name="connsiteX1415" fmla="*/ 572643 w 6251734"/>
              <a:gd name="connsiteY1415" fmla="*/ 2245990 h 5808721"/>
              <a:gd name="connsiteX1416" fmla="*/ 560642 w 6251734"/>
              <a:gd name="connsiteY1416" fmla="*/ 2251993 h 5808721"/>
              <a:gd name="connsiteX1417" fmla="*/ 550355 w 6251734"/>
              <a:gd name="connsiteY1417" fmla="*/ 2251133 h 5808721"/>
              <a:gd name="connsiteX1418" fmla="*/ 537496 w 6251734"/>
              <a:gd name="connsiteY1418" fmla="*/ 2251993 h 5808721"/>
              <a:gd name="connsiteX1419" fmla="*/ 541782 w 6251734"/>
              <a:gd name="connsiteY1419" fmla="*/ 2241705 h 5808721"/>
              <a:gd name="connsiteX1420" fmla="*/ 530638 w 6251734"/>
              <a:gd name="connsiteY1420" fmla="*/ 2239989 h 5808721"/>
              <a:gd name="connsiteX1421" fmla="*/ 523780 w 6251734"/>
              <a:gd name="connsiteY1421" fmla="*/ 2248563 h 5808721"/>
              <a:gd name="connsiteX1422" fmla="*/ 517779 w 6251734"/>
              <a:gd name="connsiteY1422" fmla="*/ 2259708 h 5808721"/>
              <a:gd name="connsiteX1423" fmla="*/ 496348 w 6251734"/>
              <a:gd name="connsiteY1423" fmla="*/ 2255421 h 5808721"/>
              <a:gd name="connsiteX1424" fmla="*/ 484347 w 6251734"/>
              <a:gd name="connsiteY1424" fmla="*/ 2252849 h 5808721"/>
              <a:gd name="connsiteX1425" fmla="*/ 485204 w 6251734"/>
              <a:gd name="connsiteY1425" fmla="*/ 2248563 h 5808721"/>
              <a:gd name="connsiteX1426" fmla="*/ 497205 w 6251734"/>
              <a:gd name="connsiteY1426" fmla="*/ 2239989 h 5808721"/>
              <a:gd name="connsiteX1427" fmla="*/ 509207 w 6251734"/>
              <a:gd name="connsiteY1427" fmla="*/ 2233132 h 5808721"/>
              <a:gd name="connsiteX1428" fmla="*/ 503206 w 6251734"/>
              <a:gd name="connsiteY1428" fmla="*/ 2226275 h 5808721"/>
              <a:gd name="connsiteX1429" fmla="*/ 497205 w 6251734"/>
              <a:gd name="connsiteY1429" fmla="*/ 2231417 h 5808721"/>
              <a:gd name="connsiteX1430" fmla="*/ 472345 w 6251734"/>
              <a:gd name="connsiteY1430" fmla="*/ 2232275 h 5808721"/>
              <a:gd name="connsiteX1431" fmla="*/ 451771 w 6251734"/>
              <a:gd name="connsiteY1431" fmla="*/ 2233989 h 5808721"/>
              <a:gd name="connsiteX1432" fmla="*/ 448342 w 6251734"/>
              <a:gd name="connsiteY1432" fmla="*/ 2227131 h 5808721"/>
              <a:gd name="connsiteX1433" fmla="*/ 433769 w 6251734"/>
              <a:gd name="connsiteY1433" fmla="*/ 2233989 h 5808721"/>
              <a:gd name="connsiteX1434" fmla="*/ 413195 w 6251734"/>
              <a:gd name="connsiteY1434" fmla="*/ 2237419 h 5808721"/>
              <a:gd name="connsiteX1435" fmla="*/ 402908 w 6251734"/>
              <a:gd name="connsiteY1435" fmla="*/ 2239132 h 5808721"/>
              <a:gd name="connsiteX1436" fmla="*/ 402051 w 6251734"/>
              <a:gd name="connsiteY1436" fmla="*/ 2233132 h 5808721"/>
              <a:gd name="connsiteX1437" fmla="*/ 391764 w 6251734"/>
              <a:gd name="connsiteY1437" fmla="*/ 2241705 h 5808721"/>
              <a:gd name="connsiteX1438" fmla="*/ 379762 w 6251734"/>
              <a:gd name="connsiteY1438" fmla="*/ 2243418 h 5808721"/>
              <a:gd name="connsiteX1439" fmla="*/ 378048 w 6251734"/>
              <a:gd name="connsiteY1439" fmla="*/ 2257136 h 5808721"/>
              <a:gd name="connsiteX1440" fmla="*/ 393304 w 6251734"/>
              <a:gd name="connsiteY1440" fmla="*/ 2268105 h 5808721"/>
              <a:gd name="connsiteX1441" fmla="*/ 409649 w 6251734"/>
              <a:gd name="connsiteY1441" fmla="*/ 2273959 h 5808721"/>
              <a:gd name="connsiteX1442" fmla="*/ 353398 w 6251734"/>
              <a:gd name="connsiteY1442" fmla="*/ 2258117 h 5808721"/>
              <a:gd name="connsiteX1443" fmla="*/ 167164 w 6251734"/>
              <a:gd name="connsiteY1443" fmla="*/ 1913378 h 5808721"/>
              <a:gd name="connsiteX1444" fmla="*/ 170593 w 6251734"/>
              <a:gd name="connsiteY1444" fmla="*/ 1910806 h 5808721"/>
              <a:gd name="connsiteX1445" fmla="*/ 173165 w 6251734"/>
              <a:gd name="connsiteY1445" fmla="*/ 1921951 h 5808721"/>
              <a:gd name="connsiteX1446" fmla="*/ 179166 w 6251734"/>
              <a:gd name="connsiteY1446" fmla="*/ 1930522 h 5808721"/>
              <a:gd name="connsiteX1447" fmla="*/ 186024 w 6251734"/>
              <a:gd name="connsiteY1447" fmla="*/ 1939953 h 5808721"/>
              <a:gd name="connsiteX1448" fmla="*/ 181737 w 6251734"/>
              <a:gd name="connsiteY1448" fmla="*/ 1954526 h 5808721"/>
              <a:gd name="connsiteX1449" fmla="*/ 190310 w 6251734"/>
              <a:gd name="connsiteY1449" fmla="*/ 1978528 h 5808721"/>
              <a:gd name="connsiteX1450" fmla="*/ 189453 w 6251734"/>
              <a:gd name="connsiteY1450" fmla="*/ 2007674 h 5808721"/>
              <a:gd name="connsiteX1451" fmla="*/ 208312 w 6251734"/>
              <a:gd name="connsiteY1451" fmla="*/ 2052252 h 5808721"/>
              <a:gd name="connsiteX1452" fmla="*/ 215170 w 6251734"/>
              <a:gd name="connsiteY1452" fmla="*/ 2066825 h 5808721"/>
              <a:gd name="connsiteX1453" fmla="*/ 227172 w 6251734"/>
              <a:gd name="connsiteY1453" fmla="*/ 2076254 h 5808721"/>
              <a:gd name="connsiteX1454" fmla="*/ 233172 w 6251734"/>
              <a:gd name="connsiteY1454" fmla="*/ 2101972 h 5808721"/>
              <a:gd name="connsiteX1455" fmla="*/ 240888 w 6251734"/>
              <a:gd name="connsiteY1455" fmla="*/ 2124260 h 5808721"/>
              <a:gd name="connsiteX1456" fmla="*/ 250317 w 6251734"/>
              <a:gd name="connsiteY1456" fmla="*/ 2136262 h 5808721"/>
              <a:gd name="connsiteX1457" fmla="*/ 257175 w 6251734"/>
              <a:gd name="connsiteY1457" fmla="*/ 2149122 h 5808721"/>
              <a:gd name="connsiteX1458" fmla="*/ 264891 w 6251734"/>
              <a:gd name="connsiteY1458" fmla="*/ 2161123 h 5808721"/>
              <a:gd name="connsiteX1459" fmla="*/ 279464 w 6251734"/>
              <a:gd name="connsiteY1459" fmla="*/ 2189412 h 5808721"/>
              <a:gd name="connsiteX1460" fmla="*/ 286322 w 6251734"/>
              <a:gd name="connsiteY1460" fmla="*/ 2199699 h 5808721"/>
              <a:gd name="connsiteX1461" fmla="*/ 306039 w 6251734"/>
              <a:gd name="connsiteY1461" fmla="*/ 2211701 h 5808721"/>
              <a:gd name="connsiteX1462" fmla="*/ 318897 w 6251734"/>
              <a:gd name="connsiteY1462" fmla="*/ 2221987 h 5808721"/>
              <a:gd name="connsiteX1463" fmla="*/ 320612 w 6251734"/>
              <a:gd name="connsiteY1463" fmla="*/ 2215986 h 5808721"/>
              <a:gd name="connsiteX1464" fmla="*/ 312897 w 6251734"/>
              <a:gd name="connsiteY1464" fmla="*/ 2207414 h 5808721"/>
              <a:gd name="connsiteX1465" fmla="*/ 304324 w 6251734"/>
              <a:gd name="connsiteY1465" fmla="*/ 2196269 h 5808721"/>
              <a:gd name="connsiteX1466" fmla="*/ 300038 w 6251734"/>
              <a:gd name="connsiteY1466" fmla="*/ 2186840 h 5808721"/>
              <a:gd name="connsiteX1467" fmla="*/ 290608 w 6251734"/>
              <a:gd name="connsiteY1467" fmla="*/ 2173981 h 5808721"/>
              <a:gd name="connsiteX1468" fmla="*/ 294894 w 6251734"/>
              <a:gd name="connsiteY1468" fmla="*/ 2166267 h 5808721"/>
              <a:gd name="connsiteX1469" fmla="*/ 298323 w 6251734"/>
              <a:gd name="connsiteY1469" fmla="*/ 2161123 h 5808721"/>
              <a:gd name="connsiteX1470" fmla="*/ 294894 w 6251734"/>
              <a:gd name="connsiteY1470" fmla="*/ 2148263 h 5808721"/>
              <a:gd name="connsiteX1471" fmla="*/ 303467 w 6251734"/>
              <a:gd name="connsiteY1471" fmla="*/ 2119974 h 5808721"/>
              <a:gd name="connsiteX1472" fmla="*/ 303467 w 6251734"/>
              <a:gd name="connsiteY1472" fmla="*/ 2104544 h 5808721"/>
              <a:gd name="connsiteX1473" fmla="*/ 312897 w 6251734"/>
              <a:gd name="connsiteY1473" fmla="*/ 2097686 h 5808721"/>
              <a:gd name="connsiteX1474" fmla="*/ 326613 w 6251734"/>
              <a:gd name="connsiteY1474" fmla="*/ 2088256 h 5808721"/>
              <a:gd name="connsiteX1475" fmla="*/ 324898 w 6251734"/>
              <a:gd name="connsiteY1475" fmla="*/ 2079683 h 5808721"/>
              <a:gd name="connsiteX1476" fmla="*/ 329184 w 6251734"/>
              <a:gd name="connsiteY1476" fmla="*/ 2071111 h 5808721"/>
              <a:gd name="connsiteX1477" fmla="*/ 330042 w 6251734"/>
              <a:gd name="connsiteY1477" fmla="*/ 2057396 h 5808721"/>
              <a:gd name="connsiteX1478" fmla="*/ 325755 w 6251734"/>
              <a:gd name="connsiteY1478" fmla="*/ 2046251 h 5808721"/>
              <a:gd name="connsiteX1479" fmla="*/ 327470 w 6251734"/>
              <a:gd name="connsiteY1479" fmla="*/ 2035106 h 5808721"/>
              <a:gd name="connsiteX1480" fmla="*/ 336900 w 6251734"/>
              <a:gd name="connsiteY1480" fmla="*/ 2021391 h 5808721"/>
              <a:gd name="connsiteX1481" fmla="*/ 342043 w 6251734"/>
              <a:gd name="connsiteY1481" fmla="*/ 2008532 h 5808721"/>
              <a:gd name="connsiteX1482" fmla="*/ 336900 w 6251734"/>
              <a:gd name="connsiteY1482" fmla="*/ 2001674 h 5808721"/>
              <a:gd name="connsiteX1483" fmla="*/ 324041 w 6251734"/>
              <a:gd name="connsiteY1483" fmla="*/ 1994816 h 5808721"/>
              <a:gd name="connsiteX1484" fmla="*/ 315468 w 6251734"/>
              <a:gd name="connsiteY1484" fmla="*/ 1983671 h 5808721"/>
              <a:gd name="connsiteX1485" fmla="*/ 299181 w 6251734"/>
              <a:gd name="connsiteY1485" fmla="*/ 1982814 h 5808721"/>
              <a:gd name="connsiteX1486" fmla="*/ 295752 w 6251734"/>
              <a:gd name="connsiteY1486" fmla="*/ 1977671 h 5808721"/>
              <a:gd name="connsiteX1487" fmla="*/ 282893 w 6251734"/>
              <a:gd name="connsiteY1487" fmla="*/ 1972528 h 5808721"/>
              <a:gd name="connsiteX1488" fmla="*/ 281178 w 6251734"/>
              <a:gd name="connsiteY1488" fmla="*/ 1965669 h 5808721"/>
              <a:gd name="connsiteX1489" fmla="*/ 271749 w 6251734"/>
              <a:gd name="connsiteY1489" fmla="*/ 1963955 h 5808721"/>
              <a:gd name="connsiteX1490" fmla="*/ 270034 w 6251734"/>
              <a:gd name="connsiteY1490" fmla="*/ 1957954 h 5808721"/>
              <a:gd name="connsiteX1491" fmla="*/ 269177 w 6251734"/>
              <a:gd name="connsiteY1491" fmla="*/ 1948525 h 5808721"/>
              <a:gd name="connsiteX1492" fmla="*/ 264033 w 6251734"/>
              <a:gd name="connsiteY1492" fmla="*/ 1939095 h 5808721"/>
              <a:gd name="connsiteX1493" fmla="*/ 259747 w 6251734"/>
              <a:gd name="connsiteY1493" fmla="*/ 1933095 h 5808721"/>
              <a:gd name="connsiteX1494" fmla="*/ 248603 w 6251734"/>
              <a:gd name="connsiteY1494" fmla="*/ 1931380 h 5808721"/>
              <a:gd name="connsiteX1495" fmla="*/ 239173 w 6251734"/>
              <a:gd name="connsiteY1495" fmla="*/ 1926236 h 5808721"/>
              <a:gd name="connsiteX1496" fmla="*/ 236601 w 6251734"/>
              <a:gd name="connsiteY1496" fmla="*/ 1917664 h 5808721"/>
              <a:gd name="connsiteX1497" fmla="*/ 232315 w 6251734"/>
              <a:gd name="connsiteY1497" fmla="*/ 1908233 h 5808721"/>
              <a:gd name="connsiteX1498" fmla="*/ 226314 w 6251734"/>
              <a:gd name="connsiteY1498" fmla="*/ 1903948 h 5808721"/>
              <a:gd name="connsiteX1499" fmla="*/ 214313 w 6251734"/>
              <a:gd name="connsiteY1499" fmla="*/ 1906521 h 5808721"/>
              <a:gd name="connsiteX1500" fmla="*/ 213456 w 6251734"/>
              <a:gd name="connsiteY1500" fmla="*/ 1898805 h 5808721"/>
              <a:gd name="connsiteX1501" fmla="*/ 206598 w 6251734"/>
              <a:gd name="connsiteY1501" fmla="*/ 1897090 h 5808721"/>
              <a:gd name="connsiteX1502" fmla="*/ 201454 w 6251734"/>
              <a:gd name="connsiteY1502" fmla="*/ 1900518 h 5808721"/>
              <a:gd name="connsiteX1503" fmla="*/ 198882 w 6251734"/>
              <a:gd name="connsiteY1503" fmla="*/ 1903948 h 5808721"/>
              <a:gd name="connsiteX1504" fmla="*/ 192882 w 6251734"/>
              <a:gd name="connsiteY1504" fmla="*/ 1912520 h 5808721"/>
              <a:gd name="connsiteX1505" fmla="*/ 191167 w 6251734"/>
              <a:gd name="connsiteY1505" fmla="*/ 1910806 h 5808721"/>
              <a:gd name="connsiteX1506" fmla="*/ 188595 w 6251734"/>
              <a:gd name="connsiteY1506" fmla="*/ 1907378 h 5808721"/>
              <a:gd name="connsiteX1507" fmla="*/ 185166 w 6251734"/>
              <a:gd name="connsiteY1507" fmla="*/ 1895375 h 5808721"/>
              <a:gd name="connsiteX1508" fmla="*/ 188595 w 6251734"/>
              <a:gd name="connsiteY1508" fmla="*/ 1885946 h 5808721"/>
              <a:gd name="connsiteX1509" fmla="*/ 187738 w 6251734"/>
              <a:gd name="connsiteY1509" fmla="*/ 1873087 h 5808721"/>
              <a:gd name="connsiteX1510" fmla="*/ 188595 w 6251734"/>
              <a:gd name="connsiteY1510" fmla="*/ 1862801 h 5808721"/>
              <a:gd name="connsiteX1511" fmla="*/ 187738 w 6251734"/>
              <a:gd name="connsiteY1511" fmla="*/ 1855084 h 5808721"/>
              <a:gd name="connsiteX1512" fmla="*/ 183452 w 6251734"/>
              <a:gd name="connsiteY1512" fmla="*/ 1853370 h 5808721"/>
              <a:gd name="connsiteX1513" fmla="*/ 197168 w 6251734"/>
              <a:gd name="connsiteY1513" fmla="*/ 1817366 h 5808721"/>
              <a:gd name="connsiteX1514" fmla="*/ 195453 w 6251734"/>
              <a:gd name="connsiteY1514" fmla="*/ 1828509 h 5808721"/>
              <a:gd name="connsiteX1515" fmla="*/ 194596 w 6251734"/>
              <a:gd name="connsiteY1515" fmla="*/ 1835368 h 5808721"/>
              <a:gd name="connsiteX1516" fmla="*/ 193739 w 6251734"/>
              <a:gd name="connsiteY1516" fmla="*/ 1843085 h 5808721"/>
              <a:gd name="connsiteX1517" fmla="*/ 196311 w 6251734"/>
              <a:gd name="connsiteY1517" fmla="*/ 1843941 h 5808721"/>
              <a:gd name="connsiteX1518" fmla="*/ 201454 w 6251734"/>
              <a:gd name="connsiteY1518" fmla="*/ 1847369 h 5808721"/>
              <a:gd name="connsiteX1519" fmla="*/ 203169 w 6251734"/>
              <a:gd name="connsiteY1519" fmla="*/ 1847369 h 5808721"/>
              <a:gd name="connsiteX1520" fmla="*/ 207455 w 6251734"/>
              <a:gd name="connsiteY1520" fmla="*/ 1852513 h 5808721"/>
              <a:gd name="connsiteX1521" fmla="*/ 206598 w 6251734"/>
              <a:gd name="connsiteY1521" fmla="*/ 1859371 h 5808721"/>
              <a:gd name="connsiteX1522" fmla="*/ 208312 w 6251734"/>
              <a:gd name="connsiteY1522" fmla="*/ 1861087 h 5808721"/>
              <a:gd name="connsiteX1523" fmla="*/ 213456 w 6251734"/>
              <a:gd name="connsiteY1523" fmla="*/ 1863658 h 5808721"/>
              <a:gd name="connsiteX1524" fmla="*/ 220314 w 6251734"/>
              <a:gd name="connsiteY1524" fmla="*/ 1862801 h 5808721"/>
              <a:gd name="connsiteX1525" fmla="*/ 223743 w 6251734"/>
              <a:gd name="connsiteY1525" fmla="*/ 1867085 h 5808721"/>
              <a:gd name="connsiteX1526" fmla="*/ 225457 w 6251734"/>
              <a:gd name="connsiteY1526" fmla="*/ 1870514 h 5808721"/>
              <a:gd name="connsiteX1527" fmla="*/ 228886 w 6251734"/>
              <a:gd name="connsiteY1527" fmla="*/ 1867085 h 5808721"/>
              <a:gd name="connsiteX1528" fmla="*/ 230601 w 6251734"/>
              <a:gd name="connsiteY1528" fmla="*/ 1862801 h 5808721"/>
              <a:gd name="connsiteX1529" fmla="*/ 227172 w 6251734"/>
              <a:gd name="connsiteY1529" fmla="*/ 1860230 h 5808721"/>
              <a:gd name="connsiteX1530" fmla="*/ 222028 w 6251734"/>
              <a:gd name="connsiteY1530" fmla="*/ 1856798 h 5808721"/>
              <a:gd name="connsiteX1531" fmla="*/ 216027 w 6251734"/>
              <a:gd name="connsiteY1531" fmla="*/ 1855084 h 5808721"/>
              <a:gd name="connsiteX1532" fmla="*/ 210027 w 6251734"/>
              <a:gd name="connsiteY1532" fmla="*/ 1854227 h 5808721"/>
              <a:gd name="connsiteX1533" fmla="*/ 210027 w 6251734"/>
              <a:gd name="connsiteY1533" fmla="*/ 1847369 h 5808721"/>
              <a:gd name="connsiteX1534" fmla="*/ 210027 w 6251734"/>
              <a:gd name="connsiteY1534" fmla="*/ 1839654 h 5808721"/>
              <a:gd name="connsiteX1535" fmla="*/ 205740 w 6251734"/>
              <a:gd name="connsiteY1535" fmla="*/ 1838796 h 5808721"/>
              <a:gd name="connsiteX1536" fmla="*/ 201454 w 6251734"/>
              <a:gd name="connsiteY1536" fmla="*/ 1834510 h 5808721"/>
              <a:gd name="connsiteX1537" fmla="*/ 204883 w 6251734"/>
              <a:gd name="connsiteY1537" fmla="*/ 1827653 h 5808721"/>
              <a:gd name="connsiteX1538" fmla="*/ 215170 w 6251734"/>
              <a:gd name="connsiteY1538" fmla="*/ 1823367 h 5808721"/>
              <a:gd name="connsiteX1539" fmla="*/ 220314 w 6251734"/>
              <a:gd name="connsiteY1539" fmla="*/ 1819081 h 5808721"/>
              <a:gd name="connsiteX1540" fmla="*/ 223743 w 6251734"/>
              <a:gd name="connsiteY1540" fmla="*/ 1811365 h 5808721"/>
              <a:gd name="connsiteX1541" fmla="*/ 227172 w 6251734"/>
              <a:gd name="connsiteY1541" fmla="*/ 1802793 h 5808721"/>
              <a:gd name="connsiteX1542" fmla="*/ 228886 w 6251734"/>
              <a:gd name="connsiteY1542" fmla="*/ 1793363 h 5808721"/>
              <a:gd name="connsiteX1543" fmla="*/ 234030 w 6251734"/>
              <a:gd name="connsiteY1543" fmla="*/ 1786504 h 5808721"/>
              <a:gd name="connsiteX1544" fmla="*/ 246031 w 6251734"/>
              <a:gd name="connsiteY1544" fmla="*/ 1777076 h 5808721"/>
              <a:gd name="connsiteX1545" fmla="*/ 252889 w 6251734"/>
              <a:gd name="connsiteY1545" fmla="*/ 1771073 h 5808721"/>
              <a:gd name="connsiteX1546" fmla="*/ 255461 w 6251734"/>
              <a:gd name="connsiteY1546" fmla="*/ 1765075 h 5808721"/>
              <a:gd name="connsiteX1547" fmla="*/ 261462 w 6251734"/>
              <a:gd name="connsiteY1547" fmla="*/ 1762502 h 5808721"/>
              <a:gd name="connsiteX1548" fmla="*/ 269177 w 6251734"/>
              <a:gd name="connsiteY1548" fmla="*/ 1758215 h 5808721"/>
              <a:gd name="connsiteX1549" fmla="*/ 271749 w 6251734"/>
              <a:gd name="connsiteY1549" fmla="*/ 1750501 h 5808721"/>
              <a:gd name="connsiteX1550" fmla="*/ 274320 w 6251734"/>
              <a:gd name="connsiteY1550" fmla="*/ 1747928 h 5808721"/>
              <a:gd name="connsiteX1551" fmla="*/ 282893 w 6251734"/>
              <a:gd name="connsiteY1551" fmla="*/ 1741932 h 5808721"/>
              <a:gd name="connsiteX1552" fmla="*/ 286322 w 6251734"/>
              <a:gd name="connsiteY1552" fmla="*/ 1739360 h 5808721"/>
              <a:gd name="connsiteX1553" fmla="*/ 293180 w 6251734"/>
              <a:gd name="connsiteY1553" fmla="*/ 1740217 h 5808721"/>
              <a:gd name="connsiteX1554" fmla="*/ 302610 w 6251734"/>
              <a:gd name="connsiteY1554" fmla="*/ 1742789 h 5808721"/>
              <a:gd name="connsiteX1555" fmla="*/ 307753 w 6251734"/>
              <a:gd name="connsiteY1555" fmla="*/ 1741932 h 5808721"/>
              <a:gd name="connsiteX1556" fmla="*/ 309468 w 6251734"/>
              <a:gd name="connsiteY1556" fmla="*/ 1735930 h 5808721"/>
              <a:gd name="connsiteX1557" fmla="*/ 308610 w 6251734"/>
              <a:gd name="connsiteY1557" fmla="*/ 1732501 h 5808721"/>
              <a:gd name="connsiteX1558" fmla="*/ 304324 w 6251734"/>
              <a:gd name="connsiteY1558" fmla="*/ 1730788 h 5808721"/>
              <a:gd name="connsiteX1559" fmla="*/ 306039 w 6251734"/>
              <a:gd name="connsiteY1559" fmla="*/ 1723929 h 5808721"/>
              <a:gd name="connsiteX1560" fmla="*/ 312039 w 6251734"/>
              <a:gd name="connsiteY1560" fmla="*/ 1719643 h 5808721"/>
              <a:gd name="connsiteX1561" fmla="*/ 320612 w 6251734"/>
              <a:gd name="connsiteY1561" fmla="*/ 1714500 h 5808721"/>
              <a:gd name="connsiteX1562" fmla="*/ 325755 w 6251734"/>
              <a:gd name="connsiteY1562" fmla="*/ 1718786 h 5808721"/>
              <a:gd name="connsiteX1563" fmla="*/ 326613 w 6251734"/>
              <a:gd name="connsiteY1563" fmla="*/ 1721357 h 5808721"/>
              <a:gd name="connsiteX1564" fmla="*/ 319755 w 6251734"/>
              <a:gd name="connsiteY1564" fmla="*/ 1725643 h 5808721"/>
              <a:gd name="connsiteX1565" fmla="*/ 323184 w 6251734"/>
              <a:gd name="connsiteY1565" fmla="*/ 1731644 h 5808721"/>
              <a:gd name="connsiteX1566" fmla="*/ 330899 w 6251734"/>
              <a:gd name="connsiteY1566" fmla="*/ 1731644 h 5808721"/>
              <a:gd name="connsiteX1567" fmla="*/ 336042 w 6251734"/>
              <a:gd name="connsiteY1567" fmla="*/ 1728216 h 5808721"/>
              <a:gd name="connsiteX1568" fmla="*/ 337757 w 6251734"/>
              <a:gd name="connsiteY1568" fmla="*/ 1723929 h 5808721"/>
              <a:gd name="connsiteX1569" fmla="*/ 337757 w 6251734"/>
              <a:gd name="connsiteY1569" fmla="*/ 1717072 h 5808721"/>
              <a:gd name="connsiteX1570" fmla="*/ 336900 w 6251734"/>
              <a:gd name="connsiteY1570" fmla="*/ 1711070 h 5808721"/>
              <a:gd name="connsiteX1571" fmla="*/ 339471 w 6251734"/>
              <a:gd name="connsiteY1571" fmla="*/ 1706785 h 5808721"/>
              <a:gd name="connsiteX1572" fmla="*/ 342900 w 6251734"/>
              <a:gd name="connsiteY1572" fmla="*/ 1704213 h 5808721"/>
              <a:gd name="connsiteX1573" fmla="*/ 345472 w 6251734"/>
              <a:gd name="connsiteY1573" fmla="*/ 1699927 h 5808721"/>
              <a:gd name="connsiteX1574" fmla="*/ 345472 w 6251734"/>
              <a:gd name="connsiteY1574" fmla="*/ 1693069 h 5808721"/>
              <a:gd name="connsiteX1575" fmla="*/ 351473 w 6251734"/>
              <a:gd name="connsiteY1575" fmla="*/ 1684495 h 5808721"/>
              <a:gd name="connsiteX1576" fmla="*/ 354045 w 6251734"/>
              <a:gd name="connsiteY1576" fmla="*/ 1680211 h 5808721"/>
              <a:gd name="connsiteX1577" fmla="*/ 345472 w 6251734"/>
              <a:gd name="connsiteY1577" fmla="*/ 1676780 h 5808721"/>
              <a:gd name="connsiteX1578" fmla="*/ 315281 w 6251734"/>
              <a:gd name="connsiteY1578" fmla="*/ 1686424 h 5808721"/>
              <a:gd name="connsiteX1579" fmla="*/ 289975 w 6251734"/>
              <a:gd name="connsiteY1579" fmla="*/ 1703570 h 5808721"/>
              <a:gd name="connsiteX1580" fmla="*/ 311879 w 6251734"/>
              <a:gd name="connsiteY1580" fmla="*/ 1684683 h 5808721"/>
              <a:gd name="connsiteX1581" fmla="*/ 440627 w 6251734"/>
              <a:gd name="connsiteY1581" fmla="*/ 1634775 h 5808721"/>
              <a:gd name="connsiteX1582" fmla="*/ 493776 w 6251734"/>
              <a:gd name="connsiteY1582" fmla="*/ 1630488 h 5808721"/>
              <a:gd name="connsiteX1583" fmla="*/ 5782152 w 6251734"/>
              <a:gd name="connsiteY1583" fmla="*/ 1596198 h 5808721"/>
              <a:gd name="connsiteX1584" fmla="*/ 5866161 w 6251734"/>
              <a:gd name="connsiteY1584" fmla="*/ 1665861 h 5808721"/>
              <a:gd name="connsiteX1585" fmla="*/ 5894202 w 6251734"/>
              <a:gd name="connsiteY1585" fmla="*/ 1735228 h 5808721"/>
              <a:gd name="connsiteX1586" fmla="*/ 5937599 w 6251734"/>
              <a:gd name="connsiteY1586" fmla="*/ 1713557 h 5808721"/>
              <a:gd name="connsiteX1587" fmla="*/ 6007126 w 6251734"/>
              <a:gd name="connsiteY1587" fmla="*/ 1696509 h 5808721"/>
              <a:gd name="connsiteX1588" fmla="*/ 6071045 w 6251734"/>
              <a:gd name="connsiteY1588" fmla="*/ 1715354 h 5808721"/>
              <a:gd name="connsiteX1589" fmla="*/ 6061402 w 6251734"/>
              <a:gd name="connsiteY1589" fmla="*/ 1875016 h 5808721"/>
              <a:gd name="connsiteX1590" fmla="*/ 6052430 w 6251734"/>
              <a:gd name="connsiteY1590" fmla="*/ 1891847 h 5808721"/>
              <a:gd name="connsiteX1591" fmla="*/ 6120539 w 6251734"/>
              <a:gd name="connsiteY1591" fmla="*/ 1919379 h 5808721"/>
              <a:gd name="connsiteX1592" fmla="*/ 6190203 w 6251734"/>
              <a:gd name="connsiteY1592" fmla="*/ 2003388 h 5808721"/>
              <a:gd name="connsiteX1593" fmla="*/ 6120539 w 6251734"/>
              <a:gd name="connsiteY1593" fmla="*/ 2087623 h 5808721"/>
              <a:gd name="connsiteX1594" fmla="*/ 6052202 w 6251734"/>
              <a:gd name="connsiteY1594" fmla="*/ 2115361 h 5808721"/>
              <a:gd name="connsiteX1595" fmla="*/ 6061402 w 6251734"/>
              <a:gd name="connsiteY1595" fmla="*/ 2132621 h 5808721"/>
              <a:gd name="connsiteX1596" fmla="*/ 6071045 w 6251734"/>
              <a:gd name="connsiteY1596" fmla="*/ 2292283 h 5808721"/>
              <a:gd name="connsiteX1597" fmla="*/ 5911061 w 6251734"/>
              <a:gd name="connsiteY1597" fmla="*/ 2282960 h 5808721"/>
              <a:gd name="connsiteX1598" fmla="*/ 5893744 w 6251734"/>
              <a:gd name="connsiteY1598" fmla="*/ 2273685 h 5808721"/>
              <a:gd name="connsiteX1599" fmla="*/ 5865784 w 6251734"/>
              <a:gd name="connsiteY1599" fmla="*/ 2342634 h 5808721"/>
              <a:gd name="connsiteX1600" fmla="*/ 5782152 w 6251734"/>
              <a:gd name="connsiteY1600" fmla="*/ 2412297 h 5808721"/>
              <a:gd name="connsiteX1601" fmla="*/ 5698520 w 6251734"/>
              <a:gd name="connsiteY1601" fmla="*/ 2342634 h 5808721"/>
              <a:gd name="connsiteX1602" fmla="*/ 5670749 w 6251734"/>
              <a:gd name="connsiteY1602" fmla="*/ 2274150 h 5808721"/>
              <a:gd name="connsiteX1603" fmla="*/ 5653242 w 6251734"/>
              <a:gd name="connsiteY1603" fmla="*/ 2283496 h 5808721"/>
              <a:gd name="connsiteX1604" fmla="*/ 5493258 w 6251734"/>
              <a:gd name="connsiteY1604" fmla="*/ 2293141 h 5808721"/>
              <a:gd name="connsiteX1605" fmla="*/ 5502902 w 6251734"/>
              <a:gd name="connsiteY1605" fmla="*/ 2133155 h 5808721"/>
              <a:gd name="connsiteX1606" fmla="*/ 5512498 w 6251734"/>
              <a:gd name="connsiteY1606" fmla="*/ 2115182 h 5808721"/>
              <a:gd name="connsiteX1607" fmla="*/ 5443764 w 6251734"/>
              <a:gd name="connsiteY1607" fmla="*/ 2087397 h 5808721"/>
              <a:gd name="connsiteX1608" fmla="*/ 5374100 w 6251734"/>
              <a:gd name="connsiteY1608" fmla="*/ 2003388 h 5808721"/>
              <a:gd name="connsiteX1609" fmla="*/ 5443764 w 6251734"/>
              <a:gd name="connsiteY1609" fmla="*/ 1919379 h 5808721"/>
              <a:gd name="connsiteX1610" fmla="*/ 5512121 w 6251734"/>
              <a:gd name="connsiteY1610" fmla="*/ 1891747 h 5808721"/>
              <a:gd name="connsiteX1611" fmla="*/ 5502902 w 6251734"/>
              <a:gd name="connsiteY1611" fmla="*/ 1874480 h 5808721"/>
              <a:gd name="connsiteX1612" fmla="*/ 5493258 w 6251734"/>
              <a:gd name="connsiteY1612" fmla="*/ 1714497 h 5808721"/>
              <a:gd name="connsiteX1613" fmla="*/ 5653242 w 6251734"/>
              <a:gd name="connsiteY1613" fmla="*/ 1724143 h 5808721"/>
              <a:gd name="connsiteX1614" fmla="*/ 5670795 w 6251734"/>
              <a:gd name="connsiteY1614" fmla="*/ 1733514 h 5808721"/>
              <a:gd name="connsiteX1615" fmla="*/ 5698143 w 6251734"/>
              <a:gd name="connsiteY1615" fmla="*/ 1665860 h 5808721"/>
              <a:gd name="connsiteX1616" fmla="*/ 5782152 w 6251734"/>
              <a:gd name="connsiteY1616" fmla="*/ 1596198 h 5808721"/>
              <a:gd name="connsiteX1617" fmla="*/ 3595306 w 6251734"/>
              <a:gd name="connsiteY1617" fmla="*/ 1531906 h 5808721"/>
              <a:gd name="connsiteX1618" fmla="*/ 3477006 w 6251734"/>
              <a:gd name="connsiteY1618" fmla="*/ 1651922 h 5808721"/>
              <a:gd name="connsiteX1619" fmla="*/ 3595306 w 6251734"/>
              <a:gd name="connsiteY1619" fmla="*/ 1771933 h 5808721"/>
              <a:gd name="connsiteX1620" fmla="*/ 3713607 w 6251734"/>
              <a:gd name="connsiteY1620" fmla="*/ 1651922 h 5808721"/>
              <a:gd name="connsiteX1621" fmla="*/ 3595306 w 6251734"/>
              <a:gd name="connsiteY1621" fmla="*/ 1531906 h 5808721"/>
              <a:gd name="connsiteX1622" fmla="*/ 1682785 w 6251734"/>
              <a:gd name="connsiteY1622" fmla="*/ 1496755 h 5808721"/>
              <a:gd name="connsiteX1623" fmla="*/ 2037137 w 6251734"/>
              <a:gd name="connsiteY1623" fmla="*/ 1655346 h 5808721"/>
              <a:gd name="connsiteX1624" fmla="*/ 2042829 w 6251734"/>
              <a:gd name="connsiteY1624" fmla="*/ 1655346 h 5808721"/>
              <a:gd name="connsiteX1625" fmla="*/ 2042829 w 6251734"/>
              <a:gd name="connsiteY1625" fmla="*/ 1657894 h 5808721"/>
              <a:gd name="connsiteX1626" fmla="*/ 2050545 w 6251734"/>
              <a:gd name="connsiteY1626" fmla="*/ 1661347 h 5808721"/>
              <a:gd name="connsiteX1627" fmla="*/ 2042829 w 6251734"/>
              <a:gd name="connsiteY1627" fmla="*/ 1664864 h 5808721"/>
              <a:gd name="connsiteX1628" fmla="*/ 2042829 w 6251734"/>
              <a:gd name="connsiteY1628" fmla="*/ 1878511 h 5808721"/>
              <a:gd name="connsiteX1629" fmla="*/ 2057832 w 6251734"/>
              <a:gd name="connsiteY1629" fmla="*/ 1884660 h 5808721"/>
              <a:gd name="connsiteX1630" fmla="*/ 2068547 w 6251734"/>
              <a:gd name="connsiteY1630" fmla="*/ 1910806 h 5808721"/>
              <a:gd name="connsiteX1631" fmla="*/ 2057832 w 6251734"/>
              <a:gd name="connsiteY1631" fmla="*/ 1937274 h 5808721"/>
              <a:gd name="connsiteX1632" fmla="*/ 2057578 w 6251734"/>
              <a:gd name="connsiteY1632" fmla="*/ 1937375 h 5808721"/>
              <a:gd name="connsiteX1633" fmla="*/ 2065332 w 6251734"/>
              <a:gd name="connsiteY1633" fmla="*/ 1965456 h 5808721"/>
              <a:gd name="connsiteX1634" fmla="*/ 2069404 w 6251734"/>
              <a:gd name="connsiteY1634" fmla="*/ 2078827 h 5808721"/>
              <a:gd name="connsiteX1635" fmla="*/ 2038543 w 6251734"/>
              <a:gd name="connsiteY1635" fmla="*/ 2078827 h 5808721"/>
              <a:gd name="connsiteX1636" fmla="*/ 2027398 w 6251734"/>
              <a:gd name="connsiteY1636" fmla="*/ 2078827 h 5808721"/>
              <a:gd name="connsiteX1637" fmla="*/ 1996538 w 6251734"/>
              <a:gd name="connsiteY1637" fmla="*/ 2078827 h 5808721"/>
              <a:gd name="connsiteX1638" fmla="*/ 2001360 w 6251734"/>
              <a:gd name="connsiteY1638" fmla="*/ 1965456 h 5808721"/>
              <a:gd name="connsiteX1639" fmla="*/ 2008928 w 6251734"/>
              <a:gd name="connsiteY1639" fmla="*/ 1938341 h 5808721"/>
              <a:gd name="connsiteX1640" fmla="*/ 2005539 w 6251734"/>
              <a:gd name="connsiteY1640" fmla="*/ 1936952 h 5808721"/>
              <a:gd name="connsiteX1641" fmla="*/ 1994823 w 6251734"/>
              <a:gd name="connsiteY1641" fmla="*/ 1910806 h 5808721"/>
              <a:gd name="connsiteX1642" fmla="*/ 2005539 w 6251734"/>
              <a:gd name="connsiteY1642" fmla="*/ 1884660 h 5808721"/>
              <a:gd name="connsiteX1643" fmla="*/ 2019683 w 6251734"/>
              <a:gd name="connsiteY1643" fmla="*/ 1878863 h 5808721"/>
              <a:gd name="connsiteX1644" fmla="*/ 2019683 w 6251734"/>
              <a:gd name="connsiteY1644" fmla="*/ 1675413 h 5808721"/>
              <a:gd name="connsiteX1645" fmla="*/ 1672498 w 6251734"/>
              <a:gd name="connsiteY1645" fmla="*/ 1833654 h 5808721"/>
              <a:gd name="connsiteX1646" fmla="*/ 1300450 w 6251734"/>
              <a:gd name="connsiteY1646" fmla="*/ 1665634 h 5808721"/>
              <a:gd name="connsiteX1647" fmla="*/ 5080921 w 6251734"/>
              <a:gd name="connsiteY1647" fmla="*/ 1438462 h 5808721"/>
              <a:gd name="connsiteX1648" fmla="*/ 5143500 w 6251734"/>
              <a:gd name="connsiteY1648" fmla="*/ 1438462 h 5808721"/>
              <a:gd name="connsiteX1649" fmla="*/ 5158931 w 6251734"/>
              <a:gd name="connsiteY1649" fmla="*/ 1457322 h 5808721"/>
              <a:gd name="connsiteX1650" fmla="*/ 5143500 w 6251734"/>
              <a:gd name="connsiteY1650" fmla="*/ 1476181 h 5808721"/>
              <a:gd name="connsiteX1651" fmla="*/ 5080921 w 6251734"/>
              <a:gd name="connsiteY1651" fmla="*/ 1476181 h 5808721"/>
              <a:gd name="connsiteX1652" fmla="*/ 5065490 w 6251734"/>
              <a:gd name="connsiteY1652" fmla="*/ 1457322 h 5808721"/>
              <a:gd name="connsiteX1653" fmla="*/ 5080921 w 6251734"/>
              <a:gd name="connsiteY1653" fmla="*/ 1438462 h 5808721"/>
              <a:gd name="connsiteX1654" fmla="*/ 2660050 w 6251734"/>
              <a:gd name="connsiteY1654" fmla="*/ 1421316 h 5808721"/>
              <a:gd name="connsiteX1655" fmla="*/ 2760348 w 6251734"/>
              <a:gd name="connsiteY1655" fmla="*/ 1591909 h 5808721"/>
              <a:gd name="connsiteX1656" fmla="*/ 2643762 w 6251734"/>
              <a:gd name="connsiteY1656" fmla="*/ 1672490 h 5808721"/>
              <a:gd name="connsiteX1657" fmla="*/ 2797210 w 6251734"/>
              <a:gd name="connsiteY1657" fmla="*/ 1599624 h 5808721"/>
              <a:gd name="connsiteX1658" fmla="*/ 2660050 w 6251734"/>
              <a:gd name="connsiteY1658" fmla="*/ 1421316 h 5808721"/>
              <a:gd name="connsiteX1659" fmla="*/ 5060347 w 6251734"/>
              <a:gd name="connsiteY1659" fmla="*/ 1398171 h 5808721"/>
              <a:gd name="connsiteX1660" fmla="*/ 5164075 w 6251734"/>
              <a:gd name="connsiteY1660" fmla="*/ 1398171 h 5808721"/>
              <a:gd name="connsiteX1661" fmla="*/ 5189792 w 6251734"/>
              <a:gd name="connsiteY1661" fmla="*/ 1417031 h 5808721"/>
              <a:gd name="connsiteX1662" fmla="*/ 5164075 w 6251734"/>
              <a:gd name="connsiteY1662" fmla="*/ 1435890 h 5808721"/>
              <a:gd name="connsiteX1663" fmla="*/ 5060347 w 6251734"/>
              <a:gd name="connsiteY1663" fmla="*/ 1435890 h 5808721"/>
              <a:gd name="connsiteX1664" fmla="*/ 5034629 w 6251734"/>
              <a:gd name="connsiteY1664" fmla="*/ 1417031 h 5808721"/>
              <a:gd name="connsiteX1665" fmla="*/ 5060347 w 6251734"/>
              <a:gd name="connsiteY1665" fmla="*/ 1398171 h 5808721"/>
              <a:gd name="connsiteX1666" fmla="*/ 3397282 w 6251734"/>
              <a:gd name="connsiteY1666" fmla="*/ 1360456 h 5808721"/>
              <a:gd name="connsiteX1667" fmla="*/ 3287554 w 6251734"/>
              <a:gd name="connsiteY1667" fmla="*/ 1471897 h 5808721"/>
              <a:gd name="connsiteX1668" fmla="*/ 3397282 w 6251734"/>
              <a:gd name="connsiteY1668" fmla="*/ 1582484 h 5808721"/>
              <a:gd name="connsiteX1669" fmla="*/ 3507010 w 6251734"/>
              <a:gd name="connsiteY1669" fmla="*/ 1471897 h 5808721"/>
              <a:gd name="connsiteX1670" fmla="*/ 3397282 w 6251734"/>
              <a:gd name="connsiteY1670" fmla="*/ 1360456 h 5808721"/>
              <a:gd name="connsiteX1671" fmla="*/ 5060347 w 6251734"/>
              <a:gd name="connsiteY1671" fmla="*/ 1358738 h 5808721"/>
              <a:gd name="connsiteX1672" fmla="*/ 5164075 w 6251734"/>
              <a:gd name="connsiteY1672" fmla="*/ 1358738 h 5808721"/>
              <a:gd name="connsiteX1673" fmla="*/ 5189792 w 6251734"/>
              <a:gd name="connsiteY1673" fmla="*/ 1377598 h 5808721"/>
              <a:gd name="connsiteX1674" fmla="*/ 5164075 w 6251734"/>
              <a:gd name="connsiteY1674" fmla="*/ 1396458 h 5808721"/>
              <a:gd name="connsiteX1675" fmla="*/ 5060347 w 6251734"/>
              <a:gd name="connsiteY1675" fmla="*/ 1396458 h 5808721"/>
              <a:gd name="connsiteX1676" fmla="*/ 5034629 w 6251734"/>
              <a:gd name="connsiteY1676" fmla="*/ 1377598 h 5808721"/>
              <a:gd name="connsiteX1677" fmla="*/ 5060347 w 6251734"/>
              <a:gd name="connsiteY1677" fmla="*/ 1358738 h 5808721"/>
              <a:gd name="connsiteX1678" fmla="*/ 3329559 w 6251734"/>
              <a:gd name="connsiteY1678" fmla="*/ 1134999 h 5808721"/>
              <a:gd name="connsiteX1679" fmla="*/ 3233547 w 6251734"/>
              <a:gd name="connsiteY1679" fmla="*/ 1232725 h 5808721"/>
              <a:gd name="connsiteX1680" fmla="*/ 3329559 w 6251734"/>
              <a:gd name="connsiteY1680" fmla="*/ 1330451 h 5808721"/>
              <a:gd name="connsiteX1681" fmla="*/ 3425571 w 6251734"/>
              <a:gd name="connsiteY1681" fmla="*/ 1232725 h 5808721"/>
              <a:gd name="connsiteX1682" fmla="*/ 3329559 w 6251734"/>
              <a:gd name="connsiteY1682" fmla="*/ 1134999 h 5808721"/>
              <a:gd name="connsiteX1683" fmla="*/ 2545178 w 6251734"/>
              <a:gd name="connsiteY1683" fmla="*/ 997834 h 5808721"/>
              <a:gd name="connsiteX1684" fmla="*/ 2649763 w 6251734"/>
              <a:gd name="connsiteY1684" fmla="*/ 1038125 h 5808721"/>
              <a:gd name="connsiteX1685" fmla="*/ 2649763 w 6251734"/>
              <a:gd name="connsiteY1685" fmla="*/ 1040697 h 5808721"/>
              <a:gd name="connsiteX1686" fmla="*/ 2654049 w 6251734"/>
              <a:gd name="connsiteY1686" fmla="*/ 1040697 h 5808721"/>
              <a:gd name="connsiteX1687" fmla="*/ 2654049 w 6251734"/>
              <a:gd name="connsiteY1687" fmla="*/ 1116135 h 5808721"/>
              <a:gd name="connsiteX1688" fmla="*/ 2649763 w 6251734"/>
              <a:gd name="connsiteY1688" fmla="*/ 1116135 h 5808721"/>
              <a:gd name="connsiteX1689" fmla="*/ 2632618 w 6251734"/>
              <a:gd name="connsiteY1689" fmla="*/ 1138423 h 5808721"/>
              <a:gd name="connsiteX1690" fmla="*/ 2632618 w 6251734"/>
              <a:gd name="connsiteY1690" fmla="*/ 1309873 h 5808721"/>
              <a:gd name="connsiteX1691" fmla="*/ 2648905 w 6251734"/>
              <a:gd name="connsiteY1691" fmla="*/ 1351879 h 5808721"/>
              <a:gd name="connsiteX1692" fmla="*/ 2810926 w 6251734"/>
              <a:gd name="connsiteY1692" fmla="*/ 1669918 h 5808721"/>
              <a:gd name="connsiteX1693" fmla="*/ 2546035 w 6251734"/>
              <a:gd name="connsiteY1693" fmla="*/ 1728211 h 5808721"/>
              <a:gd name="connsiteX1694" fmla="*/ 2281144 w 6251734"/>
              <a:gd name="connsiteY1694" fmla="*/ 1669918 h 5808721"/>
              <a:gd name="connsiteX1695" fmla="*/ 2447452 w 6251734"/>
              <a:gd name="connsiteY1695" fmla="*/ 1351879 h 5808721"/>
              <a:gd name="connsiteX1696" fmla="*/ 2470597 w 6251734"/>
              <a:gd name="connsiteY1696" fmla="*/ 1309873 h 5808721"/>
              <a:gd name="connsiteX1697" fmla="*/ 2470597 w 6251734"/>
              <a:gd name="connsiteY1697" fmla="*/ 1139281 h 5808721"/>
              <a:gd name="connsiteX1698" fmla="*/ 2440594 w 6251734"/>
              <a:gd name="connsiteY1698" fmla="*/ 1116135 h 5808721"/>
              <a:gd name="connsiteX1699" fmla="*/ 2438022 w 6251734"/>
              <a:gd name="connsiteY1699" fmla="*/ 1116135 h 5808721"/>
              <a:gd name="connsiteX1700" fmla="*/ 2438022 w 6251734"/>
              <a:gd name="connsiteY1700" fmla="*/ 1040697 h 5808721"/>
              <a:gd name="connsiteX1701" fmla="*/ 2440594 w 6251734"/>
              <a:gd name="connsiteY1701" fmla="*/ 1040697 h 5808721"/>
              <a:gd name="connsiteX1702" fmla="*/ 2440594 w 6251734"/>
              <a:gd name="connsiteY1702" fmla="*/ 1038125 h 5808721"/>
              <a:gd name="connsiteX1703" fmla="*/ 2545178 w 6251734"/>
              <a:gd name="connsiteY1703" fmla="*/ 997834 h 5808721"/>
              <a:gd name="connsiteX1704" fmla="*/ 1963962 w 6251734"/>
              <a:gd name="connsiteY1704" fmla="*/ 956688 h 5808721"/>
              <a:gd name="connsiteX1705" fmla="*/ 2026541 w 6251734"/>
              <a:gd name="connsiteY1705" fmla="*/ 956688 h 5808721"/>
              <a:gd name="connsiteX1706" fmla="*/ 2042829 w 6251734"/>
              <a:gd name="connsiteY1706" fmla="*/ 975549 h 5808721"/>
              <a:gd name="connsiteX1707" fmla="*/ 2027398 w 6251734"/>
              <a:gd name="connsiteY1707" fmla="*/ 994408 h 5808721"/>
              <a:gd name="connsiteX1708" fmla="*/ 1963962 w 6251734"/>
              <a:gd name="connsiteY1708" fmla="*/ 994408 h 5808721"/>
              <a:gd name="connsiteX1709" fmla="*/ 1948531 w 6251734"/>
              <a:gd name="connsiteY1709" fmla="*/ 975549 h 5808721"/>
              <a:gd name="connsiteX1710" fmla="*/ 1963962 w 6251734"/>
              <a:gd name="connsiteY1710" fmla="*/ 956688 h 5808721"/>
              <a:gd name="connsiteX1711" fmla="*/ 3402425 w 6251734"/>
              <a:gd name="connsiteY1711" fmla="*/ 943831 h 5808721"/>
              <a:gd name="connsiteX1712" fmla="*/ 3330416 w 6251734"/>
              <a:gd name="connsiteY1712" fmla="*/ 1016699 h 5808721"/>
              <a:gd name="connsiteX1713" fmla="*/ 3402425 w 6251734"/>
              <a:gd name="connsiteY1713" fmla="*/ 1089565 h 5808721"/>
              <a:gd name="connsiteX1714" fmla="*/ 3474434 w 6251734"/>
              <a:gd name="connsiteY1714" fmla="*/ 1016699 h 5808721"/>
              <a:gd name="connsiteX1715" fmla="*/ 3402425 w 6251734"/>
              <a:gd name="connsiteY1715" fmla="*/ 943831 h 5808721"/>
              <a:gd name="connsiteX1716" fmla="*/ 4083082 w 6251734"/>
              <a:gd name="connsiteY1716" fmla="*/ 928402 h 5808721"/>
              <a:gd name="connsiteX1717" fmla="*/ 3939064 w 6251734"/>
              <a:gd name="connsiteY1717" fmla="*/ 1072419 h 5808721"/>
              <a:gd name="connsiteX1718" fmla="*/ 4083082 w 6251734"/>
              <a:gd name="connsiteY1718" fmla="*/ 1216437 h 5808721"/>
              <a:gd name="connsiteX1719" fmla="*/ 4227100 w 6251734"/>
              <a:gd name="connsiteY1719" fmla="*/ 1072419 h 5808721"/>
              <a:gd name="connsiteX1720" fmla="*/ 4083082 w 6251734"/>
              <a:gd name="connsiteY1720" fmla="*/ 928402 h 5808721"/>
              <a:gd name="connsiteX1721" fmla="*/ 1944245 w 6251734"/>
              <a:gd name="connsiteY1721" fmla="*/ 916397 h 5808721"/>
              <a:gd name="connsiteX1722" fmla="*/ 2047973 w 6251734"/>
              <a:gd name="connsiteY1722" fmla="*/ 916397 h 5808721"/>
              <a:gd name="connsiteX1723" fmla="*/ 2073690 w 6251734"/>
              <a:gd name="connsiteY1723" fmla="*/ 935258 h 5808721"/>
              <a:gd name="connsiteX1724" fmla="*/ 2047973 w 6251734"/>
              <a:gd name="connsiteY1724" fmla="*/ 954117 h 5808721"/>
              <a:gd name="connsiteX1725" fmla="*/ 1944245 w 6251734"/>
              <a:gd name="connsiteY1725" fmla="*/ 954117 h 5808721"/>
              <a:gd name="connsiteX1726" fmla="*/ 1918527 w 6251734"/>
              <a:gd name="connsiteY1726" fmla="*/ 935258 h 5808721"/>
              <a:gd name="connsiteX1727" fmla="*/ 1944245 w 6251734"/>
              <a:gd name="connsiteY1727" fmla="*/ 916397 h 5808721"/>
              <a:gd name="connsiteX1728" fmla="*/ 1944245 w 6251734"/>
              <a:gd name="connsiteY1728" fmla="*/ 876106 h 5808721"/>
              <a:gd name="connsiteX1729" fmla="*/ 2047973 w 6251734"/>
              <a:gd name="connsiteY1729" fmla="*/ 876106 h 5808721"/>
              <a:gd name="connsiteX1730" fmla="*/ 2073690 w 6251734"/>
              <a:gd name="connsiteY1730" fmla="*/ 894967 h 5808721"/>
              <a:gd name="connsiteX1731" fmla="*/ 2047973 w 6251734"/>
              <a:gd name="connsiteY1731" fmla="*/ 913826 h 5808721"/>
              <a:gd name="connsiteX1732" fmla="*/ 1944245 w 6251734"/>
              <a:gd name="connsiteY1732" fmla="*/ 913826 h 5808721"/>
              <a:gd name="connsiteX1733" fmla="*/ 1918527 w 6251734"/>
              <a:gd name="connsiteY1733" fmla="*/ 894967 h 5808721"/>
              <a:gd name="connsiteX1734" fmla="*/ 1944245 w 6251734"/>
              <a:gd name="connsiteY1734" fmla="*/ 876106 h 5808721"/>
              <a:gd name="connsiteX1735" fmla="*/ 5177790 w 6251734"/>
              <a:gd name="connsiteY1735" fmla="*/ 825530 h 5808721"/>
              <a:gd name="connsiteX1736" fmla="*/ 5272088 w 6251734"/>
              <a:gd name="connsiteY1736" fmla="*/ 1060415 h 5808721"/>
              <a:gd name="connsiteX1737" fmla="*/ 5177790 w 6251734"/>
              <a:gd name="connsiteY1737" fmla="*/ 825530 h 5808721"/>
              <a:gd name="connsiteX1738" fmla="*/ 5101495 w 6251734"/>
              <a:gd name="connsiteY1738" fmla="*/ 760378 h 5808721"/>
              <a:gd name="connsiteX1739" fmla="*/ 5107496 w 6251734"/>
              <a:gd name="connsiteY1739" fmla="*/ 760378 h 5808721"/>
              <a:gd name="connsiteX1740" fmla="*/ 5108353 w 6251734"/>
              <a:gd name="connsiteY1740" fmla="*/ 760378 h 5808721"/>
              <a:gd name="connsiteX1741" fmla="*/ 5114354 w 6251734"/>
              <a:gd name="connsiteY1741" fmla="*/ 760378 h 5808721"/>
              <a:gd name="connsiteX1742" fmla="*/ 5275516 w 6251734"/>
              <a:gd name="connsiteY1742" fmla="*/ 1171000 h 5808721"/>
              <a:gd name="connsiteX1743" fmla="*/ 5192363 w 6251734"/>
              <a:gd name="connsiteY1743" fmla="*/ 1351880 h 5808721"/>
              <a:gd name="connsiteX1744" fmla="*/ 5120354 w 6251734"/>
              <a:gd name="connsiteY1744" fmla="*/ 1351880 h 5808721"/>
              <a:gd name="connsiteX1745" fmla="*/ 5107496 w 6251734"/>
              <a:gd name="connsiteY1745" fmla="*/ 1351880 h 5808721"/>
              <a:gd name="connsiteX1746" fmla="*/ 5029486 w 6251734"/>
              <a:gd name="connsiteY1746" fmla="*/ 1351880 h 5808721"/>
              <a:gd name="connsiteX1747" fmla="*/ 4943761 w 6251734"/>
              <a:gd name="connsiteY1747" fmla="*/ 1171000 h 5808721"/>
              <a:gd name="connsiteX1748" fmla="*/ 5101495 w 6251734"/>
              <a:gd name="connsiteY1748" fmla="*/ 760378 h 5808721"/>
              <a:gd name="connsiteX1749" fmla="*/ 3975068 w 6251734"/>
              <a:gd name="connsiteY1749" fmla="*/ 748379 h 5808721"/>
              <a:gd name="connsiteX1750" fmla="*/ 4329113 w 6251734"/>
              <a:gd name="connsiteY1750" fmla="*/ 991837 h 5808721"/>
              <a:gd name="connsiteX1751" fmla="*/ 4023074 w 6251734"/>
              <a:gd name="connsiteY1751" fmla="*/ 1384458 h 5808721"/>
              <a:gd name="connsiteX1752" fmla="*/ 3545586 w 6251734"/>
              <a:gd name="connsiteY1752" fmla="*/ 1825939 h 5808721"/>
              <a:gd name="connsiteX1753" fmla="*/ 3975068 w 6251734"/>
              <a:gd name="connsiteY1753" fmla="*/ 748379 h 5808721"/>
              <a:gd name="connsiteX1754" fmla="*/ 912543 w 6251734"/>
              <a:gd name="connsiteY1754" fmla="*/ 703049 h 5808721"/>
              <a:gd name="connsiteX1755" fmla="*/ 921544 w 6251734"/>
              <a:gd name="connsiteY1755" fmla="*/ 710657 h 5808721"/>
              <a:gd name="connsiteX1756" fmla="*/ 942953 w 6251734"/>
              <a:gd name="connsiteY1756" fmla="*/ 752806 h 5808721"/>
              <a:gd name="connsiteX1757" fmla="*/ 953423 w 6251734"/>
              <a:gd name="connsiteY1757" fmla="*/ 749943 h 5808721"/>
              <a:gd name="connsiteX1758" fmla="*/ 1032987 w 6251734"/>
              <a:gd name="connsiteY1758" fmla="*/ 794666 h 5808721"/>
              <a:gd name="connsiteX1759" fmla="*/ 1041260 w 6251734"/>
              <a:gd name="connsiteY1759" fmla="*/ 842585 h 5808721"/>
              <a:gd name="connsiteX1760" fmla="*/ 1028104 w 6251734"/>
              <a:gd name="connsiteY1760" fmla="*/ 872891 h 5808721"/>
              <a:gd name="connsiteX1761" fmla="*/ 1072875 w 6251734"/>
              <a:gd name="connsiteY1761" fmla="*/ 914092 h 5808721"/>
              <a:gd name="connsiteX1762" fmla="*/ 1425608 w 6251734"/>
              <a:gd name="connsiteY1762" fmla="*/ 1247295 h 5808721"/>
              <a:gd name="connsiteX1763" fmla="*/ 1321023 w 6251734"/>
              <a:gd name="connsiteY1763" fmla="*/ 1216434 h 5808721"/>
              <a:gd name="connsiteX1764" fmla="*/ 1018681 w 6251734"/>
              <a:gd name="connsiteY1764" fmla="*/ 943748 h 5808721"/>
              <a:gd name="connsiteX1765" fmla="*/ 1011064 w 6251734"/>
              <a:gd name="connsiteY1765" fmla="*/ 936811 h 5808721"/>
              <a:gd name="connsiteX1766" fmla="*/ 1026129 w 6251734"/>
              <a:gd name="connsiteY1766" fmla="*/ 1357885 h 5808721"/>
              <a:gd name="connsiteX1767" fmla="*/ 993553 w 6251734"/>
              <a:gd name="connsiteY1767" fmla="*/ 1456468 h 5808721"/>
              <a:gd name="connsiteX1768" fmla="*/ 966978 w 6251734"/>
              <a:gd name="connsiteY1768" fmla="*/ 1357028 h 5808721"/>
              <a:gd name="connsiteX1769" fmla="*/ 946039 w 6251734"/>
              <a:gd name="connsiteY1769" fmla="*/ 912474 h 5808721"/>
              <a:gd name="connsiteX1770" fmla="*/ 933546 w 6251734"/>
              <a:gd name="connsiteY1770" fmla="*/ 910931 h 5808721"/>
              <a:gd name="connsiteX1771" fmla="*/ 885540 w 6251734"/>
              <a:gd name="connsiteY1771" fmla="*/ 870104 h 5808721"/>
              <a:gd name="connsiteX1772" fmla="*/ 896028 w 6251734"/>
              <a:gd name="connsiteY1772" fmla="*/ 778968 h 5808721"/>
              <a:gd name="connsiteX1773" fmla="*/ 914412 w 6251734"/>
              <a:gd name="connsiteY1773" fmla="*/ 764338 h 5808721"/>
              <a:gd name="connsiteX1774" fmla="*/ 894112 w 6251734"/>
              <a:gd name="connsiteY1774" fmla="*/ 724373 h 5808721"/>
              <a:gd name="connsiteX1775" fmla="*/ 900970 w 6251734"/>
              <a:gd name="connsiteY1775" fmla="*/ 703799 h 5808721"/>
              <a:gd name="connsiteX1776" fmla="*/ 912543 w 6251734"/>
              <a:gd name="connsiteY1776" fmla="*/ 703049 h 5808721"/>
              <a:gd name="connsiteX1777" fmla="*/ 2061687 w 6251734"/>
              <a:gd name="connsiteY1777" fmla="*/ 342898 h 5808721"/>
              <a:gd name="connsiteX1778" fmla="*/ 2155984 w 6251734"/>
              <a:gd name="connsiteY1778" fmla="*/ 577785 h 5808721"/>
              <a:gd name="connsiteX1779" fmla="*/ 2061687 w 6251734"/>
              <a:gd name="connsiteY1779" fmla="*/ 342898 h 5808721"/>
              <a:gd name="connsiteX1780" fmla="*/ 1985392 w 6251734"/>
              <a:gd name="connsiteY1780" fmla="*/ 278605 h 5808721"/>
              <a:gd name="connsiteX1781" fmla="*/ 1991393 w 6251734"/>
              <a:gd name="connsiteY1781" fmla="*/ 278605 h 5808721"/>
              <a:gd name="connsiteX1782" fmla="*/ 1992250 w 6251734"/>
              <a:gd name="connsiteY1782" fmla="*/ 278605 h 5808721"/>
              <a:gd name="connsiteX1783" fmla="*/ 1998250 w 6251734"/>
              <a:gd name="connsiteY1783" fmla="*/ 278605 h 5808721"/>
              <a:gd name="connsiteX1784" fmla="*/ 2159413 w 6251734"/>
              <a:gd name="connsiteY1784" fmla="*/ 689228 h 5808721"/>
              <a:gd name="connsiteX1785" fmla="*/ 2076260 w 6251734"/>
              <a:gd name="connsiteY1785" fmla="*/ 870108 h 5808721"/>
              <a:gd name="connsiteX1786" fmla="*/ 2004251 w 6251734"/>
              <a:gd name="connsiteY1786" fmla="*/ 870108 h 5808721"/>
              <a:gd name="connsiteX1787" fmla="*/ 1991393 w 6251734"/>
              <a:gd name="connsiteY1787" fmla="*/ 870108 h 5808721"/>
              <a:gd name="connsiteX1788" fmla="*/ 1913383 w 6251734"/>
              <a:gd name="connsiteY1788" fmla="*/ 870108 h 5808721"/>
              <a:gd name="connsiteX1789" fmla="*/ 1827658 w 6251734"/>
              <a:gd name="connsiteY1789" fmla="*/ 689228 h 5808721"/>
              <a:gd name="connsiteX1790" fmla="*/ 1985392 w 6251734"/>
              <a:gd name="connsiteY1790" fmla="*/ 278605 h 5808721"/>
              <a:gd name="connsiteX1791" fmla="*/ 2776633 w 6251734"/>
              <a:gd name="connsiteY1791" fmla="*/ 269173 h 5808721"/>
              <a:gd name="connsiteX1792" fmla="*/ 2994375 w 6251734"/>
              <a:gd name="connsiteY1792" fmla="*/ 372043 h 5808721"/>
              <a:gd name="connsiteX1793" fmla="*/ 3212117 w 6251734"/>
              <a:gd name="connsiteY1793" fmla="*/ 269173 h 5808721"/>
              <a:gd name="connsiteX1794" fmla="*/ 3212117 w 6251734"/>
              <a:gd name="connsiteY1794" fmla="*/ 519491 h 5808721"/>
              <a:gd name="connsiteX1795" fmla="*/ 3000376 w 6251734"/>
              <a:gd name="connsiteY1795" fmla="*/ 593215 h 5808721"/>
              <a:gd name="connsiteX1796" fmla="*/ 2994375 w 6251734"/>
              <a:gd name="connsiteY1796" fmla="*/ 593215 h 5808721"/>
              <a:gd name="connsiteX1797" fmla="*/ 2988374 w 6251734"/>
              <a:gd name="connsiteY1797" fmla="*/ 593215 h 5808721"/>
              <a:gd name="connsiteX1798" fmla="*/ 2776633 w 6251734"/>
              <a:gd name="connsiteY1798" fmla="*/ 519491 h 5808721"/>
              <a:gd name="connsiteX1799" fmla="*/ 4064357 w 6251734"/>
              <a:gd name="connsiteY1799" fmla="*/ 122787 h 5808721"/>
              <a:gd name="connsiteX1800" fmla="*/ 4135375 w 6251734"/>
              <a:gd name="connsiteY1800" fmla="*/ 158590 h 5808721"/>
              <a:gd name="connsiteX1801" fmla="*/ 4367690 w 6251734"/>
              <a:gd name="connsiteY1801" fmla="*/ 158590 h 5808721"/>
              <a:gd name="connsiteX1802" fmla="*/ 4367690 w 6251734"/>
              <a:gd name="connsiteY1802" fmla="*/ 498920 h 5808721"/>
              <a:gd name="connsiteX1803" fmla="*/ 4130231 w 6251734"/>
              <a:gd name="connsiteY1803" fmla="*/ 500634 h 5808721"/>
              <a:gd name="connsiteX1804" fmla="*/ 3903059 w 6251734"/>
              <a:gd name="connsiteY1804" fmla="*/ 497205 h 5808721"/>
              <a:gd name="connsiteX1805" fmla="*/ 3903059 w 6251734"/>
              <a:gd name="connsiteY1805" fmla="*/ 158590 h 5808721"/>
              <a:gd name="connsiteX1806" fmla="*/ 4064357 w 6251734"/>
              <a:gd name="connsiteY1806" fmla="*/ 122787 h 5808721"/>
              <a:gd name="connsiteX1807" fmla="*/ 3009805 w 6251734"/>
              <a:gd name="connsiteY1807" fmla="*/ 0 h 5808721"/>
              <a:gd name="connsiteX1808" fmla="*/ 3364979 w 6251734"/>
              <a:gd name="connsiteY1808" fmla="*/ 158588 h 5808721"/>
              <a:gd name="connsiteX1809" fmla="*/ 3370707 w 6251734"/>
              <a:gd name="connsiteY1809" fmla="*/ 158588 h 5808721"/>
              <a:gd name="connsiteX1810" fmla="*/ 3370707 w 6251734"/>
              <a:gd name="connsiteY1810" fmla="*/ 161146 h 5808721"/>
              <a:gd name="connsiteX1811" fmla="*/ 3378423 w 6251734"/>
              <a:gd name="connsiteY1811" fmla="*/ 164591 h 5808721"/>
              <a:gd name="connsiteX1812" fmla="*/ 3370707 w 6251734"/>
              <a:gd name="connsiteY1812" fmla="*/ 168108 h 5808721"/>
              <a:gd name="connsiteX1813" fmla="*/ 3370707 w 6251734"/>
              <a:gd name="connsiteY1813" fmla="*/ 381755 h 5808721"/>
              <a:gd name="connsiteX1814" fmla="*/ 3385709 w 6251734"/>
              <a:gd name="connsiteY1814" fmla="*/ 387903 h 5808721"/>
              <a:gd name="connsiteX1815" fmla="*/ 3396425 w 6251734"/>
              <a:gd name="connsiteY1815" fmla="*/ 414049 h 5808721"/>
              <a:gd name="connsiteX1816" fmla="*/ 3385388 w 6251734"/>
              <a:gd name="connsiteY1816" fmla="*/ 440517 h 5808721"/>
              <a:gd name="connsiteX1817" fmla="*/ 3384653 w 6251734"/>
              <a:gd name="connsiteY1817" fmla="*/ 440813 h 5808721"/>
              <a:gd name="connsiteX1818" fmla="*/ 3392352 w 6251734"/>
              <a:gd name="connsiteY1818" fmla="*/ 468698 h 5808721"/>
              <a:gd name="connsiteX1819" fmla="*/ 3396424 w 6251734"/>
              <a:gd name="connsiteY1819" fmla="*/ 582069 h 5808721"/>
              <a:gd name="connsiteX1820" fmla="*/ 3366421 w 6251734"/>
              <a:gd name="connsiteY1820" fmla="*/ 582069 h 5808721"/>
              <a:gd name="connsiteX1821" fmla="*/ 3324416 w 6251734"/>
              <a:gd name="connsiteY1821" fmla="*/ 582069 h 5808721"/>
              <a:gd name="connsiteX1822" fmla="*/ 3329238 w 6251734"/>
              <a:gd name="connsiteY1822" fmla="*/ 468698 h 5808721"/>
              <a:gd name="connsiteX1823" fmla="*/ 3336806 w 6251734"/>
              <a:gd name="connsiteY1823" fmla="*/ 441584 h 5808721"/>
              <a:gd name="connsiteX1824" fmla="*/ 3333417 w 6251734"/>
              <a:gd name="connsiteY1824" fmla="*/ 440196 h 5808721"/>
              <a:gd name="connsiteX1825" fmla="*/ 3322701 w 6251734"/>
              <a:gd name="connsiteY1825" fmla="*/ 414049 h 5808721"/>
              <a:gd name="connsiteX1826" fmla="*/ 3333417 w 6251734"/>
              <a:gd name="connsiteY1826" fmla="*/ 387903 h 5808721"/>
              <a:gd name="connsiteX1827" fmla="*/ 3347562 w 6251734"/>
              <a:gd name="connsiteY1827" fmla="*/ 382106 h 5808721"/>
              <a:gd name="connsiteX1828" fmla="*/ 3347562 w 6251734"/>
              <a:gd name="connsiteY1828" fmla="*/ 178657 h 5808721"/>
              <a:gd name="connsiteX1829" fmla="*/ 3000375 w 6251734"/>
              <a:gd name="connsiteY1829" fmla="*/ 336899 h 5808721"/>
              <a:gd name="connsiteX1830" fmla="*/ 2628328 w 6251734"/>
              <a:gd name="connsiteY1830" fmla="*/ 168878 h 5808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Lst>
            <a:rect l="l" t="t" r="r" b="b"/>
            <a:pathLst>
              <a:path w="6251734" h="5808721">
                <a:moveTo>
                  <a:pt x="3807697" y="5598000"/>
                </a:moveTo>
                <a:lnTo>
                  <a:pt x="3792649" y="5610966"/>
                </a:lnTo>
                <a:lnTo>
                  <a:pt x="3724407" y="5654281"/>
                </a:lnTo>
                <a:lnTo>
                  <a:pt x="3737518" y="5683584"/>
                </a:lnTo>
                <a:cubicBezTo>
                  <a:pt x="3757635" y="5720397"/>
                  <a:pt x="3781865" y="5741855"/>
                  <a:pt x="3807904" y="5741855"/>
                </a:cubicBezTo>
                <a:cubicBezTo>
                  <a:pt x="3833943" y="5741855"/>
                  <a:pt x="3858174" y="5720397"/>
                  <a:pt x="3878291" y="5683584"/>
                </a:cubicBezTo>
                <a:lnTo>
                  <a:pt x="3891370" y="5654352"/>
                </a:lnTo>
                <a:lnTo>
                  <a:pt x="3821929" y="5610228"/>
                </a:lnTo>
                <a:close/>
                <a:moveTo>
                  <a:pt x="3827101" y="5549255"/>
                </a:moveTo>
                <a:lnTo>
                  <a:pt x="3807904" y="5550689"/>
                </a:lnTo>
                <a:lnTo>
                  <a:pt x="3788212" y="5549599"/>
                </a:lnTo>
                <a:lnTo>
                  <a:pt x="3807470" y="5566172"/>
                </a:lnTo>
                <a:close/>
                <a:moveTo>
                  <a:pt x="3694058" y="5544387"/>
                </a:moveTo>
                <a:lnTo>
                  <a:pt x="3703452" y="5591293"/>
                </a:lnTo>
                <a:lnTo>
                  <a:pt x="3714172" y="5626491"/>
                </a:lnTo>
                <a:lnTo>
                  <a:pt x="3722717" y="5622628"/>
                </a:lnTo>
                <a:lnTo>
                  <a:pt x="3788068" y="5581136"/>
                </a:lnTo>
                <a:lnTo>
                  <a:pt x="3748826" y="5547419"/>
                </a:lnTo>
                <a:close/>
                <a:moveTo>
                  <a:pt x="3922198" y="5542152"/>
                </a:moveTo>
                <a:lnTo>
                  <a:pt x="3867799" y="5546215"/>
                </a:lnTo>
                <a:lnTo>
                  <a:pt x="3827145" y="5581244"/>
                </a:lnTo>
                <a:lnTo>
                  <a:pt x="3901775" y="5626039"/>
                </a:lnTo>
                <a:lnTo>
                  <a:pt x="3912357" y="5591293"/>
                </a:lnTo>
                <a:close/>
                <a:moveTo>
                  <a:pt x="3568695" y="5521810"/>
                </a:moveTo>
                <a:lnTo>
                  <a:pt x="3557706" y="5550648"/>
                </a:lnTo>
                <a:cubicBezTo>
                  <a:pt x="3545907" y="5590927"/>
                  <a:pt x="3547836" y="5623235"/>
                  <a:pt x="3566160" y="5641559"/>
                </a:cubicBezTo>
                <a:cubicBezTo>
                  <a:pt x="3586774" y="5662535"/>
                  <a:pt x="3625087" y="5662456"/>
                  <a:pt x="3672538" y="5645312"/>
                </a:cubicBezTo>
                <a:lnTo>
                  <a:pt x="3686711" y="5638905"/>
                </a:lnTo>
                <a:lnTo>
                  <a:pt x="3683653" y="5628857"/>
                </a:lnTo>
                <a:cubicBezTo>
                  <a:pt x="3678238" y="5607150"/>
                  <a:pt x="3673570" y="5583954"/>
                  <a:pt x="3669753" y="5559542"/>
                </a:cubicBezTo>
                <a:lnTo>
                  <a:pt x="3668350" y="5540767"/>
                </a:lnTo>
                <a:lnTo>
                  <a:pt x="3579717" y="5525147"/>
                </a:lnTo>
                <a:close/>
                <a:moveTo>
                  <a:pt x="4046585" y="5520939"/>
                </a:moveTo>
                <a:lnTo>
                  <a:pt x="3966777" y="5538822"/>
                </a:lnTo>
                <a:lnTo>
                  <a:pt x="3947602" y="5540254"/>
                </a:lnTo>
                <a:lnTo>
                  <a:pt x="3946176" y="5559542"/>
                </a:lnTo>
                <a:cubicBezTo>
                  <a:pt x="3942392" y="5583954"/>
                  <a:pt x="3937761" y="5607150"/>
                  <a:pt x="3932381" y="5628857"/>
                </a:cubicBezTo>
                <a:lnTo>
                  <a:pt x="3929132" y="5639587"/>
                </a:lnTo>
                <a:lnTo>
                  <a:pt x="3958740" y="5650869"/>
                </a:lnTo>
                <a:cubicBezTo>
                  <a:pt x="3999019" y="5662668"/>
                  <a:pt x="4031327" y="5660739"/>
                  <a:pt x="4049650" y="5642415"/>
                </a:cubicBezTo>
                <a:cubicBezTo>
                  <a:pt x="4067974" y="5623770"/>
                  <a:pt x="4069903" y="5591382"/>
                  <a:pt x="4058104" y="5551128"/>
                </a:cubicBezTo>
                <a:close/>
                <a:moveTo>
                  <a:pt x="3688846" y="5493292"/>
                </a:moveTo>
                <a:lnTo>
                  <a:pt x="3690677" y="5517905"/>
                </a:lnTo>
                <a:lnTo>
                  <a:pt x="3706306" y="5520689"/>
                </a:lnTo>
                <a:lnTo>
                  <a:pt x="3718556" y="5521412"/>
                </a:lnTo>
                <a:lnTo>
                  <a:pt x="3700748" y="5506112"/>
                </a:lnTo>
                <a:close/>
                <a:moveTo>
                  <a:pt x="3927084" y="5491676"/>
                </a:moveTo>
                <a:lnTo>
                  <a:pt x="3913348" y="5506970"/>
                </a:lnTo>
                <a:lnTo>
                  <a:pt x="3898270" y="5519961"/>
                </a:lnTo>
                <a:lnTo>
                  <a:pt x="3925127" y="5517962"/>
                </a:lnTo>
                <a:close/>
                <a:moveTo>
                  <a:pt x="2666906" y="5428104"/>
                </a:moveTo>
                <a:lnTo>
                  <a:pt x="2906936" y="5566121"/>
                </a:lnTo>
                <a:lnTo>
                  <a:pt x="2986661" y="5428961"/>
                </a:lnTo>
                <a:close/>
                <a:moveTo>
                  <a:pt x="2421698" y="5427947"/>
                </a:moveTo>
                <a:lnTo>
                  <a:pt x="2911499" y="5711122"/>
                </a:lnTo>
                <a:lnTo>
                  <a:pt x="2873313" y="5777171"/>
                </a:lnTo>
                <a:lnTo>
                  <a:pt x="2383512" y="5493996"/>
                </a:lnTo>
                <a:close/>
                <a:moveTo>
                  <a:pt x="3626020" y="5422235"/>
                </a:moveTo>
                <a:lnTo>
                  <a:pt x="3598818" y="5461243"/>
                </a:lnTo>
                <a:lnTo>
                  <a:pt x="3581388" y="5494011"/>
                </a:lnTo>
                <a:lnTo>
                  <a:pt x="3616801" y="5504746"/>
                </a:lnTo>
                <a:lnTo>
                  <a:pt x="3666318" y="5513566"/>
                </a:lnTo>
                <a:lnTo>
                  <a:pt x="3662700" y="5465131"/>
                </a:lnTo>
                <a:lnTo>
                  <a:pt x="3644732" y="5445778"/>
                </a:lnTo>
                <a:close/>
                <a:moveTo>
                  <a:pt x="3990100" y="5421513"/>
                </a:moveTo>
                <a:lnTo>
                  <a:pt x="3953357" y="5462423"/>
                </a:lnTo>
                <a:lnTo>
                  <a:pt x="3949475" y="5514925"/>
                </a:lnTo>
                <a:lnTo>
                  <a:pt x="4025703" y="5497859"/>
                </a:lnTo>
                <a:lnTo>
                  <a:pt x="4034309" y="5494362"/>
                </a:lnTo>
                <a:lnTo>
                  <a:pt x="4016993" y="5461874"/>
                </a:lnTo>
                <a:close/>
                <a:moveTo>
                  <a:pt x="3956426" y="5380419"/>
                </a:moveTo>
                <a:lnTo>
                  <a:pt x="3957923" y="5400670"/>
                </a:lnTo>
                <a:lnTo>
                  <a:pt x="3956295" y="5422687"/>
                </a:lnTo>
                <a:lnTo>
                  <a:pt x="3964989" y="5412959"/>
                </a:lnTo>
                <a:lnTo>
                  <a:pt x="3973699" y="5400468"/>
                </a:lnTo>
                <a:close/>
                <a:moveTo>
                  <a:pt x="3659650" y="5376790"/>
                </a:moveTo>
                <a:lnTo>
                  <a:pt x="3650822" y="5386669"/>
                </a:lnTo>
                <a:lnTo>
                  <a:pt x="3641492" y="5400048"/>
                </a:lnTo>
                <a:lnTo>
                  <a:pt x="3659392" y="5420848"/>
                </a:lnTo>
                <a:lnTo>
                  <a:pt x="3657885" y="5400670"/>
                </a:lnTo>
                <a:close/>
                <a:moveTo>
                  <a:pt x="2450878" y="5356093"/>
                </a:moveTo>
                <a:lnTo>
                  <a:pt x="3103247" y="5381811"/>
                </a:lnTo>
                <a:lnTo>
                  <a:pt x="2950656" y="5644988"/>
                </a:lnTo>
                <a:close/>
                <a:moveTo>
                  <a:pt x="3808763" y="5338091"/>
                </a:moveTo>
                <a:cubicBezTo>
                  <a:pt x="3843053" y="5338091"/>
                  <a:pt x="3871342" y="5365523"/>
                  <a:pt x="3871342" y="5400671"/>
                </a:cubicBezTo>
                <a:cubicBezTo>
                  <a:pt x="3871342" y="5434961"/>
                  <a:pt x="3843053" y="5463250"/>
                  <a:pt x="3808763" y="5463250"/>
                </a:cubicBezTo>
                <a:cubicBezTo>
                  <a:pt x="3774473" y="5463250"/>
                  <a:pt x="3746183" y="5435818"/>
                  <a:pt x="3746183" y="5400671"/>
                </a:cubicBezTo>
                <a:cubicBezTo>
                  <a:pt x="3746183" y="5366381"/>
                  <a:pt x="3773615" y="5338091"/>
                  <a:pt x="3808763" y="5338091"/>
                </a:cubicBezTo>
                <a:close/>
                <a:moveTo>
                  <a:pt x="3553198" y="5318476"/>
                </a:moveTo>
                <a:lnTo>
                  <a:pt x="3524133" y="5330284"/>
                </a:lnTo>
                <a:cubicBezTo>
                  <a:pt x="3487320" y="5350400"/>
                  <a:pt x="3465862" y="5374631"/>
                  <a:pt x="3465862" y="5400670"/>
                </a:cubicBezTo>
                <a:cubicBezTo>
                  <a:pt x="3465862" y="5426709"/>
                  <a:pt x="3487440" y="5450819"/>
                  <a:pt x="3524359" y="5470831"/>
                </a:cubicBezTo>
                <a:lnTo>
                  <a:pt x="3552494" y="5483326"/>
                </a:lnTo>
                <a:lnTo>
                  <a:pt x="3557534" y="5473887"/>
                </a:lnTo>
                <a:lnTo>
                  <a:pt x="3608797" y="5400567"/>
                </a:lnTo>
                <a:lnTo>
                  <a:pt x="3596753" y="5385414"/>
                </a:lnTo>
                <a:cubicBezTo>
                  <a:pt x="3582180" y="5365463"/>
                  <a:pt x="3569066" y="5345769"/>
                  <a:pt x="3557534" y="5326597"/>
                </a:cubicBezTo>
                <a:close/>
                <a:moveTo>
                  <a:pt x="4062445" y="5317336"/>
                </a:moveTo>
                <a:lnTo>
                  <a:pt x="4057165" y="5327229"/>
                </a:lnTo>
                <a:lnTo>
                  <a:pt x="4006091" y="5400156"/>
                </a:lnTo>
                <a:lnTo>
                  <a:pt x="4017343" y="5414333"/>
                </a:lnTo>
                <a:cubicBezTo>
                  <a:pt x="4031916" y="5434318"/>
                  <a:pt x="4045029" y="5454048"/>
                  <a:pt x="4056562" y="5473256"/>
                </a:cubicBezTo>
                <a:lnTo>
                  <a:pt x="4061849" y="5483174"/>
                </a:lnTo>
                <a:lnTo>
                  <a:pt x="4091676" y="5471057"/>
                </a:lnTo>
                <a:cubicBezTo>
                  <a:pt x="4128489" y="5450940"/>
                  <a:pt x="4149947" y="5426709"/>
                  <a:pt x="4149947" y="5400670"/>
                </a:cubicBezTo>
                <a:cubicBezTo>
                  <a:pt x="4149947" y="5374631"/>
                  <a:pt x="4128368" y="5350401"/>
                  <a:pt x="4091450" y="5330284"/>
                </a:cubicBezTo>
                <a:close/>
                <a:moveTo>
                  <a:pt x="3949551" y="5287441"/>
                </a:moveTo>
                <a:lnTo>
                  <a:pt x="3953173" y="5336435"/>
                </a:lnTo>
                <a:lnTo>
                  <a:pt x="3969364" y="5353884"/>
                </a:lnTo>
                <a:lnTo>
                  <a:pt x="3988964" y="5378578"/>
                </a:lnTo>
                <a:lnTo>
                  <a:pt x="4016993" y="5338385"/>
                </a:lnTo>
                <a:lnTo>
                  <a:pt x="4033793" y="5306800"/>
                </a:lnTo>
                <a:lnTo>
                  <a:pt x="3999007" y="5296218"/>
                </a:lnTo>
                <a:close/>
                <a:moveTo>
                  <a:pt x="3666333" y="5286416"/>
                </a:moveTo>
                <a:lnTo>
                  <a:pt x="3590106" y="5303482"/>
                </a:lnTo>
                <a:lnTo>
                  <a:pt x="3581629" y="5306926"/>
                </a:lnTo>
                <a:lnTo>
                  <a:pt x="3598818" y="5339241"/>
                </a:lnTo>
                <a:lnTo>
                  <a:pt x="3625164" y="5378866"/>
                </a:lnTo>
                <a:lnTo>
                  <a:pt x="3662590" y="5337028"/>
                </a:lnTo>
                <a:close/>
                <a:moveTo>
                  <a:pt x="1925384" y="5284084"/>
                </a:moveTo>
                <a:cubicBezTo>
                  <a:pt x="1892808" y="5284084"/>
                  <a:pt x="1867091" y="5310659"/>
                  <a:pt x="1867091" y="5343235"/>
                </a:cubicBezTo>
                <a:cubicBezTo>
                  <a:pt x="1867091" y="5375810"/>
                  <a:pt x="1892808" y="5402385"/>
                  <a:pt x="1925384" y="5402385"/>
                </a:cubicBezTo>
                <a:cubicBezTo>
                  <a:pt x="1957959" y="5402385"/>
                  <a:pt x="1983677" y="5375810"/>
                  <a:pt x="1983677" y="5343235"/>
                </a:cubicBezTo>
                <a:cubicBezTo>
                  <a:pt x="1983677" y="5310659"/>
                  <a:pt x="1957959" y="5284084"/>
                  <a:pt x="1925384" y="5284084"/>
                </a:cubicBezTo>
                <a:close/>
                <a:moveTo>
                  <a:pt x="3715682" y="5281518"/>
                </a:moveTo>
                <a:lnTo>
                  <a:pt x="3690553" y="5283388"/>
                </a:lnTo>
                <a:lnTo>
                  <a:pt x="3688737" y="5307799"/>
                </a:lnTo>
                <a:lnTo>
                  <a:pt x="3700748" y="5294372"/>
                </a:lnTo>
                <a:close/>
                <a:moveTo>
                  <a:pt x="3897255" y="5279649"/>
                </a:moveTo>
                <a:lnTo>
                  <a:pt x="3913348" y="5293515"/>
                </a:lnTo>
                <a:lnTo>
                  <a:pt x="3927113" y="5308350"/>
                </a:lnTo>
                <a:lnTo>
                  <a:pt x="3925236" y="5283126"/>
                </a:lnTo>
                <a:lnTo>
                  <a:pt x="3909502" y="5280333"/>
                </a:lnTo>
                <a:close/>
                <a:moveTo>
                  <a:pt x="3807904" y="5274654"/>
                </a:moveTo>
                <a:lnTo>
                  <a:pt x="3756063" y="5278512"/>
                </a:lnTo>
                <a:lnTo>
                  <a:pt x="3718751" y="5310660"/>
                </a:lnTo>
                <a:lnTo>
                  <a:pt x="3685778" y="5347555"/>
                </a:lnTo>
                <a:lnTo>
                  <a:pt x="3681889" y="5399812"/>
                </a:lnTo>
                <a:lnTo>
                  <a:pt x="3685732" y="5451455"/>
                </a:lnTo>
                <a:lnTo>
                  <a:pt x="3718751" y="5489824"/>
                </a:lnTo>
                <a:lnTo>
                  <a:pt x="3758175" y="5523751"/>
                </a:lnTo>
                <a:lnTo>
                  <a:pt x="3807904" y="5526686"/>
                </a:lnTo>
                <a:lnTo>
                  <a:pt x="3857581" y="5522989"/>
                </a:lnTo>
                <a:lnTo>
                  <a:pt x="3897060" y="5488968"/>
                </a:lnTo>
                <a:lnTo>
                  <a:pt x="3930031" y="5452075"/>
                </a:lnTo>
                <a:lnTo>
                  <a:pt x="3933920" y="5399812"/>
                </a:lnTo>
                <a:lnTo>
                  <a:pt x="3930213" y="5349995"/>
                </a:lnTo>
                <a:lnTo>
                  <a:pt x="3897060" y="5311517"/>
                </a:lnTo>
                <a:lnTo>
                  <a:pt x="3857442" y="5277423"/>
                </a:lnTo>
                <a:close/>
                <a:moveTo>
                  <a:pt x="3807355" y="5234320"/>
                </a:moveTo>
                <a:lnTo>
                  <a:pt x="3786569" y="5252229"/>
                </a:lnTo>
                <a:lnTo>
                  <a:pt x="3807904" y="5250651"/>
                </a:lnTo>
                <a:lnTo>
                  <a:pt x="3827599" y="5251741"/>
                </a:lnTo>
                <a:close/>
                <a:moveTo>
                  <a:pt x="1827657" y="5200074"/>
                </a:moveTo>
                <a:cubicBezTo>
                  <a:pt x="1797654" y="5200074"/>
                  <a:pt x="1773650" y="5224934"/>
                  <a:pt x="1773650" y="5254938"/>
                </a:cubicBezTo>
                <a:cubicBezTo>
                  <a:pt x="1773650" y="5284942"/>
                  <a:pt x="1797654" y="5309802"/>
                  <a:pt x="1827657" y="5309802"/>
                </a:cubicBezTo>
                <a:cubicBezTo>
                  <a:pt x="1857661" y="5309802"/>
                  <a:pt x="1881664" y="5284942"/>
                  <a:pt x="1881664" y="5254938"/>
                </a:cubicBezTo>
                <a:cubicBezTo>
                  <a:pt x="1881664" y="5224934"/>
                  <a:pt x="1857661" y="5200074"/>
                  <a:pt x="1827657" y="5200074"/>
                </a:cubicBezTo>
                <a:close/>
                <a:moveTo>
                  <a:pt x="3713592" y="5175036"/>
                </a:moveTo>
                <a:lnTo>
                  <a:pt x="3703452" y="5208333"/>
                </a:lnTo>
                <a:lnTo>
                  <a:pt x="3693280" y="5259127"/>
                </a:lnTo>
                <a:lnTo>
                  <a:pt x="3746245" y="5255210"/>
                </a:lnTo>
                <a:lnTo>
                  <a:pt x="3787708" y="5219522"/>
                </a:lnTo>
                <a:close/>
                <a:moveTo>
                  <a:pt x="3901951" y="5174164"/>
                </a:moveTo>
                <a:lnTo>
                  <a:pt x="3827088" y="5219192"/>
                </a:lnTo>
                <a:lnTo>
                  <a:pt x="3867424" y="5253946"/>
                </a:lnTo>
                <a:lnTo>
                  <a:pt x="3922098" y="5256973"/>
                </a:lnTo>
                <a:lnTo>
                  <a:pt x="3912357" y="5208333"/>
                </a:lnTo>
                <a:close/>
                <a:moveTo>
                  <a:pt x="4932831" y="5171785"/>
                </a:moveTo>
                <a:cubicBezTo>
                  <a:pt x="4907114" y="5167928"/>
                  <a:pt x="4879896" y="5173928"/>
                  <a:pt x="4857179" y="5190645"/>
                </a:cubicBezTo>
                <a:cubicBezTo>
                  <a:pt x="4811745" y="5224077"/>
                  <a:pt x="4802315" y="5287514"/>
                  <a:pt x="4836605" y="5332091"/>
                </a:cubicBezTo>
                <a:cubicBezTo>
                  <a:pt x="4869181" y="5377525"/>
                  <a:pt x="4932617" y="5386955"/>
                  <a:pt x="4978051" y="5353523"/>
                </a:cubicBezTo>
                <a:cubicBezTo>
                  <a:pt x="5023486" y="5320947"/>
                  <a:pt x="5032916" y="5256653"/>
                  <a:pt x="4999483" y="5212076"/>
                </a:cubicBezTo>
                <a:cubicBezTo>
                  <a:pt x="4982766" y="5189359"/>
                  <a:pt x="4958549" y="5175643"/>
                  <a:pt x="4932831" y="5171785"/>
                </a:cubicBezTo>
                <a:close/>
                <a:moveTo>
                  <a:pt x="3619671" y="5143348"/>
                </a:moveTo>
                <a:cubicBezTo>
                  <a:pt x="3596806" y="5141780"/>
                  <a:pt x="3578376" y="5146710"/>
                  <a:pt x="3566160" y="5158925"/>
                </a:cubicBezTo>
                <a:cubicBezTo>
                  <a:pt x="3547836" y="5177249"/>
                  <a:pt x="3545907" y="5209557"/>
                  <a:pt x="3557706" y="5249836"/>
                </a:cubicBezTo>
                <a:lnTo>
                  <a:pt x="3569257" y="5280149"/>
                </a:lnTo>
                <a:lnTo>
                  <a:pt x="3649032" y="5262398"/>
                </a:lnTo>
                <a:lnTo>
                  <a:pt x="3668214" y="5260980"/>
                </a:lnTo>
                <a:lnTo>
                  <a:pt x="3669632" y="5241797"/>
                </a:lnTo>
                <a:cubicBezTo>
                  <a:pt x="3673416" y="5217386"/>
                  <a:pt x="3678047" y="5194190"/>
                  <a:pt x="3683427" y="5172482"/>
                </a:cubicBezTo>
                <a:lnTo>
                  <a:pt x="3686676" y="5161753"/>
                </a:lnTo>
                <a:lnTo>
                  <a:pt x="3657070" y="5150472"/>
                </a:lnTo>
                <a:cubicBezTo>
                  <a:pt x="3643644" y="5146539"/>
                  <a:pt x="3631103" y="5144131"/>
                  <a:pt x="3619671" y="5143348"/>
                </a:cubicBezTo>
                <a:close/>
                <a:moveTo>
                  <a:pt x="3995778" y="5142491"/>
                </a:moveTo>
                <a:cubicBezTo>
                  <a:pt x="3984325" y="5143275"/>
                  <a:pt x="3971781" y="5145682"/>
                  <a:pt x="3958364" y="5149615"/>
                </a:cubicBezTo>
                <a:lnTo>
                  <a:pt x="3928865" y="5160870"/>
                </a:lnTo>
                <a:lnTo>
                  <a:pt x="3932381" y="5172482"/>
                </a:lnTo>
                <a:cubicBezTo>
                  <a:pt x="3937761" y="5194190"/>
                  <a:pt x="3942392" y="5217386"/>
                  <a:pt x="3946176" y="5241797"/>
                </a:cubicBezTo>
                <a:lnTo>
                  <a:pt x="3947566" y="5260592"/>
                </a:lnTo>
                <a:lnTo>
                  <a:pt x="4036092" y="5276193"/>
                </a:lnTo>
                <a:lnTo>
                  <a:pt x="4046530" y="5279354"/>
                </a:lnTo>
                <a:lnTo>
                  <a:pt x="4058104" y="5248980"/>
                </a:lnTo>
                <a:cubicBezTo>
                  <a:pt x="4069903" y="5208700"/>
                  <a:pt x="4067974" y="5176393"/>
                  <a:pt x="4049650" y="5158069"/>
                </a:cubicBezTo>
                <a:cubicBezTo>
                  <a:pt x="4037220" y="5145853"/>
                  <a:pt x="4018682" y="5140924"/>
                  <a:pt x="3995778" y="5142491"/>
                </a:cubicBezTo>
                <a:close/>
                <a:moveTo>
                  <a:pt x="1795082" y="5089489"/>
                </a:moveTo>
                <a:cubicBezTo>
                  <a:pt x="1769364" y="5089489"/>
                  <a:pt x="1747933" y="5110920"/>
                  <a:pt x="1747933" y="5137495"/>
                </a:cubicBezTo>
                <a:cubicBezTo>
                  <a:pt x="1747933" y="5164069"/>
                  <a:pt x="1768507" y="5185501"/>
                  <a:pt x="1795082" y="5185501"/>
                </a:cubicBezTo>
                <a:cubicBezTo>
                  <a:pt x="1801511" y="5185501"/>
                  <a:pt x="1807672" y="5184161"/>
                  <a:pt x="1813298" y="5181737"/>
                </a:cubicBezTo>
                <a:lnTo>
                  <a:pt x="1824372" y="5174153"/>
                </a:lnTo>
                <a:lnTo>
                  <a:pt x="1839840" y="5131531"/>
                </a:lnTo>
                <a:lnTo>
                  <a:pt x="1828621" y="5103526"/>
                </a:lnTo>
                <a:cubicBezTo>
                  <a:pt x="1820156" y="5094847"/>
                  <a:pt x="1808369" y="5089489"/>
                  <a:pt x="1795082" y="5089489"/>
                </a:cubicBezTo>
                <a:close/>
                <a:moveTo>
                  <a:pt x="3807904" y="5057770"/>
                </a:moveTo>
                <a:cubicBezTo>
                  <a:pt x="3781865" y="5057770"/>
                  <a:pt x="3757635" y="5079228"/>
                  <a:pt x="3737518" y="5116041"/>
                </a:cubicBezTo>
                <a:lnTo>
                  <a:pt x="3724435" y="5145282"/>
                </a:lnTo>
                <a:lnTo>
                  <a:pt x="3733832" y="5150300"/>
                </a:lnTo>
                <a:cubicBezTo>
                  <a:pt x="3753004" y="5161833"/>
                  <a:pt x="3772698" y="5174946"/>
                  <a:pt x="3792649" y="5189519"/>
                </a:cubicBezTo>
                <a:lnTo>
                  <a:pt x="3807599" y="5202400"/>
                </a:lnTo>
                <a:lnTo>
                  <a:pt x="3821568" y="5190377"/>
                </a:lnTo>
                <a:cubicBezTo>
                  <a:pt x="3841553" y="5175804"/>
                  <a:pt x="3861283" y="5162690"/>
                  <a:pt x="3880491" y="5151158"/>
                </a:cubicBezTo>
                <a:lnTo>
                  <a:pt x="3891401" y="5145342"/>
                </a:lnTo>
                <a:lnTo>
                  <a:pt x="3878291" y="5116041"/>
                </a:lnTo>
                <a:cubicBezTo>
                  <a:pt x="3858174" y="5079228"/>
                  <a:pt x="3833943" y="5057770"/>
                  <a:pt x="3807904" y="5057770"/>
                </a:cubicBezTo>
                <a:close/>
                <a:moveTo>
                  <a:pt x="1830229" y="4995190"/>
                </a:moveTo>
                <a:cubicBezTo>
                  <a:pt x="1810512" y="4995190"/>
                  <a:pt x="1795082" y="5011478"/>
                  <a:pt x="1795082" y="5031195"/>
                </a:cubicBezTo>
                <a:cubicBezTo>
                  <a:pt x="1795082" y="5050913"/>
                  <a:pt x="1810512" y="5067200"/>
                  <a:pt x="1830229" y="5067200"/>
                </a:cubicBezTo>
                <a:cubicBezTo>
                  <a:pt x="1849089" y="5067200"/>
                  <a:pt x="1865376" y="5050913"/>
                  <a:pt x="1865376" y="5031195"/>
                </a:cubicBezTo>
                <a:cubicBezTo>
                  <a:pt x="1865376" y="5011478"/>
                  <a:pt x="1849946" y="4995190"/>
                  <a:pt x="1830229" y="4995190"/>
                </a:cubicBezTo>
                <a:close/>
                <a:moveTo>
                  <a:pt x="3807904" y="4992618"/>
                </a:moveTo>
                <a:cubicBezTo>
                  <a:pt x="3849481" y="4992618"/>
                  <a:pt x="3886985" y="5038267"/>
                  <a:pt x="3914096" y="5112098"/>
                </a:cubicBezTo>
                <a:lnTo>
                  <a:pt x="3919610" y="5130307"/>
                </a:lnTo>
                <a:lnTo>
                  <a:pt x="3936279" y="5121422"/>
                </a:lnTo>
                <a:cubicBezTo>
                  <a:pt x="3972069" y="5104920"/>
                  <a:pt x="4004698" y="5095222"/>
                  <a:pt x="4032023" y="5093293"/>
                </a:cubicBezTo>
                <a:cubicBezTo>
                  <a:pt x="4059348" y="5091364"/>
                  <a:pt x="4081369" y="5097204"/>
                  <a:pt x="4095942" y="5111777"/>
                </a:cubicBezTo>
                <a:cubicBezTo>
                  <a:pt x="4125517" y="5140924"/>
                  <a:pt x="4119945" y="5199860"/>
                  <a:pt x="4086941" y="5271440"/>
                </a:cubicBezTo>
                <a:lnTo>
                  <a:pt x="4077682" y="5288787"/>
                </a:lnTo>
                <a:lnTo>
                  <a:pt x="4096476" y="5294478"/>
                </a:lnTo>
                <a:cubicBezTo>
                  <a:pt x="4170307" y="5321589"/>
                  <a:pt x="4215956" y="5359094"/>
                  <a:pt x="4215956" y="5400670"/>
                </a:cubicBezTo>
                <a:cubicBezTo>
                  <a:pt x="4215956" y="5431531"/>
                  <a:pt x="4190279" y="5460343"/>
                  <a:pt x="4146292" y="5484302"/>
                </a:cubicBezTo>
                <a:lnTo>
                  <a:pt x="4077351" y="5512259"/>
                </a:lnTo>
                <a:lnTo>
                  <a:pt x="4086298" y="5529044"/>
                </a:lnTo>
                <a:cubicBezTo>
                  <a:pt x="4119302" y="5600625"/>
                  <a:pt x="4125089" y="5659561"/>
                  <a:pt x="4095942" y="5688707"/>
                </a:cubicBezTo>
                <a:cubicBezTo>
                  <a:pt x="4074082" y="5710888"/>
                  <a:pt x="4035586" y="5713179"/>
                  <a:pt x="3987551" y="5698969"/>
                </a:cubicBezTo>
                <a:lnTo>
                  <a:pt x="3919857" y="5670215"/>
                </a:lnTo>
                <a:lnTo>
                  <a:pt x="3914096" y="5689242"/>
                </a:lnTo>
                <a:cubicBezTo>
                  <a:pt x="3886985" y="5763073"/>
                  <a:pt x="3849481" y="5808721"/>
                  <a:pt x="3807904" y="5808721"/>
                </a:cubicBezTo>
                <a:cubicBezTo>
                  <a:pt x="3766756" y="5808721"/>
                  <a:pt x="3729251" y="5763073"/>
                  <a:pt x="3702033" y="5689242"/>
                </a:cubicBezTo>
                <a:lnTo>
                  <a:pt x="3696238" y="5670203"/>
                </a:lnTo>
                <a:lnTo>
                  <a:pt x="3627147" y="5699451"/>
                </a:lnTo>
                <a:cubicBezTo>
                  <a:pt x="3579033" y="5713635"/>
                  <a:pt x="3540336" y="5711425"/>
                  <a:pt x="3518154" y="5689565"/>
                </a:cubicBezTo>
                <a:cubicBezTo>
                  <a:pt x="3489007" y="5659990"/>
                  <a:pt x="3494794" y="5601054"/>
                  <a:pt x="3527798" y="5529580"/>
                </a:cubicBezTo>
                <a:lnTo>
                  <a:pt x="3537061" y="5512231"/>
                </a:lnTo>
                <a:lnTo>
                  <a:pt x="3519332" y="5506862"/>
                </a:lnTo>
                <a:cubicBezTo>
                  <a:pt x="3445502" y="5479751"/>
                  <a:pt x="3399853" y="5442247"/>
                  <a:pt x="3399853" y="5400670"/>
                </a:cubicBezTo>
                <a:cubicBezTo>
                  <a:pt x="3399853" y="5369488"/>
                  <a:pt x="3425530" y="5340596"/>
                  <a:pt x="3469516" y="5316662"/>
                </a:cubicBezTo>
                <a:lnTo>
                  <a:pt x="3537546" y="5289161"/>
                </a:lnTo>
                <a:lnTo>
                  <a:pt x="3527798" y="5270904"/>
                </a:lnTo>
                <a:cubicBezTo>
                  <a:pt x="3494794" y="5199430"/>
                  <a:pt x="3489007" y="5140494"/>
                  <a:pt x="3518154" y="5110919"/>
                </a:cubicBezTo>
                <a:cubicBezTo>
                  <a:pt x="3532942" y="5096346"/>
                  <a:pt x="3555069" y="5090506"/>
                  <a:pt x="3582435" y="5092435"/>
                </a:cubicBezTo>
                <a:cubicBezTo>
                  <a:pt x="3609800" y="5094364"/>
                  <a:pt x="3642402" y="5104061"/>
                  <a:pt x="3678139" y="5120564"/>
                </a:cubicBezTo>
                <a:lnTo>
                  <a:pt x="3696224" y="5130220"/>
                </a:lnTo>
                <a:lnTo>
                  <a:pt x="3701712" y="5112098"/>
                </a:lnTo>
                <a:cubicBezTo>
                  <a:pt x="3728823" y="5038267"/>
                  <a:pt x="3766328" y="4992618"/>
                  <a:pt x="3807904" y="4992618"/>
                </a:cubicBezTo>
                <a:close/>
                <a:moveTo>
                  <a:pt x="2165414" y="4987475"/>
                </a:moveTo>
                <a:cubicBezTo>
                  <a:pt x="2135838" y="4987475"/>
                  <a:pt x="2110603" y="5005317"/>
                  <a:pt x="2099834" y="5030874"/>
                </a:cubicBezTo>
                <a:lnTo>
                  <a:pt x="2095529" y="5052318"/>
                </a:lnTo>
                <a:lnTo>
                  <a:pt x="2115842" y="5109524"/>
                </a:lnTo>
                <a:lnTo>
                  <a:pt x="2137660" y="5124207"/>
                </a:lnTo>
                <a:cubicBezTo>
                  <a:pt x="2146179" y="5127796"/>
                  <a:pt x="2155555" y="5129779"/>
                  <a:pt x="2165414" y="5129779"/>
                </a:cubicBezTo>
                <a:cubicBezTo>
                  <a:pt x="2203990" y="5129779"/>
                  <a:pt x="2235708" y="5098061"/>
                  <a:pt x="2236565" y="5058628"/>
                </a:cubicBezTo>
                <a:cubicBezTo>
                  <a:pt x="2236565" y="5019193"/>
                  <a:pt x="2204847" y="4987475"/>
                  <a:pt x="2165414" y="4987475"/>
                </a:cubicBezTo>
                <a:close/>
                <a:moveTo>
                  <a:pt x="5334024" y="4966796"/>
                </a:moveTo>
                <a:cubicBezTo>
                  <a:pt x="5320952" y="4964760"/>
                  <a:pt x="5307236" y="4967760"/>
                  <a:pt x="5296091" y="4976333"/>
                </a:cubicBezTo>
                <a:cubicBezTo>
                  <a:pt x="5273803" y="4993478"/>
                  <a:pt x="5268659" y="5025196"/>
                  <a:pt x="5285804" y="5048341"/>
                </a:cubicBezTo>
                <a:cubicBezTo>
                  <a:pt x="5302092" y="5071487"/>
                  <a:pt x="5334668" y="5076631"/>
                  <a:pt x="5356956" y="5059486"/>
                </a:cubicBezTo>
                <a:cubicBezTo>
                  <a:pt x="5379245" y="5043198"/>
                  <a:pt x="5383531" y="5010623"/>
                  <a:pt x="5368100" y="4987477"/>
                </a:cubicBezTo>
                <a:cubicBezTo>
                  <a:pt x="5359527" y="4975904"/>
                  <a:pt x="5347097" y="4968831"/>
                  <a:pt x="5334024" y="4966796"/>
                </a:cubicBezTo>
                <a:close/>
                <a:moveTo>
                  <a:pt x="1939100" y="4858031"/>
                </a:moveTo>
                <a:lnTo>
                  <a:pt x="2026539" y="4858031"/>
                </a:lnTo>
                <a:lnTo>
                  <a:pt x="2042850" y="4903966"/>
                </a:lnTo>
                <a:lnTo>
                  <a:pt x="2112264" y="4899178"/>
                </a:lnTo>
                <a:cubicBezTo>
                  <a:pt x="2112264" y="4899178"/>
                  <a:pt x="2247710" y="4912037"/>
                  <a:pt x="2286286" y="5018336"/>
                </a:cubicBezTo>
                <a:cubicBezTo>
                  <a:pt x="2324862" y="5124636"/>
                  <a:pt x="2235708" y="5171785"/>
                  <a:pt x="2136267" y="5212076"/>
                </a:cubicBezTo>
                <a:cubicBezTo>
                  <a:pt x="2035969" y="5251509"/>
                  <a:pt x="2059115" y="5440962"/>
                  <a:pt x="1901381" y="5428960"/>
                </a:cubicBezTo>
                <a:cubicBezTo>
                  <a:pt x="1773222" y="5419209"/>
                  <a:pt x="1589037" y="5081224"/>
                  <a:pt x="1852317" y="4950224"/>
                </a:cubicBezTo>
                <a:lnTo>
                  <a:pt x="1914216" y="4926595"/>
                </a:lnTo>
                <a:close/>
                <a:moveTo>
                  <a:pt x="5285697" y="4798238"/>
                </a:moveTo>
                <a:cubicBezTo>
                  <a:pt x="5268445" y="4795666"/>
                  <a:pt x="5250228" y="4799738"/>
                  <a:pt x="5235226" y="4810882"/>
                </a:cubicBezTo>
                <a:cubicBezTo>
                  <a:pt x="5205223" y="4833172"/>
                  <a:pt x="5199222" y="4875177"/>
                  <a:pt x="5221511" y="4906038"/>
                </a:cubicBezTo>
                <a:cubicBezTo>
                  <a:pt x="5243799" y="4936042"/>
                  <a:pt x="5286661" y="4942900"/>
                  <a:pt x="5316665" y="4920611"/>
                </a:cubicBezTo>
                <a:cubicBezTo>
                  <a:pt x="5346669" y="4898322"/>
                  <a:pt x="5352670" y="4856318"/>
                  <a:pt x="5330381" y="4825456"/>
                </a:cubicBezTo>
                <a:cubicBezTo>
                  <a:pt x="5319237" y="4810025"/>
                  <a:pt x="5302949" y="4800810"/>
                  <a:pt x="5285697" y="4798238"/>
                </a:cubicBezTo>
                <a:close/>
                <a:moveTo>
                  <a:pt x="5149716" y="4681759"/>
                </a:moveTo>
                <a:cubicBezTo>
                  <a:pt x="5129999" y="4678652"/>
                  <a:pt x="5109211" y="4683152"/>
                  <a:pt x="5092066" y="4696011"/>
                </a:cubicBezTo>
                <a:cubicBezTo>
                  <a:pt x="5057776" y="4721728"/>
                  <a:pt x="5050061" y="4770591"/>
                  <a:pt x="5076635" y="4804881"/>
                </a:cubicBezTo>
                <a:cubicBezTo>
                  <a:pt x="5102353" y="4840030"/>
                  <a:pt x="5151216" y="4847745"/>
                  <a:pt x="5185506" y="4822027"/>
                </a:cubicBezTo>
                <a:cubicBezTo>
                  <a:pt x="5219796" y="4796309"/>
                  <a:pt x="5226654" y="4747446"/>
                  <a:pt x="5200936" y="4713156"/>
                </a:cubicBezTo>
                <a:cubicBezTo>
                  <a:pt x="5188077" y="4695583"/>
                  <a:pt x="5169433" y="4684867"/>
                  <a:pt x="5149716" y="4681759"/>
                </a:cubicBezTo>
                <a:close/>
                <a:moveTo>
                  <a:pt x="4961978" y="4656899"/>
                </a:moveTo>
                <a:cubicBezTo>
                  <a:pt x="4940761" y="4653577"/>
                  <a:pt x="4918473" y="4658292"/>
                  <a:pt x="4900042" y="4672008"/>
                </a:cubicBezTo>
                <a:cubicBezTo>
                  <a:pt x="4863180" y="4699440"/>
                  <a:pt x="4855465" y="4752589"/>
                  <a:pt x="4882897" y="4789451"/>
                </a:cubicBezTo>
                <a:cubicBezTo>
                  <a:pt x="4910329" y="4826314"/>
                  <a:pt x="4963478" y="4834886"/>
                  <a:pt x="5000340" y="4807453"/>
                </a:cubicBezTo>
                <a:cubicBezTo>
                  <a:pt x="5038059" y="4780021"/>
                  <a:pt x="5044917" y="4727729"/>
                  <a:pt x="5017485" y="4690010"/>
                </a:cubicBezTo>
                <a:cubicBezTo>
                  <a:pt x="5003340" y="4671579"/>
                  <a:pt x="4983195" y="4660221"/>
                  <a:pt x="4961978" y="4656899"/>
                </a:cubicBezTo>
                <a:close/>
                <a:moveTo>
                  <a:pt x="4998395" y="4598030"/>
                </a:moveTo>
                <a:cubicBezTo>
                  <a:pt x="5253309" y="4596998"/>
                  <a:pt x="5722680" y="4945793"/>
                  <a:pt x="5114354" y="5410101"/>
                </a:cubicBezTo>
                <a:cubicBezTo>
                  <a:pt x="5114354" y="5410101"/>
                  <a:pt x="4946333" y="5510399"/>
                  <a:pt x="4811745" y="5421245"/>
                </a:cubicBezTo>
                <a:cubicBezTo>
                  <a:pt x="4677157" y="5331234"/>
                  <a:pt x="4738879" y="5201789"/>
                  <a:pt x="4821175" y="5069772"/>
                </a:cubicBezTo>
                <a:cubicBezTo>
                  <a:pt x="4902613" y="4938613"/>
                  <a:pt x="4714018" y="4741445"/>
                  <a:pt x="4906043" y="4620573"/>
                </a:cubicBezTo>
                <a:cubicBezTo>
                  <a:pt x="4929939" y="4605464"/>
                  <a:pt x="4961978" y="4598177"/>
                  <a:pt x="4998395" y="4598030"/>
                </a:cubicBezTo>
                <a:close/>
                <a:moveTo>
                  <a:pt x="4274249" y="4584568"/>
                </a:moveTo>
                <a:cubicBezTo>
                  <a:pt x="4274249" y="4584568"/>
                  <a:pt x="4379691" y="4696011"/>
                  <a:pt x="4374548" y="4755161"/>
                </a:cubicBezTo>
                <a:cubicBezTo>
                  <a:pt x="4369404" y="4814311"/>
                  <a:pt x="4257961" y="4835742"/>
                  <a:pt x="4257961" y="4835742"/>
                </a:cubicBezTo>
                <a:cubicBezTo>
                  <a:pt x="4257961" y="4835742"/>
                  <a:pt x="4409695" y="4835742"/>
                  <a:pt x="4411409" y="4762876"/>
                </a:cubicBezTo>
                <a:cubicBezTo>
                  <a:pt x="4412266" y="4690867"/>
                  <a:pt x="4274249" y="4584568"/>
                  <a:pt x="4274249" y="4584568"/>
                </a:cubicBezTo>
                <a:close/>
                <a:moveTo>
                  <a:pt x="3351982" y="4540192"/>
                </a:moveTo>
                <a:cubicBezTo>
                  <a:pt x="3377619" y="4544170"/>
                  <a:pt x="3402426" y="4554779"/>
                  <a:pt x="3423000" y="4575995"/>
                </a:cubicBezTo>
                <a:lnTo>
                  <a:pt x="3655315" y="4575995"/>
                </a:lnTo>
                <a:lnTo>
                  <a:pt x="3655315" y="4916325"/>
                </a:lnTo>
                <a:lnTo>
                  <a:pt x="3417856" y="4918039"/>
                </a:lnTo>
                <a:cubicBezTo>
                  <a:pt x="3417856" y="4918039"/>
                  <a:pt x="3338132" y="4837458"/>
                  <a:pt x="3190684" y="4914610"/>
                </a:cubicBezTo>
                <a:lnTo>
                  <a:pt x="3190684" y="4575995"/>
                </a:lnTo>
                <a:cubicBezTo>
                  <a:pt x="3190684" y="4575995"/>
                  <a:pt x="3275070" y="4528258"/>
                  <a:pt x="3351982" y="4540192"/>
                </a:cubicBezTo>
                <a:close/>
                <a:moveTo>
                  <a:pt x="2448416" y="4421371"/>
                </a:moveTo>
                <a:cubicBezTo>
                  <a:pt x="2452166" y="4422121"/>
                  <a:pt x="2455595" y="4424264"/>
                  <a:pt x="2457738" y="4427692"/>
                </a:cubicBezTo>
                <a:lnTo>
                  <a:pt x="2484119" y="4467601"/>
                </a:lnTo>
                <a:lnTo>
                  <a:pt x="2494346" y="4463537"/>
                </a:lnTo>
                <a:cubicBezTo>
                  <a:pt x="2526051" y="4457750"/>
                  <a:pt x="2559323" y="4470769"/>
                  <a:pt x="2578610" y="4499701"/>
                </a:cubicBezTo>
                <a:cubicBezTo>
                  <a:pt x="2591040" y="4518990"/>
                  <a:pt x="2594684" y="4541279"/>
                  <a:pt x="2590397" y="4561960"/>
                </a:cubicBezTo>
                <a:lnTo>
                  <a:pt x="2583304" y="4578864"/>
                </a:lnTo>
                <a:lnTo>
                  <a:pt x="2600248" y="4591301"/>
                </a:lnTo>
                <a:cubicBezTo>
                  <a:pt x="2715712" y="4676099"/>
                  <a:pt x="3023094" y="4902555"/>
                  <a:pt x="3017521" y="4906038"/>
                </a:cubicBezTo>
                <a:cubicBezTo>
                  <a:pt x="3010663" y="4910324"/>
                  <a:pt x="2910365" y="4886321"/>
                  <a:pt x="2910365" y="4886321"/>
                </a:cubicBezTo>
                <a:cubicBezTo>
                  <a:pt x="2910365" y="4886321"/>
                  <a:pt x="2690962" y="4728640"/>
                  <a:pt x="2580176" y="4648353"/>
                </a:cubicBezTo>
                <a:lnTo>
                  <a:pt x="2571469" y="4642020"/>
                </a:lnTo>
                <a:lnTo>
                  <a:pt x="2632617" y="5059485"/>
                </a:lnTo>
                <a:lnTo>
                  <a:pt x="2611186" y="5161498"/>
                </a:lnTo>
                <a:lnTo>
                  <a:pt x="2574324" y="5065486"/>
                </a:lnTo>
                <a:lnTo>
                  <a:pt x="2504337" y="4626262"/>
                </a:lnTo>
                <a:lnTo>
                  <a:pt x="2492028" y="4626039"/>
                </a:lnTo>
                <a:cubicBezTo>
                  <a:pt x="2471240" y="4621646"/>
                  <a:pt x="2452166" y="4609430"/>
                  <a:pt x="2439736" y="4590570"/>
                </a:cubicBezTo>
                <a:cubicBezTo>
                  <a:pt x="2421091" y="4561638"/>
                  <a:pt x="2422216" y="4525955"/>
                  <a:pt x="2440218" y="4499073"/>
                </a:cubicBezTo>
                <a:lnTo>
                  <a:pt x="2457768" y="4481633"/>
                </a:lnTo>
                <a:lnTo>
                  <a:pt x="2432878" y="4443980"/>
                </a:lnTo>
                <a:cubicBezTo>
                  <a:pt x="2428592" y="4437122"/>
                  <a:pt x="2430306" y="4427692"/>
                  <a:pt x="2437164" y="4423406"/>
                </a:cubicBezTo>
                <a:cubicBezTo>
                  <a:pt x="2440593" y="4421263"/>
                  <a:pt x="2444665" y="4420621"/>
                  <a:pt x="2448416" y="4421371"/>
                </a:cubicBezTo>
                <a:close/>
                <a:moveTo>
                  <a:pt x="1177862" y="4374542"/>
                </a:moveTo>
                <a:cubicBezTo>
                  <a:pt x="1177862" y="4374542"/>
                  <a:pt x="1327023" y="4458553"/>
                  <a:pt x="1272159" y="4609429"/>
                </a:cubicBezTo>
                <a:cubicBezTo>
                  <a:pt x="1272159" y="4609429"/>
                  <a:pt x="1399889" y="4409689"/>
                  <a:pt x="1177862" y="4374542"/>
                </a:cubicBezTo>
                <a:close/>
                <a:moveTo>
                  <a:pt x="1102424" y="4309391"/>
                </a:moveTo>
                <a:lnTo>
                  <a:pt x="1108424" y="4309391"/>
                </a:lnTo>
                <a:lnTo>
                  <a:pt x="1109281" y="4309391"/>
                </a:lnTo>
                <a:lnTo>
                  <a:pt x="1115282" y="4309391"/>
                </a:lnTo>
                <a:cubicBezTo>
                  <a:pt x="1440180" y="4317964"/>
                  <a:pt x="1363885" y="4640290"/>
                  <a:pt x="1276445" y="4720014"/>
                </a:cubicBezTo>
                <a:cubicBezTo>
                  <a:pt x="1186434" y="4799738"/>
                  <a:pt x="1193292" y="4900894"/>
                  <a:pt x="1193292" y="4900894"/>
                </a:cubicBezTo>
                <a:lnTo>
                  <a:pt x="1121283" y="4900894"/>
                </a:lnTo>
                <a:lnTo>
                  <a:pt x="1108424" y="4900894"/>
                </a:lnTo>
                <a:lnTo>
                  <a:pt x="1030415" y="4900894"/>
                </a:lnTo>
                <a:cubicBezTo>
                  <a:pt x="1030415" y="4900894"/>
                  <a:pt x="1033844" y="4800596"/>
                  <a:pt x="944690" y="4720014"/>
                </a:cubicBezTo>
                <a:cubicBezTo>
                  <a:pt x="856393" y="4640290"/>
                  <a:pt x="777526" y="4317964"/>
                  <a:pt x="1102424" y="4309391"/>
                </a:cubicBezTo>
                <a:close/>
                <a:moveTo>
                  <a:pt x="4160235" y="4161086"/>
                </a:moveTo>
                <a:cubicBezTo>
                  <a:pt x="4217671" y="4161086"/>
                  <a:pt x="4264820" y="4179089"/>
                  <a:pt x="4264820" y="4201377"/>
                </a:cubicBezTo>
                <a:cubicBezTo>
                  <a:pt x="4264820" y="4202235"/>
                  <a:pt x="4264820" y="4203092"/>
                  <a:pt x="4264820" y="4203949"/>
                </a:cubicBezTo>
                <a:lnTo>
                  <a:pt x="4269106" y="4203949"/>
                </a:lnTo>
                <a:lnTo>
                  <a:pt x="4269106" y="4279387"/>
                </a:lnTo>
                <a:lnTo>
                  <a:pt x="4264820" y="4279387"/>
                </a:lnTo>
                <a:cubicBezTo>
                  <a:pt x="4263962" y="4287960"/>
                  <a:pt x="4258819" y="4295675"/>
                  <a:pt x="4247675" y="4301676"/>
                </a:cubicBezTo>
                <a:cubicBezTo>
                  <a:pt x="4247675" y="4337680"/>
                  <a:pt x="4247675" y="4444836"/>
                  <a:pt x="4247675" y="4473126"/>
                </a:cubicBezTo>
                <a:cubicBezTo>
                  <a:pt x="4247675" y="4506559"/>
                  <a:pt x="4263962" y="4515131"/>
                  <a:pt x="4263962" y="4515131"/>
                </a:cubicBezTo>
                <a:cubicBezTo>
                  <a:pt x="4302538" y="4538276"/>
                  <a:pt x="4524566" y="4764591"/>
                  <a:pt x="4425983" y="4833171"/>
                </a:cubicBezTo>
                <a:cubicBezTo>
                  <a:pt x="4337686" y="4894893"/>
                  <a:pt x="4190239" y="4892321"/>
                  <a:pt x="4161091" y="4891464"/>
                </a:cubicBezTo>
                <a:cubicBezTo>
                  <a:pt x="4131945" y="4892321"/>
                  <a:pt x="3983640" y="4894893"/>
                  <a:pt x="3896201" y="4833171"/>
                </a:cubicBezTo>
                <a:cubicBezTo>
                  <a:pt x="3798475" y="4764591"/>
                  <a:pt x="4023931" y="4538276"/>
                  <a:pt x="4062507" y="4515131"/>
                </a:cubicBezTo>
                <a:cubicBezTo>
                  <a:pt x="4062507" y="4515131"/>
                  <a:pt x="4085653" y="4506559"/>
                  <a:pt x="4085653" y="4473126"/>
                </a:cubicBezTo>
                <a:cubicBezTo>
                  <a:pt x="4085653" y="4445693"/>
                  <a:pt x="4085653" y="4339395"/>
                  <a:pt x="4085653" y="4302533"/>
                </a:cubicBezTo>
                <a:cubicBezTo>
                  <a:pt x="4064222" y="4296532"/>
                  <a:pt x="4057364" y="4287960"/>
                  <a:pt x="4055650" y="4279387"/>
                </a:cubicBezTo>
                <a:lnTo>
                  <a:pt x="4053935" y="4279387"/>
                </a:lnTo>
                <a:lnTo>
                  <a:pt x="4053935" y="4203949"/>
                </a:lnTo>
                <a:lnTo>
                  <a:pt x="4055650" y="4203949"/>
                </a:lnTo>
                <a:cubicBezTo>
                  <a:pt x="4055650" y="4203092"/>
                  <a:pt x="4055650" y="4202235"/>
                  <a:pt x="4055650" y="4201377"/>
                </a:cubicBezTo>
                <a:cubicBezTo>
                  <a:pt x="4055650" y="4179089"/>
                  <a:pt x="4102798" y="4161086"/>
                  <a:pt x="4160235" y="4161086"/>
                </a:cubicBezTo>
                <a:close/>
                <a:moveTo>
                  <a:pt x="1690622" y="3905928"/>
                </a:moveTo>
                <a:cubicBezTo>
                  <a:pt x="1643577" y="3910087"/>
                  <a:pt x="1597165" y="3927808"/>
                  <a:pt x="1557624" y="3959633"/>
                </a:cubicBezTo>
                <a:cubicBezTo>
                  <a:pt x="1452182" y="4044502"/>
                  <a:pt x="1436751" y="4198807"/>
                  <a:pt x="1521619" y="4304248"/>
                </a:cubicBezTo>
                <a:cubicBezTo>
                  <a:pt x="1606488" y="4409690"/>
                  <a:pt x="1760793" y="4425121"/>
                  <a:pt x="1866235" y="4340253"/>
                </a:cubicBezTo>
                <a:cubicBezTo>
                  <a:pt x="1970819" y="4255385"/>
                  <a:pt x="1987107" y="4101080"/>
                  <a:pt x="1902239" y="3995637"/>
                </a:cubicBezTo>
                <a:cubicBezTo>
                  <a:pt x="1849197" y="3929737"/>
                  <a:pt x="1769030" y="3898996"/>
                  <a:pt x="1690622" y="3905928"/>
                </a:cubicBezTo>
                <a:close/>
                <a:moveTo>
                  <a:pt x="1684921" y="3849926"/>
                </a:moveTo>
                <a:cubicBezTo>
                  <a:pt x="1781219" y="3841547"/>
                  <a:pt x="1879736" y="3879587"/>
                  <a:pt x="1945102" y="3960490"/>
                </a:cubicBezTo>
                <a:cubicBezTo>
                  <a:pt x="2037364" y="4073005"/>
                  <a:pt x="2033801" y="4232775"/>
                  <a:pt x="1944751" y="4341023"/>
                </a:cubicBezTo>
                <a:lnTo>
                  <a:pt x="1930222" y="4355411"/>
                </a:lnTo>
                <a:lnTo>
                  <a:pt x="1980119" y="4416919"/>
                </a:lnTo>
                <a:lnTo>
                  <a:pt x="1986891" y="4416333"/>
                </a:lnTo>
                <a:cubicBezTo>
                  <a:pt x="2003394" y="4418048"/>
                  <a:pt x="2019253" y="4425977"/>
                  <a:pt x="2030826" y="4439693"/>
                </a:cubicBezTo>
                <a:lnTo>
                  <a:pt x="2204848" y="4654864"/>
                </a:lnTo>
                <a:cubicBezTo>
                  <a:pt x="2227136" y="4683153"/>
                  <a:pt x="2222850" y="4723444"/>
                  <a:pt x="2195418" y="4746590"/>
                </a:cubicBezTo>
                <a:cubicBezTo>
                  <a:pt x="2167129" y="4768878"/>
                  <a:pt x="2126838" y="4764592"/>
                  <a:pt x="2103692" y="4737160"/>
                </a:cubicBezTo>
                <a:lnTo>
                  <a:pt x="1929670" y="4521990"/>
                </a:lnTo>
                <a:cubicBezTo>
                  <a:pt x="1918526" y="4507845"/>
                  <a:pt x="1914026" y="4490700"/>
                  <a:pt x="1915740" y="4474198"/>
                </a:cubicBezTo>
                <a:lnTo>
                  <a:pt x="1917360" y="4468826"/>
                </a:lnTo>
                <a:lnTo>
                  <a:pt x="1866912" y="4406639"/>
                </a:lnTo>
                <a:lnTo>
                  <a:pt x="1850557" y="4417393"/>
                </a:lnTo>
                <a:cubicBezTo>
                  <a:pt x="1726557" y="4481914"/>
                  <a:pt x="1569412" y="4452660"/>
                  <a:pt x="1477899" y="4339396"/>
                </a:cubicBezTo>
                <a:cubicBezTo>
                  <a:pt x="1372458" y="4210808"/>
                  <a:pt x="1392174" y="4020499"/>
                  <a:pt x="1521619" y="3915913"/>
                </a:cubicBezTo>
                <a:cubicBezTo>
                  <a:pt x="1570161" y="3876694"/>
                  <a:pt x="1627142" y="3854954"/>
                  <a:pt x="1684921" y="3849926"/>
                </a:cubicBezTo>
                <a:close/>
                <a:moveTo>
                  <a:pt x="812246" y="3781539"/>
                </a:moveTo>
                <a:cubicBezTo>
                  <a:pt x="816103" y="3781325"/>
                  <a:pt x="819961" y="3782611"/>
                  <a:pt x="822961" y="3785611"/>
                </a:cubicBezTo>
                <a:cubicBezTo>
                  <a:pt x="828962" y="3791612"/>
                  <a:pt x="829819" y="3801042"/>
                  <a:pt x="823818" y="3807042"/>
                </a:cubicBezTo>
                <a:lnTo>
                  <a:pt x="792194" y="3842032"/>
                </a:lnTo>
                <a:lnTo>
                  <a:pt x="798502" y="3850722"/>
                </a:lnTo>
                <a:cubicBezTo>
                  <a:pt x="811923" y="3880016"/>
                  <a:pt x="807744" y="3915699"/>
                  <a:pt x="785241" y="3940773"/>
                </a:cubicBezTo>
                <a:cubicBezTo>
                  <a:pt x="769810" y="3957489"/>
                  <a:pt x="749022" y="3966490"/>
                  <a:pt x="727912" y="3967562"/>
                </a:cubicBezTo>
                <a:lnTo>
                  <a:pt x="709923" y="3965051"/>
                </a:lnTo>
                <a:lnTo>
                  <a:pt x="701209" y="3986914"/>
                </a:lnTo>
                <a:cubicBezTo>
                  <a:pt x="648195" y="4119828"/>
                  <a:pt x="506367" y="4473875"/>
                  <a:pt x="501492" y="4469697"/>
                </a:cubicBezTo>
                <a:cubicBezTo>
                  <a:pt x="496348" y="4464553"/>
                  <a:pt x="493776" y="4360826"/>
                  <a:pt x="493776" y="4360826"/>
                </a:cubicBezTo>
                <a:cubicBezTo>
                  <a:pt x="493776" y="4360826"/>
                  <a:pt x="591181" y="4108151"/>
                  <a:pt x="640969" y="3980729"/>
                </a:cubicBezTo>
                <a:lnTo>
                  <a:pt x="644840" y="3970847"/>
                </a:lnTo>
                <a:lnTo>
                  <a:pt x="257175" y="4134512"/>
                </a:lnTo>
                <a:lnTo>
                  <a:pt x="152590" y="4139655"/>
                </a:lnTo>
                <a:lnTo>
                  <a:pt x="236601" y="4079647"/>
                </a:lnTo>
                <a:lnTo>
                  <a:pt x="644257" y="3901600"/>
                </a:lnTo>
                <a:lnTo>
                  <a:pt x="641223" y="3889445"/>
                </a:lnTo>
                <a:cubicBezTo>
                  <a:pt x="640151" y="3868336"/>
                  <a:pt x="647223" y="3846904"/>
                  <a:pt x="662654" y="3830188"/>
                </a:cubicBezTo>
                <a:cubicBezTo>
                  <a:pt x="678084" y="3813043"/>
                  <a:pt x="698873" y="3803828"/>
                  <a:pt x="719983" y="3802756"/>
                </a:cubicBezTo>
                <a:cubicBezTo>
                  <a:pt x="730538" y="3802220"/>
                  <a:pt x="741174" y="3803720"/>
                  <a:pt x="751260" y="3807283"/>
                </a:cubicBezTo>
                <a:lnTo>
                  <a:pt x="771606" y="3819575"/>
                </a:lnTo>
                <a:lnTo>
                  <a:pt x="801530" y="3786468"/>
                </a:lnTo>
                <a:cubicBezTo>
                  <a:pt x="804530" y="3783468"/>
                  <a:pt x="808388" y="3781754"/>
                  <a:pt x="812246" y="3781539"/>
                </a:cubicBezTo>
                <a:close/>
                <a:moveTo>
                  <a:pt x="5496913" y="3702672"/>
                </a:moveTo>
                <a:lnTo>
                  <a:pt x="5456397" y="3737606"/>
                </a:lnTo>
                <a:cubicBezTo>
                  <a:pt x="5456397" y="3737606"/>
                  <a:pt x="5471399" y="3722175"/>
                  <a:pt x="5490901" y="3706745"/>
                </a:cubicBezTo>
                <a:close/>
                <a:moveTo>
                  <a:pt x="5797583" y="3639879"/>
                </a:moveTo>
                <a:cubicBezTo>
                  <a:pt x="5797583" y="3639879"/>
                  <a:pt x="5800289" y="3640884"/>
                  <a:pt x="5805112" y="3642965"/>
                </a:cubicBezTo>
                <a:lnTo>
                  <a:pt x="5820840" y="3650383"/>
                </a:lnTo>
                <a:close/>
                <a:moveTo>
                  <a:pt x="5699857" y="3627877"/>
                </a:moveTo>
                <a:lnTo>
                  <a:pt x="5704143" y="3631306"/>
                </a:lnTo>
                <a:cubicBezTo>
                  <a:pt x="5704143" y="3631306"/>
                  <a:pt x="5701571" y="3635593"/>
                  <a:pt x="5699857" y="3638164"/>
                </a:cubicBezTo>
                <a:cubicBezTo>
                  <a:pt x="5698999" y="3640736"/>
                  <a:pt x="5703285" y="3639022"/>
                  <a:pt x="5703285" y="3639022"/>
                </a:cubicBezTo>
                <a:cubicBezTo>
                  <a:pt x="5703285" y="3639022"/>
                  <a:pt x="5717002" y="3645880"/>
                  <a:pt x="5717002" y="3648451"/>
                </a:cubicBezTo>
                <a:cubicBezTo>
                  <a:pt x="5717002" y="3651023"/>
                  <a:pt x="5711001" y="3653595"/>
                  <a:pt x="5698999" y="3652738"/>
                </a:cubicBezTo>
                <a:cubicBezTo>
                  <a:pt x="5686997" y="3651881"/>
                  <a:pt x="5692998" y="3654452"/>
                  <a:pt x="5677567" y="3646737"/>
                </a:cubicBezTo>
                <a:cubicBezTo>
                  <a:pt x="5661279" y="3639022"/>
                  <a:pt x="5662994" y="3659596"/>
                  <a:pt x="5656993" y="3664739"/>
                </a:cubicBezTo>
                <a:cubicBezTo>
                  <a:pt x="5650135" y="3669883"/>
                  <a:pt x="5650135" y="3671597"/>
                  <a:pt x="5645849" y="3681027"/>
                </a:cubicBezTo>
                <a:cubicBezTo>
                  <a:pt x="5642420" y="3690457"/>
                  <a:pt x="5645849" y="3681027"/>
                  <a:pt x="5656136" y="3687028"/>
                </a:cubicBezTo>
                <a:cubicBezTo>
                  <a:pt x="5666423" y="3693028"/>
                  <a:pt x="5660422" y="3688742"/>
                  <a:pt x="5665566" y="3687885"/>
                </a:cubicBezTo>
                <a:cubicBezTo>
                  <a:pt x="5670709" y="3687885"/>
                  <a:pt x="5685282" y="3684456"/>
                  <a:pt x="5689569" y="3683599"/>
                </a:cubicBezTo>
                <a:cubicBezTo>
                  <a:pt x="5693855" y="3682741"/>
                  <a:pt x="5696427" y="3683599"/>
                  <a:pt x="5695569" y="3698172"/>
                </a:cubicBezTo>
                <a:cubicBezTo>
                  <a:pt x="5694713" y="3713602"/>
                  <a:pt x="5695569" y="3698172"/>
                  <a:pt x="5717859" y="3709316"/>
                </a:cubicBezTo>
                <a:cubicBezTo>
                  <a:pt x="5740148" y="3719603"/>
                  <a:pt x="5713573" y="3719603"/>
                  <a:pt x="5730718" y="3723889"/>
                </a:cubicBezTo>
                <a:cubicBezTo>
                  <a:pt x="5747863" y="3728176"/>
                  <a:pt x="5728146" y="3729033"/>
                  <a:pt x="5715287" y="3734176"/>
                </a:cubicBezTo>
                <a:cubicBezTo>
                  <a:pt x="5702427" y="3740177"/>
                  <a:pt x="5708429" y="3733319"/>
                  <a:pt x="5699857" y="3744463"/>
                </a:cubicBezTo>
                <a:cubicBezTo>
                  <a:pt x="5691283" y="3755608"/>
                  <a:pt x="5701571" y="3752179"/>
                  <a:pt x="5705857" y="3753893"/>
                </a:cubicBezTo>
                <a:cubicBezTo>
                  <a:pt x="5710143" y="3755608"/>
                  <a:pt x="5717859" y="3753893"/>
                  <a:pt x="5722145" y="3750464"/>
                </a:cubicBezTo>
                <a:cubicBezTo>
                  <a:pt x="5725574" y="3747035"/>
                  <a:pt x="5729003" y="3748750"/>
                  <a:pt x="5729003" y="3748750"/>
                </a:cubicBezTo>
                <a:cubicBezTo>
                  <a:pt x="5729003" y="3748750"/>
                  <a:pt x="5738433" y="3740177"/>
                  <a:pt x="5747863" y="3745321"/>
                </a:cubicBezTo>
                <a:cubicBezTo>
                  <a:pt x="5757293" y="3750464"/>
                  <a:pt x="5747863" y="3745321"/>
                  <a:pt x="5750435" y="3742749"/>
                </a:cubicBezTo>
                <a:cubicBezTo>
                  <a:pt x="5753006" y="3741034"/>
                  <a:pt x="5757293" y="3741892"/>
                  <a:pt x="5760722" y="3738463"/>
                </a:cubicBezTo>
                <a:cubicBezTo>
                  <a:pt x="5764150" y="3735891"/>
                  <a:pt x="5771866" y="3733319"/>
                  <a:pt x="5794154" y="3741892"/>
                </a:cubicBezTo>
                <a:cubicBezTo>
                  <a:pt x="5817300" y="3750464"/>
                  <a:pt x="5795869" y="3748750"/>
                  <a:pt x="5806156" y="3753036"/>
                </a:cubicBezTo>
                <a:cubicBezTo>
                  <a:pt x="5815585" y="3757322"/>
                  <a:pt x="5809585" y="3755608"/>
                  <a:pt x="5810442" y="3749607"/>
                </a:cubicBezTo>
                <a:cubicBezTo>
                  <a:pt x="5811299" y="3743606"/>
                  <a:pt x="5811299" y="3735034"/>
                  <a:pt x="5814728" y="3733319"/>
                </a:cubicBezTo>
                <a:cubicBezTo>
                  <a:pt x="5818157" y="3732462"/>
                  <a:pt x="5820729" y="3734176"/>
                  <a:pt x="5825015" y="3737606"/>
                </a:cubicBezTo>
                <a:cubicBezTo>
                  <a:pt x="5829302" y="3741034"/>
                  <a:pt x="5838731" y="3718746"/>
                  <a:pt x="5849018" y="3723032"/>
                </a:cubicBezTo>
                <a:cubicBezTo>
                  <a:pt x="5858448" y="3727318"/>
                  <a:pt x="5851590" y="3724747"/>
                  <a:pt x="5861877" y="3731605"/>
                </a:cubicBezTo>
                <a:cubicBezTo>
                  <a:pt x="5872164" y="3738463"/>
                  <a:pt x="5861877" y="3741892"/>
                  <a:pt x="5856733" y="3746178"/>
                </a:cubicBezTo>
                <a:cubicBezTo>
                  <a:pt x="5850733" y="3751321"/>
                  <a:pt x="5853305" y="3743606"/>
                  <a:pt x="5844732" y="3741034"/>
                </a:cubicBezTo>
                <a:cubicBezTo>
                  <a:pt x="5836160" y="3738463"/>
                  <a:pt x="5841303" y="3742749"/>
                  <a:pt x="5828444" y="3754751"/>
                </a:cubicBezTo>
                <a:cubicBezTo>
                  <a:pt x="5815585" y="3765895"/>
                  <a:pt x="5828444" y="3754751"/>
                  <a:pt x="5831016" y="3761608"/>
                </a:cubicBezTo>
                <a:cubicBezTo>
                  <a:pt x="5833588" y="3768466"/>
                  <a:pt x="5840446" y="3759037"/>
                  <a:pt x="5847304" y="3761608"/>
                </a:cubicBezTo>
                <a:cubicBezTo>
                  <a:pt x="5854162" y="3764180"/>
                  <a:pt x="5852447" y="3764180"/>
                  <a:pt x="5861877" y="3765895"/>
                </a:cubicBezTo>
                <a:cubicBezTo>
                  <a:pt x="5871307" y="3767609"/>
                  <a:pt x="5861877" y="3765895"/>
                  <a:pt x="5863592" y="3771896"/>
                </a:cubicBezTo>
                <a:cubicBezTo>
                  <a:pt x="5864449" y="3777896"/>
                  <a:pt x="5867878" y="3772753"/>
                  <a:pt x="5877308" y="3777039"/>
                </a:cubicBezTo>
                <a:cubicBezTo>
                  <a:pt x="5886737" y="3782182"/>
                  <a:pt x="5880737" y="3779611"/>
                  <a:pt x="5877308" y="3786469"/>
                </a:cubicBezTo>
                <a:cubicBezTo>
                  <a:pt x="5874736" y="3793327"/>
                  <a:pt x="5874736" y="3786469"/>
                  <a:pt x="5871307" y="3784754"/>
                </a:cubicBezTo>
                <a:cubicBezTo>
                  <a:pt x="5867878" y="3783040"/>
                  <a:pt x="5867020" y="3783040"/>
                  <a:pt x="5859305" y="3787326"/>
                </a:cubicBezTo>
                <a:cubicBezTo>
                  <a:pt x="5851590" y="3791612"/>
                  <a:pt x="5850733" y="3788183"/>
                  <a:pt x="5847304" y="3789898"/>
                </a:cubicBezTo>
                <a:cubicBezTo>
                  <a:pt x="5843875" y="3791612"/>
                  <a:pt x="5842160" y="3788183"/>
                  <a:pt x="5824158" y="3786469"/>
                </a:cubicBezTo>
                <a:cubicBezTo>
                  <a:pt x="5806156" y="3784754"/>
                  <a:pt x="5824158" y="3786469"/>
                  <a:pt x="5813871" y="3796756"/>
                </a:cubicBezTo>
                <a:cubicBezTo>
                  <a:pt x="5803584" y="3807043"/>
                  <a:pt x="5813871" y="3796756"/>
                  <a:pt x="5807013" y="3796756"/>
                </a:cubicBezTo>
                <a:cubicBezTo>
                  <a:pt x="5800155" y="3796756"/>
                  <a:pt x="5797583" y="3794184"/>
                  <a:pt x="5793297" y="3791612"/>
                </a:cubicBezTo>
                <a:cubicBezTo>
                  <a:pt x="5788153" y="3789041"/>
                  <a:pt x="5790725" y="3787326"/>
                  <a:pt x="5781295" y="3787326"/>
                </a:cubicBezTo>
                <a:cubicBezTo>
                  <a:pt x="5771866" y="3787326"/>
                  <a:pt x="5781295" y="3787326"/>
                  <a:pt x="5771866" y="3786469"/>
                </a:cubicBezTo>
                <a:cubicBezTo>
                  <a:pt x="5763293" y="3785611"/>
                  <a:pt x="5768437" y="3780468"/>
                  <a:pt x="5767580" y="3768466"/>
                </a:cubicBezTo>
                <a:cubicBezTo>
                  <a:pt x="5766722" y="3756465"/>
                  <a:pt x="5767580" y="3768466"/>
                  <a:pt x="5762436" y="3767609"/>
                </a:cubicBezTo>
                <a:cubicBezTo>
                  <a:pt x="5757293" y="3766752"/>
                  <a:pt x="5759007" y="3765895"/>
                  <a:pt x="5755578" y="3765895"/>
                </a:cubicBezTo>
                <a:cubicBezTo>
                  <a:pt x="5753006" y="3765895"/>
                  <a:pt x="5755578" y="3765895"/>
                  <a:pt x="5742719" y="3768466"/>
                </a:cubicBezTo>
                <a:cubicBezTo>
                  <a:pt x="5729860" y="3771038"/>
                  <a:pt x="5738433" y="3769324"/>
                  <a:pt x="5734147" y="3769324"/>
                </a:cubicBezTo>
                <a:cubicBezTo>
                  <a:pt x="5729860" y="3769324"/>
                  <a:pt x="5728146" y="3770181"/>
                  <a:pt x="5721288" y="3771896"/>
                </a:cubicBezTo>
                <a:cubicBezTo>
                  <a:pt x="5714430" y="3773610"/>
                  <a:pt x="5716145" y="3771896"/>
                  <a:pt x="5712715" y="3772753"/>
                </a:cubicBezTo>
                <a:cubicBezTo>
                  <a:pt x="5710143" y="3772753"/>
                  <a:pt x="5703285" y="3780468"/>
                  <a:pt x="5698999" y="3784754"/>
                </a:cubicBezTo>
                <a:cubicBezTo>
                  <a:pt x="5693855" y="3789041"/>
                  <a:pt x="5686140" y="3792469"/>
                  <a:pt x="5679282" y="3791612"/>
                </a:cubicBezTo>
                <a:cubicBezTo>
                  <a:pt x="5672424" y="3791612"/>
                  <a:pt x="5674996" y="3793327"/>
                  <a:pt x="5671567" y="3795898"/>
                </a:cubicBezTo>
                <a:cubicBezTo>
                  <a:pt x="5668137" y="3797613"/>
                  <a:pt x="5665566" y="3805328"/>
                  <a:pt x="5663851" y="3808757"/>
                </a:cubicBezTo>
                <a:cubicBezTo>
                  <a:pt x="5662137" y="3811329"/>
                  <a:pt x="5651850" y="3816472"/>
                  <a:pt x="5644134" y="3830188"/>
                </a:cubicBezTo>
                <a:cubicBezTo>
                  <a:pt x="5636419" y="3843904"/>
                  <a:pt x="5638134" y="3839618"/>
                  <a:pt x="5646706" y="3858478"/>
                </a:cubicBezTo>
                <a:cubicBezTo>
                  <a:pt x="5655279" y="3877337"/>
                  <a:pt x="5641563" y="3863621"/>
                  <a:pt x="5641563" y="3873051"/>
                </a:cubicBezTo>
                <a:cubicBezTo>
                  <a:pt x="5641563" y="3881623"/>
                  <a:pt x="5639848" y="3877337"/>
                  <a:pt x="5636419" y="3885052"/>
                </a:cubicBezTo>
                <a:cubicBezTo>
                  <a:pt x="5632990" y="3892768"/>
                  <a:pt x="5636419" y="3885052"/>
                  <a:pt x="5644992" y="3894482"/>
                </a:cubicBezTo>
                <a:cubicBezTo>
                  <a:pt x="5653564" y="3903912"/>
                  <a:pt x="5644992" y="3894482"/>
                  <a:pt x="5650135" y="3900483"/>
                </a:cubicBezTo>
                <a:cubicBezTo>
                  <a:pt x="5656136" y="3907341"/>
                  <a:pt x="5651850" y="3905626"/>
                  <a:pt x="5652707" y="3912484"/>
                </a:cubicBezTo>
                <a:cubicBezTo>
                  <a:pt x="5653564" y="3919342"/>
                  <a:pt x="5655279" y="3915913"/>
                  <a:pt x="5662137" y="3920200"/>
                </a:cubicBezTo>
                <a:cubicBezTo>
                  <a:pt x="5668995" y="3924486"/>
                  <a:pt x="5665566" y="3923629"/>
                  <a:pt x="5668995" y="3931344"/>
                </a:cubicBezTo>
                <a:cubicBezTo>
                  <a:pt x="5672424" y="3939059"/>
                  <a:pt x="5673281" y="3933058"/>
                  <a:pt x="5680139" y="3937345"/>
                </a:cubicBezTo>
                <a:cubicBezTo>
                  <a:pt x="5687854" y="3941631"/>
                  <a:pt x="5698141" y="3938202"/>
                  <a:pt x="5707571" y="3938202"/>
                </a:cubicBezTo>
                <a:cubicBezTo>
                  <a:pt x="5717002" y="3938202"/>
                  <a:pt x="5719573" y="3939059"/>
                  <a:pt x="5726432" y="3935630"/>
                </a:cubicBezTo>
                <a:cubicBezTo>
                  <a:pt x="5734147" y="3933058"/>
                  <a:pt x="5741862" y="3933058"/>
                  <a:pt x="5746148" y="3929629"/>
                </a:cubicBezTo>
                <a:cubicBezTo>
                  <a:pt x="5750435" y="3926201"/>
                  <a:pt x="5754721" y="3927058"/>
                  <a:pt x="5757293" y="3928772"/>
                </a:cubicBezTo>
                <a:cubicBezTo>
                  <a:pt x="5759864" y="3930487"/>
                  <a:pt x="5758150" y="3934773"/>
                  <a:pt x="5765008" y="3939916"/>
                </a:cubicBezTo>
                <a:cubicBezTo>
                  <a:pt x="5771866" y="3945060"/>
                  <a:pt x="5771866" y="3938202"/>
                  <a:pt x="5776152" y="3937345"/>
                </a:cubicBezTo>
                <a:cubicBezTo>
                  <a:pt x="5780438" y="3936487"/>
                  <a:pt x="5792440" y="3944203"/>
                  <a:pt x="5792440" y="3944203"/>
                </a:cubicBezTo>
                <a:cubicBezTo>
                  <a:pt x="5792440" y="3944203"/>
                  <a:pt x="5791583" y="3950203"/>
                  <a:pt x="5789011" y="3960491"/>
                </a:cubicBezTo>
                <a:cubicBezTo>
                  <a:pt x="5786439" y="3970777"/>
                  <a:pt x="5789011" y="3960491"/>
                  <a:pt x="5789011" y="3966491"/>
                </a:cubicBezTo>
                <a:cubicBezTo>
                  <a:pt x="5789011" y="3972492"/>
                  <a:pt x="5790725" y="3988780"/>
                  <a:pt x="5790725" y="3988780"/>
                </a:cubicBezTo>
                <a:cubicBezTo>
                  <a:pt x="5790725" y="3988780"/>
                  <a:pt x="5794154" y="3993066"/>
                  <a:pt x="5798440" y="3999924"/>
                </a:cubicBezTo>
                <a:cubicBezTo>
                  <a:pt x="5802727" y="4006782"/>
                  <a:pt x="5802727" y="4005067"/>
                  <a:pt x="5803584" y="4007639"/>
                </a:cubicBezTo>
                <a:cubicBezTo>
                  <a:pt x="5804441" y="4010211"/>
                  <a:pt x="5810442" y="4016212"/>
                  <a:pt x="5812157" y="4020498"/>
                </a:cubicBezTo>
                <a:cubicBezTo>
                  <a:pt x="5813871" y="4023927"/>
                  <a:pt x="5813871" y="4026499"/>
                  <a:pt x="5814728" y="4032499"/>
                </a:cubicBezTo>
                <a:cubicBezTo>
                  <a:pt x="5815585" y="4039358"/>
                  <a:pt x="5809585" y="4040215"/>
                  <a:pt x="5803584" y="4044501"/>
                </a:cubicBezTo>
                <a:cubicBezTo>
                  <a:pt x="5797583" y="4048787"/>
                  <a:pt x="5801012" y="4050502"/>
                  <a:pt x="5798440" y="4060789"/>
                </a:cubicBezTo>
                <a:cubicBezTo>
                  <a:pt x="5795869" y="4071075"/>
                  <a:pt x="5798440" y="4060789"/>
                  <a:pt x="5794154" y="4071075"/>
                </a:cubicBezTo>
                <a:cubicBezTo>
                  <a:pt x="5789868" y="4081363"/>
                  <a:pt x="5795012" y="4075362"/>
                  <a:pt x="5801012" y="4081363"/>
                </a:cubicBezTo>
                <a:cubicBezTo>
                  <a:pt x="5807870" y="4087363"/>
                  <a:pt x="5807013" y="4083934"/>
                  <a:pt x="5811299" y="4094221"/>
                </a:cubicBezTo>
                <a:cubicBezTo>
                  <a:pt x="5816443" y="4103651"/>
                  <a:pt x="5813014" y="4097651"/>
                  <a:pt x="5813871" y="4106223"/>
                </a:cubicBezTo>
                <a:cubicBezTo>
                  <a:pt x="5814728" y="4114796"/>
                  <a:pt x="5813871" y="4106223"/>
                  <a:pt x="5813871" y="4115653"/>
                </a:cubicBezTo>
                <a:cubicBezTo>
                  <a:pt x="5813871" y="4124225"/>
                  <a:pt x="5813871" y="4115653"/>
                  <a:pt x="5819015" y="4127654"/>
                </a:cubicBezTo>
                <a:cubicBezTo>
                  <a:pt x="5824158" y="4139655"/>
                  <a:pt x="5819872" y="4132798"/>
                  <a:pt x="5825873" y="4143942"/>
                </a:cubicBezTo>
                <a:cubicBezTo>
                  <a:pt x="5832730" y="4155086"/>
                  <a:pt x="5825873" y="4143942"/>
                  <a:pt x="5830159" y="4143942"/>
                </a:cubicBezTo>
                <a:cubicBezTo>
                  <a:pt x="5834445" y="4143942"/>
                  <a:pt x="5845589" y="4138798"/>
                  <a:pt x="5848161" y="4136227"/>
                </a:cubicBezTo>
                <a:cubicBezTo>
                  <a:pt x="5850733" y="4133655"/>
                  <a:pt x="5866163" y="4127654"/>
                  <a:pt x="5870450" y="4126797"/>
                </a:cubicBezTo>
                <a:cubicBezTo>
                  <a:pt x="5875593" y="4125940"/>
                  <a:pt x="5873878" y="4117367"/>
                  <a:pt x="5873878" y="4117367"/>
                </a:cubicBezTo>
                <a:lnTo>
                  <a:pt x="5888452" y="4105365"/>
                </a:lnTo>
                <a:lnTo>
                  <a:pt x="5900453" y="4087363"/>
                </a:lnTo>
                <a:cubicBezTo>
                  <a:pt x="5900453" y="4087363"/>
                  <a:pt x="5900453" y="4077934"/>
                  <a:pt x="5900453" y="4075362"/>
                </a:cubicBezTo>
                <a:cubicBezTo>
                  <a:pt x="5900453" y="4073648"/>
                  <a:pt x="5907311" y="4072790"/>
                  <a:pt x="5911598" y="4071933"/>
                </a:cubicBezTo>
                <a:cubicBezTo>
                  <a:pt x="5915027" y="4071075"/>
                  <a:pt x="5914169" y="4066789"/>
                  <a:pt x="5915884" y="4064218"/>
                </a:cubicBezTo>
                <a:cubicBezTo>
                  <a:pt x="5917598" y="4062503"/>
                  <a:pt x="5923599" y="4053073"/>
                  <a:pt x="5929600" y="4051359"/>
                </a:cubicBezTo>
                <a:cubicBezTo>
                  <a:pt x="5936458" y="4050502"/>
                  <a:pt x="5924456" y="4039358"/>
                  <a:pt x="5924456" y="4039358"/>
                </a:cubicBezTo>
                <a:cubicBezTo>
                  <a:pt x="5924456" y="4039358"/>
                  <a:pt x="5933029" y="4033357"/>
                  <a:pt x="5934743" y="4027356"/>
                </a:cubicBezTo>
                <a:cubicBezTo>
                  <a:pt x="5936458" y="4021355"/>
                  <a:pt x="5934743" y="4009354"/>
                  <a:pt x="5933886" y="4005925"/>
                </a:cubicBezTo>
                <a:cubicBezTo>
                  <a:pt x="5933029" y="4003353"/>
                  <a:pt x="5933886" y="3991351"/>
                  <a:pt x="5933886" y="3991351"/>
                </a:cubicBezTo>
                <a:lnTo>
                  <a:pt x="5940744" y="3982779"/>
                </a:lnTo>
                <a:cubicBezTo>
                  <a:pt x="5940744" y="3982779"/>
                  <a:pt x="5941601" y="3967348"/>
                  <a:pt x="5944173" y="3965634"/>
                </a:cubicBezTo>
                <a:cubicBezTo>
                  <a:pt x="5946745" y="3963919"/>
                  <a:pt x="5951031" y="3953632"/>
                  <a:pt x="5955317" y="3953632"/>
                </a:cubicBezTo>
                <a:cubicBezTo>
                  <a:pt x="5959603" y="3953632"/>
                  <a:pt x="5958746" y="3930487"/>
                  <a:pt x="5958746" y="3930487"/>
                </a:cubicBezTo>
                <a:lnTo>
                  <a:pt x="5965604" y="3917628"/>
                </a:lnTo>
                <a:cubicBezTo>
                  <a:pt x="5965604" y="3917628"/>
                  <a:pt x="5968176" y="3904769"/>
                  <a:pt x="5968176" y="3902197"/>
                </a:cubicBezTo>
                <a:cubicBezTo>
                  <a:pt x="5968176" y="3899626"/>
                  <a:pt x="5961318" y="3894482"/>
                  <a:pt x="5961318" y="3894482"/>
                </a:cubicBezTo>
                <a:cubicBezTo>
                  <a:pt x="5961318" y="3894482"/>
                  <a:pt x="5954460" y="3894482"/>
                  <a:pt x="5949317" y="3897054"/>
                </a:cubicBezTo>
                <a:cubicBezTo>
                  <a:pt x="5944173" y="3899626"/>
                  <a:pt x="5945888" y="3897911"/>
                  <a:pt x="5942458" y="3898768"/>
                </a:cubicBezTo>
                <a:cubicBezTo>
                  <a:pt x="5939030" y="3899626"/>
                  <a:pt x="5938172" y="3897054"/>
                  <a:pt x="5933029" y="3895339"/>
                </a:cubicBezTo>
                <a:cubicBezTo>
                  <a:pt x="5927885" y="3893625"/>
                  <a:pt x="5932172" y="3888481"/>
                  <a:pt x="5933029" y="3884195"/>
                </a:cubicBezTo>
                <a:cubicBezTo>
                  <a:pt x="5933886" y="3879909"/>
                  <a:pt x="5925313" y="3880766"/>
                  <a:pt x="5921885" y="3879909"/>
                </a:cubicBezTo>
                <a:cubicBezTo>
                  <a:pt x="5919313" y="3879052"/>
                  <a:pt x="5918455" y="3869622"/>
                  <a:pt x="5915884" y="3867050"/>
                </a:cubicBezTo>
                <a:cubicBezTo>
                  <a:pt x="5914169" y="3865336"/>
                  <a:pt x="5913312" y="3861907"/>
                  <a:pt x="5909883" y="3855049"/>
                </a:cubicBezTo>
                <a:cubicBezTo>
                  <a:pt x="5906454" y="3848191"/>
                  <a:pt x="5904740" y="3851620"/>
                  <a:pt x="5900453" y="3850762"/>
                </a:cubicBezTo>
                <a:cubicBezTo>
                  <a:pt x="5896167" y="3849905"/>
                  <a:pt x="5901310" y="3841333"/>
                  <a:pt x="5897024" y="3833617"/>
                </a:cubicBezTo>
                <a:cubicBezTo>
                  <a:pt x="5892738" y="3825902"/>
                  <a:pt x="5906454" y="3830188"/>
                  <a:pt x="5906454" y="3830188"/>
                </a:cubicBezTo>
                <a:cubicBezTo>
                  <a:pt x="5906454" y="3830188"/>
                  <a:pt x="5906454" y="3830188"/>
                  <a:pt x="5912455" y="3835332"/>
                </a:cubicBezTo>
                <a:cubicBezTo>
                  <a:pt x="5918455" y="3841333"/>
                  <a:pt x="5914169" y="3839618"/>
                  <a:pt x="5918455" y="3845619"/>
                </a:cubicBezTo>
                <a:cubicBezTo>
                  <a:pt x="5923599" y="3851620"/>
                  <a:pt x="5919313" y="3855906"/>
                  <a:pt x="5921027" y="3858478"/>
                </a:cubicBezTo>
                <a:cubicBezTo>
                  <a:pt x="5922742" y="3861049"/>
                  <a:pt x="5932172" y="3862764"/>
                  <a:pt x="5935600" y="3867907"/>
                </a:cubicBezTo>
                <a:cubicBezTo>
                  <a:pt x="5939030" y="3873051"/>
                  <a:pt x="5944173" y="3879052"/>
                  <a:pt x="5944173" y="3879052"/>
                </a:cubicBezTo>
                <a:cubicBezTo>
                  <a:pt x="5944173" y="3879052"/>
                  <a:pt x="5961318" y="3876480"/>
                  <a:pt x="5964747" y="3874766"/>
                </a:cubicBezTo>
                <a:cubicBezTo>
                  <a:pt x="5967319" y="3873051"/>
                  <a:pt x="5969033" y="3863621"/>
                  <a:pt x="5969033" y="3863621"/>
                </a:cubicBezTo>
                <a:cubicBezTo>
                  <a:pt x="5969033" y="3863621"/>
                  <a:pt x="5972462" y="3855049"/>
                  <a:pt x="5972462" y="3851620"/>
                </a:cubicBezTo>
                <a:cubicBezTo>
                  <a:pt x="5972462" y="3849048"/>
                  <a:pt x="5968176" y="3837046"/>
                  <a:pt x="5968176" y="3837046"/>
                </a:cubicBezTo>
                <a:lnTo>
                  <a:pt x="5968176" y="3825045"/>
                </a:lnTo>
                <a:cubicBezTo>
                  <a:pt x="5968176" y="3825045"/>
                  <a:pt x="5962175" y="3819044"/>
                  <a:pt x="5963890" y="3814758"/>
                </a:cubicBezTo>
                <a:cubicBezTo>
                  <a:pt x="5965604" y="3811329"/>
                  <a:pt x="5963890" y="3814758"/>
                  <a:pt x="5967319" y="3815615"/>
                </a:cubicBezTo>
                <a:cubicBezTo>
                  <a:pt x="5969890" y="3816472"/>
                  <a:pt x="5976748" y="3816472"/>
                  <a:pt x="5979320" y="3819901"/>
                </a:cubicBezTo>
                <a:cubicBezTo>
                  <a:pt x="5981892" y="3823331"/>
                  <a:pt x="5984464" y="3832760"/>
                  <a:pt x="5987893" y="3836189"/>
                </a:cubicBezTo>
                <a:cubicBezTo>
                  <a:pt x="5991322" y="3839618"/>
                  <a:pt x="5991322" y="3838761"/>
                  <a:pt x="5995608" y="3843904"/>
                </a:cubicBezTo>
                <a:cubicBezTo>
                  <a:pt x="5999037" y="3849048"/>
                  <a:pt x="5998180" y="3845619"/>
                  <a:pt x="6001609" y="3850762"/>
                </a:cubicBezTo>
                <a:cubicBezTo>
                  <a:pt x="6005038" y="3856763"/>
                  <a:pt x="6001609" y="3855049"/>
                  <a:pt x="6005895" y="3862764"/>
                </a:cubicBezTo>
                <a:cubicBezTo>
                  <a:pt x="6010181" y="3870479"/>
                  <a:pt x="6010181" y="3868765"/>
                  <a:pt x="6014468" y="3873051"/>
                </a:cubicBezTo>
                <a:lnTo>
                  <a:pt x="6016182" y="3869622"/>
                </a:lnTo>
                <a:cubicBezTo>
                  <a:pt x="5982107" y="3745535"/>
                  <a:pt x="5876182" y="3678348"/>
                  <a:pt x="5825350" y="3652510"/>
                </a:cubicBezTo>
                <a:lnTo>
                  <a:pt x="5820840" y="3650383"/>
                </a:lnTo>
                <a:lnTo>
                  <a:pt x="5876805" y="3675659"/>
                </a:lnTo>
                <a:cubicBezTo>
                  <a:pt x="6043936" y="3773476"/>
                  <a:pt x="6086691" y="3965313"/>
                  <a:pt x="5998180" y="4119082"/>
                </a:cubicBezTo>
                <a:cubicBezTo>
                  <a:pt x="5897024" y="4294818"/>
                  <a:pt x="5717002" y="4286246"/>
                  <a:pt x="5717002" y="4286246"/>
                </a:cubicBezTo>
                <a:cubicBezTo>
                  <a:pt x="5797583" y="4285388"/>
                  <a:pt x="5835302" y="4250241"/>
                  <a:pt x="5835302" y="4250241"/>
                </a:cubicBezTo>
                <a:cubicBezTo>
                  <a:pt x="5835302" y="4250241"/>
                  <a:pt x="5821586" y="4249384"/>
                  <a:pt x="5819015" y="4251098"/>
                </a:cubicBezTo>
                <a:cubicBezTo>
                  <a:pt x="5816443" y="4252813"/>
                  <a:pt x="5805298" y="4244240"/>
                  <a:pt x="5802727" y="4244240"/>
                </a:cubicBezTo>
                <a:cubicBezTo>
                  <a:pt x="5800155" y="4244240"/>
                  <a:pt x="5795869" y="4243383"/>
                  <a:pt x="5793297" y="4242525"/>
                </a:cubicBezTo>
                <a:cubicBezTo>
                  <a:pt x="5790725" y="4241668"/>
                  <a:pt x="5783010" y="4244240"/>
                  <a:pt x="5777867" y="4245098"/>
                </a:cubicBezTo>
                <a:cubicBezTo>
                  <a:pt x="5771866" y="4245955"/>
                  <a:pt x="5771008" y="4245955"/>
                  <a:pt x="5765865" y="4251098"/>
                </a:cubicBezTo>
                <a:cubicBezTo>
                  <a:pt x="5759864" y="4256242"/>
                  <a:pt x="5759864" y="4250241"/>
                  <a:pt x="5755578" y="4250241"/>
                </a:cubicBezTo>
                <a:cubicBezTo>
                  <a:pt x="5752149" y="4250241"/>
                  <a:pt x="5742719" y="4251098"/>
                  <a:pt x="5742719" y="4251098"/>
                </a:cubicBezTo>
                <a:lnTo>
                  <a:pt x="5747005" y="4240811"/>
                </a:lnTo>
                <a:cubicBezTo>
                  <a:pt x="5747005" y="4240811"/>
                  <a:pt x="5741005" y="4239097"/>
                  <a:pt x="5735861" y="4239097"/>
                </a:cubicBezTo>
                <a:cubicBezTo>
                  <a:pt x="5730718" y="4239097"/>
                  <a:pt x="5731575" y="4243383"/>
                  <a:pt x="5729003" y="4247669"/>
                </a:cubicBezTo>
                <a:cubicBezTo>
                  <a:pt x="5726432" y="4251956"/>
                  <a:pt x="5726432" y="4252813"/>
                  <a:pt x="5723003" y="4258813"/>
                </a:cubicBezTo>
                <a:cubicBezTo>
                  <a:pt x="5720431" y="4265671"/>
                  <a:pt x="5706715" y="4255384"/>
                  <a:pt x="5701571" y="4254527"/>
                </a:cubicBezTo>
                <a:cubicBezTo>
                  <a:pt x="5696427" y="4253670"/>
                  <a:pt x="5693855" y="4254527"/>
                  <a:pt x="5689569" y="4251956"/>
                </a:cubicBezTo>
                <a:cubicBezTo>
                  <a:pt x="5685282" y="4249384"/>
                  <a:pt x="5690426" y="4247669"/>
                  <a:pt x="5690426" y="4247669"/>
                </a:cubicBezTo>
                <a:lnTo>
                  <a:pt x="5702427" y="4239097"/>
                </a:lnTo>
                <a:lnTo>
                  <a:pt x="5714430" y="4232239"/>
                </a:lnTo>
                <a:cubicBezTo>
                  <a:pt x="5714430" y="4232239"/>
                  <a:pt x="5712715" y="4226238"/>
                  <a:pt x="5708429" y="4225380"/>
                </a:cubicBezTo>
                <a:cubicBezTo>
                  <a:pt x="5704999" y="4224523"/>
                  <a:pt x="5704999" y="4227953"/>
                  <a:pt x="5702427" y="4230524"/>
                </a:cubicBezTo>
                <a:cubicBezTo>
                  <a:pt x="5699857" y="4233096"/>
                  <a:pt x="5677567" y="4231381"/>
                  <a:pt x="5677567" y="4231381"/>
                </a:cubicBezTo>
                <a:cubicBezTo>
                  <a:pt x="5677567" y="4231381"/>
                  <a:pt x="5663851" y="4236525"/>
                  <a:pt x="5656993" y="4233096"/>
                </a:cubicBezTo>
                <a:cubicBezTo>
                  <a:pt x="5649278" y="4229667"/>
                  <a:pt x="5656993" y="4233096"/>
                  <a:pt x="5653564" y="4226238"/>
                </a:cubicBezTo>
                <a:cubicBezTo>
                  <a:pt x="5650992" y="4219380"/>
                  <a:pt x="5644134" y="4230524"/>
                  <a:pt x="5638991" y="4233096"/>
                </a:cubicBezTo>
                <a:cubicBezTo>
                  <a:pt x="5632990" y="4235668"/>
                  <a:pt x="5632990" y="4233953"/>
                  <a:pt x="5618417" y="4236525"/>
                </a:cubicBezTo>
                <a:cubicBezTo>
                  <a:pt x="5603844" y="4239097"/>
                  <a:pt x="5608130" y="4238239"/>
                  <a:pt x="5608130" y="4238239"/>
                </a:cubicBezTo>
                <a:lnTo>
                  <a:pt x="5607273" y="4232239"/>
                </a:lnTo>
                <a:cubicBezTo>
                  <a:pt x="5607273" y="4232239"/>
                  <a:pt x="5601272" y="4236525"/>
                  <a:pt x="5596986" y="4240811"/>
                </a:cubicBezTo>
                <a:cubicBezTo>
                  <a:pt x="5592699" y="4245098"/>
                  <a:pt x="5588413" y="4242525"/>
                  <a:pt x="5584984" y="4242525"/>
                </a:cubicBezTo>
                <a:cubicBezTo>
                  <a:pt x="5581555" y="4242525"/>
                  <a:pt x="5583270" y="4256242"/>
                  <a:pt x="5583270" y="4256242"/>
                </a:cubicBezTo>
                <a:cubicBezTo>
                  <a:pt x="5589271" y="4270815"/>
                  <a:pt x="5664709" y="4287103"/>
                  <a:pt x="5664709" y="4287103"/>
                </a:cubicBezTo>
                <a:cubicBezTo>
                  <a:pt x="5338954" y="4239097"/>
                  <a:pt x="5372386" y="3912484"/>
                  <a:pt x="5372386" y="3912484"/>
                </a:cubicBezTo>
                <a:lnTo>
                  <a:pt x="5375815" y="3909913"/>
                </a:lnTo>
                <a:cubicBezTo>
                  <a:pt x="5375815" y="3909913"/>
                  <a:pt x="5377530" y="3917628"/>
                  <a:pt x="5378387" y="3921057"/>
                </a:cubicBezTo>
                <a:cubicBezTo>
                  <a:pt x="5380101" y="3924486"/>
                  <a:pt x="5380101" y="3923629"/>
                  <a:pt x="5384388" y="3929629"/>
                </a:cubicBezTo>
                <a:cubicBezTo>
                  <a:pt x="5387817" y="3935630"/>
                  <a:pt x="5389531" y="3934773"/>
                  <a:pt x="5391246" y="3939059"/>
                </a:cubicBezTo>
                <a:cubicBezTo>
                  <a:pt x="5392960" y="3944203"/>
                  <a:pt x="5391246" y="3939059"/>
                  <a:pt x="5386959" y="3953632"/>
                </a:cubicBezTo>
                <a:cubicBezTo>
                  <a:pt x="5383531" y="3968206"/>
                  <a:pt x="5395532" y="3977636"/>
                  <a:pt x="5395532" y="3977636"/>
                </a:cubicBezTo>
                <a:cubicBezTo>
                  <a:pt x="5395532" y="3977636"/>
                  <a:pt x="5395532" y="3981922"/>
                  <a:pt x="5394675" y="4006782"/>
                </a:cubicBezTo>
                <a:cubicBezTo>
                  <a:pt x="5393817" y="4030785"/>
                  <a:pt x="5404962" y="4036785"/>
                  <a:pt x="5413534" y="4051359"/>
                </a:cubicBezTo>
                <a:cubicBezTo>
                  <a:pt x="5421249" y="4065075"/>
                  <a:pt x="5416963" y="4059931"/>
                  <a:pt x="5420392" y="4065932"/>
                </a:cubicBezTo>
                <a:cubicBezTo>
                  <a:pt x="5423821" y="4071075"/>
                  <a:pt x="5422964" y="4066789"/>
                  <a:pt x="5432394" y="4075362"/>
                </a:cubicBezTo>
                <a:cubicBezTo>
                  <a:pt x="5441824" y="4083934"/>
                  <a:pt x="5434108" y="4083934"/>
                  <a:pt x="5438394" y="4101079"/>
                </a:cubicBezTo>
                <a:cubicBezTo>
                  <a:pt x="5442681" y="4118224"/>
                  <a:pt x="5442681" y="4108795"/>
                  <a:pt x="5446110" y="4123368"/>
                </a:cubicBezTo>
                <a:cubicBezTo>
                  <a:pt x="5448681" y="4138798"/>
                  <a:pt x="5449539" y="4126797"/>
                  <a:pt x="5455539" y="4135369"/>
                </a:cubicBezTo>
                <a:cubicBezTo>
                  <a:pt x="5461540" y="4143942"/>
                  <a:pt x="5455539" y="4135369"/>
                  <a:pt x="5462397" y="4148228"/>
                </a:cubicBezTo>
                <a:cubicBezTo>
                  <a:pt x="5469256" y="4161087"/>
                  <a:pt x="5467541" y="4154229"/>
                  <a:pt x="5470113" y="4160230"/>
                </a:cubicBezTo>
                <a:cubicBezTo>
                  <a:pt x="5472684" y="4165373"/>
                  <a:pt x="5475256" y="4162801"/>
                  <a:pt x="5484686" y="4188519"/>
                </a:cubicBezTo>
                <a:cubicBezTo>
                  <a:pt x="5494116" y="4214236"/>
                  <a:pt x="5486401" y="4192805"/>
                  <a:pt x="5491544" y="4198806"/>
                </a:cubicBezTo>
                <a:cubicBezTo>
                  <a:pt x="5496687" y="4204807"/>
                  <a:pt x="5499259" y="4201378"/>
                  <a:pt x="5511261" y="4210808"/>
                </a:cubicBezTo>
                <a:cubicBezTo>
                  <a:pt x="5523262" y="4220237"/>
                  <a:pt x="5514690" y="4215094"/>
                  <a:pt x="5524119" y="4221094"/>
                </a:cubicBezTo>
                <a:cubicBezTo>
                  <a:pt x="5533549" y="4227095"/>
                  <a:pt x="5525834" y="4218523"/>
                  <a:pt x="5525834" y="4215094"/>
                </a:cubicBezTo>
                <a:cubicBezTo>
                  <a:pt x="5525834" y="4211665"/>
                  <a:pt x="5521548" y="4209950"/>
                  <a:pt x="5518119" y="4206521"/>
                </a:cubicBezTo>
                <a:cubicBezTo>
                  <a:pt x="5513832" y="4203949"/>
                  <a:pt x="5512975" y="4199663"/>
                  <a:pt x="5509546" y="4195377"/>
                </a:cubicBezTo>
                <a:cubicBezTo>
                  <a:pt x="5506974" y="4191948"/>
                  <a:pt x="5506974" y="4190233"/>
                  <a:pt x="5505260" y="4185947"/>
                </a:cubicBezTo>
                <a:cubicBezTo>
                  <a:pt x="5502688" y="4181661"/>
                  <a:pt x="5500117" y="4179946"/>
                  <a:pt x="5495830" y="4173088"/>
                </a:cubicBezTo>
                <a:cubicBezTo>
                  <a:pt x="5491544" y="4166231"/>
                  <a:pt x="5499259" y="4167945"/>
                  <a:pt x="5500117" y="4165373"/>
                </a:cubicBezTo>
                <a:cubicBezTo>
                  <a:pt x="5500974" y="4162801"/>
                  <a:pt x="5502688" y="4163659"/>
                  <a:pt x="5503546" y="4160230"/>
                </a:cubicBezTo>
                <a:cubicBezTo>
                  <a:pt x="5504403" y="4156800"/>
                  <a:pt x="5504403" y="4151657"/>
                  <a:pt x="5500117" y="4147371"/>
                </a:cubicBezTo>
                <a:cubicBezTo>
                  <a:pt x="5496687" y="4142228"/>
                  <a:pt x="5507832" y="4121653"/>
                  <a:pt x="5508689" y="4119082"/>
                </a:cubicBezTo>
                <a:cubicBezTo>
                  <a:pt x="5509546" y="4116510"/>
                  <a:pt x="5508689" y="4103651"/>
                  <a:pt x="5508689" y="4103651"/>
                </a:cubicBezTo>
                <a:cubicBezTo>
                  <a:pt x="5508689" y="4103651"/>
                  <a:pt x="5514690" y="4097651"/>
                  <a:pt x="5518119" y="4096793"/>
                </a:cubicBezTo>
                <a:cubicBezTo>
                  <a:pt x="5521548" y="4095936"/>
                  <a:pt x="5527549" y="4091650"/>
                  <a:pt x="5531835" y="4087363"/>
                </a:cubicBezTo>
                <a:cubicBezTo>
                  <a:pt x="5536121" y="4083077"/>
                  <a:pt x="5530120" y="4078791"/>
                  <a:pt x="5530120" y="4078791"/>
                </a:cubicBezTo>
                <a:cubicBezTo>
                  <a:pt x="5530120" y="4078791"/>
                  <a:pt x="5532692" y="4073648"/>
                  <a:pt x="5534407" y="4070218"/>
                </a:cubicBezTo>
                <a:cubicBezTo>
                  <a:pt x="5536121" y="4066789"/>
                  <a:pt x="5535264" y="4059074"/>
                  <a:pt x="5535264" y="4056503"/>
                </a:cubicBezTo>
                <a:cubicBezTo>
                  <a:pt x="5535264" y="4053930"/>
                  <a:pt x="5532692" y="4049644"/>
                  <a:pt x="5530977" y="4045358"/>
                </a:cubicBezTo>
                <a:cubicBezTo>
                  <a:pt x="5528406" y="4041072"/>
                  <a:pt x="5530977" y="4036785"/>
                  <a:pt x="5532692" y="4034214"/>
                </a:cubicBezTo>
                <a:cubicBezTo>
                  <a:pt x="5535264" y="4031642"/>
                  <a:pt x="5538693" y="4023070"/>
                  <a:pt x="5542122" y="4020498"/>
                </a:cubicBezTo>
                <a:cubicBezTo>
                  <a:pt x="5545551" y="4017926"/>
                  <a:pt x="5546408" y="4013640"/>
                  <a:pt x="5547265" y="4007639"/>
                </a:cubicBezTo>
                <a:cubicBezTo>
                  <a:pt x="5548122" y="4001638"/>
                  <a:pt x="5543836" y="4001638"/>
                  <a:pt x="5542122" y="4000781"/>
                </a:cubicBezTo>
                <a:cubicBezTo>
                  <a:pt x="5540407" y="3999924"/>
                  <a:pt x="5537836" y="3998209"/>
                  <a:pt x="5529263" y="3993923"/>
                </a:cubicBezTo>
                <a:cubicBezTo>
                  <a:pt x="5521548" y="3988780"/>
                  <a:pt x="5524119" y="3985351"/>
                  <a:pt x="5520691" y="3982779"/>
                </a:cubicBezTo>
                <a:cubicBezTo>
                  <a:pt x="5517262" y="3980207"/>
                  <a:pt x="5511261" y="3981064"/>
                  <a:pt x="5504403" y="3981922"/>
                </a:cubicBezTo>
                <a:cubicBezTo>
                  <a:pt x="5497545" y="3982779"/>
                  <a:pt x="5502688" y="3977636"/>
                  <a:pt x="5500974" y="3976778"/>
                </a:cubicBezTo>
                <a:cubicBezTo>
                  <a:pt x="5499259" y="3975921"/>
                  <a:pt x="5494116" y="3973349"/>
                  <a:pt x="5488115" y="3971635"/>
                </a:cubicBezTo>
                <a:cubicBezTo>
                  <a:pt x="5482971" y="3969920"/>
                  <a:pt x="5486401" y="3964777"/>
                  <a:pt x="5486401" y="3964777"/>
                </a:cubicBezTo>
                <a:cubicBezTo>
                  <a:pt x="5486401" y="3964777"/>
                  <a:pt x="5479542" y="3963919"/>
                  <a:pt x="5476971" y="3963062"/>
                </a:cubicBezTo>
                <a:cubicBezTo>
                  <a:pt x="5474399" y="3963062"/>
                  <a:pt x="5474399" y="3958776"/>
                  <a:pt x="5475256" y="3957061"/>
                </a:cubicBezTo>
                <a:cubicBezTo>
                  <a:pt x="5476114" y="3954490"/>
                  <a:pt x="5474399" y="3947632"/>
                  <a:pt x="5474399" y="3947632"/>
                </a:cubicBezTo>
                <a:cubicBezTo>
                  <a:pt x="5474399" y="3947632"/>
                  <a:pt x="5473542" y="3939059"/>
                  <a:pt x="5469256" y="3938202"/>
                </a:cubicBezTo>
                <a:cubicBezTo>
                  <a:pt x="5464969" y="3936487"/>
                  <a:pt x="5466684" y="3933058"/>
                  <a:pt x="5464969" y="3932201"/>
                </a:cubicBezTo>
                <a:cubicBezTo>
                  <a:pt x="5462397" y="3931344"/>
                  <a:pt x="5455539" y="3930487"/>
                  <a:pt x="5453825" y="3930487"/>
                </a:cubicBezTo>
                <a:cubicBezTo>
                  <a:pt x="5452968" y="3930487"/>
                  <a:pt x="5445252" y="3928772"/>
                  <a:pt x="5444395" y="3925343"/>
                </a:cubicBezTo>
                <a:cubicBezTo>
                  <a:pt x="5443538" y="3922771"/>
                  <a:pt x="5443538" y="3917628"/>
                  <a:pt x="5441824" y="3916771"/>
                </a:cubicBezTo>
                <a:cubicBezTo>
                  <a:pt x="5440109" y="3915913"/>
                  <a:pt x="5438394" y="3910770"/>
                  <a:pt x="5437537" y="3907341"/>
                </a:cubicBezTo>
                <a:cubicBezTo>
                  <a:pt x="5435823" y="3903912"/>
                  <a:pt x="5433251" y="3903912"/>
                  <a:pt x="5431536" y="3903055"/>
                </a:cubicBezTo>
                <a:cubicBezTo>
                  <a:pt x="5429822" y="3902197"/>
                  <a:pt x="5422107" y="3906484"/>
                  <a:pt x="5419535" y="3905626"/>
                </a:cubicBezTo>
                <a:cubicBezTo>
                  <a:pt x="5416963" y="3904769"/>
                  <a:pt x="5420392" y="3899626"/>
                  <a:pt x="5418678" y="3897911"/>
                </a:cubicBezTo>
                <a:cubicBezTo>
                  <a:pt x="5417821" y="3896197"/>
                  <a:pt x="5416963" y="3897054"/>
                  <a:pt x="5411820" y="3896197"/>
                </a:cubicBezTo>
                <a:cubicBezTo>
                  <a:pt x="5406676" y="3895339"/>
                  <a:pt x="5406676" y="3899626"/>
                  <a:pt x="5406676" y="3899626"/>
                </a:cubicBezTo>
                <a:lnTo>
                  <a:pt x="5404104" y="3903055"/>
                </a:lnTo>
                <a:cubicBezTo>
                  <a:pt x="5404104" y="3903055"/>
                  <a:pt x="5402390" y="3905626"/>
                  <a:pt x="5398104" y="3911627"/>
                </a:cubicBezTo>
                <a:cubicBezTo>
                  <a:pt x="5393817" y="3917628"/>
                  <a:pt x="5398104" y="3911627"/>
                  <a:pt x="5396389" y="3909913"/>
                </a:cubicBezTo>
                <a:cubicBezTo>
                  <a:pt x="5394675" y="3908198"/>
                  <a:pt x="5394675" y="3908198"/>
                  <a:pt x="5393817" y="3906484"/>
                </a:cubicBezTo>
                <a:cubicBezTo>
                  <a:pt x="5392103" y="3904769"/>
                  <a:pt x="5389531" y="3897054"/>
                  <a:pt x="5390389" y="3893625"/>
                </a:cubicBezTo>
                <a:cubicBezTo>
                  <a:pt x="5391246" y="3890196"/>
                  <a:pt x="5392960" y="3886767"/>
                  <a:pt x="5393817" y="3884195"/>
                </a:cubicBezTo>
                <a:cubicBezTo>
                  <a:pt x="5394675" y="3881623"/>
                  <a:pt x="5392960" y="3879909"/>
                  <a:pt x="5392960" y="3871336"/>
                </a:cubicBezTo>
                <a:cubicBezTo>
                  <a:pt x="5392960" y="3862764"/>
                  <a:pt x="5392960" y="3863621"/>
                  <a:pt x="5393817" y="3861049"/>
                </a:cubicBezTo>
                <a:cubicBezTo>
                  <a:pt x="5393817" y="3858478"/>
                  <a:pt x="5392960" y="3855906"/>
                  <a:pt x="5392960" y="3853334"/>
                </a:cubicBezTo>
                <a:cubicBezTo>
                  <a:pt x="5392960" y="3850762"/>
                  <a:pt x="5388674" y="3851620"/>
                  <a:pt x="5388674" y="3851620"/>
                </a:cubicBezTo>
                <a:cubicBezTo>
                  <a:pt x="5392103" y="3836189"/>
                  <a:pt x="5402390" y="3815615"/>
                  <a:pt x="5402390" y="3815615"/>
                </a:cubicBezTo>
                <a:cubicBezTo>
                  <a:pt x="5402390" y="3815615"/>
                  <a:pt x="5400676" y="3825045"/>
                  <a:pt x="5400676" y="3826759"/>
                </a:cubicBezTo>
                <a:cubicBezTo>
                  <a:pt x="5400676" y="3828474"/>
                  <a:pt x="5399818" y="3831903"/>
                  <a:pt x="5399818" y="3833617"/>
                </a:cubicBezTo>
                <a:cubicBezTo>
                  <a:pt x="5399818" y="3835332"/>
                  <a:pt x="5398961" y="3839618"/>
                  <a:pt x="5398961" y="3841333"/>
                </a:cubicBezTo>
                <a:cubicBezTo>
                  <a:pt x="5398961" y="3843047"/>
                  <a:pt x="5400676" y="3842190"/>
                  <a:pt x="5401533" y="3842190"/>
                </a:cubicBezTo>
                <a:cubicBezTo>
                  <a:pt x="5403247" y="3841333"/>
                  <a:pt x="5404104" y="3842190"/>
                  <a:pt x="5406676" y="3845619"/>
                </a:cubicBezTo>
                <a:cubicBezTo>
                  <a:pt x="5409248" y="3849048"/>
                  <a:pt x="5406676" y="3845619"/>
                  <a:pt x="5408391" y="3845619"/>
                </a:cubicBezTo>
                <a:cubicBezTo>
                  <a:pt x="5409248" y="3845619"/>
                  <a:pt x="5411820" y="3849048"/>
                  <a:pt x="5412677" y="3850762"/>
                </a:cubicBezTo>
                <a:cubicBezTo>
                  <a:pt x="5413534" y="3852477"/>
                  <a:pt x="5411820" y="3854191"/>
                  <a:pt x="5411820" y="3857621"/>
                </a:cubicBezTo>
                <a:cubicBezTo>
                  <a:pt x="5410962" y="3861049"/>
                  <a:pt x="5411820" y="3857621"/>
                  <a:pt x="5413534" y="3859335"/>
                </a:cubicBezTo>
                <a:cubicBezTo>
                  <a:pt x="5415249" y="3861049"/>
                  <a:pt x="5417821" y="3861049"/>
                  <a:pt x="5418678" y="3861907"/>
                </a:cubicBezTo>
                <a:cubicBezTo>
                  <a:pt x="5420392" y="3862764"/>
                  <a:pt x="5422964" y="3860192"/>
                  <a:pt x="5425536" y="3861049"/>
                </a:cubicBezTo>
                <a:cubicBezTo>
                  <a:pt x="5428107" y="3861049"/>
                  <a:pt x="5428107" y="3862764"/>
                  <a:pt x="5428965" y="3865336"/>
                </a:cubicBezTo>
                <a:cubicBezTo>
                  <a:pt x="5429822" y="3868765"/>
                  <a:pt x="5429822" y="3868765"/>
                  <a:pt x="5430679" y="3868765"/>
                </a:cubicBezTo>
                <a:cubicBezTo>
                  <a:pt x="5431536" y="3868765"/>
                  <a:pt x="5433251" y="3866193"/>
                  <a:pt x="5434108" y="3865336"/>
                </a:cubicBezTo>
                <a:cubicBezTo>
                  <a:pt x="5434966" y="3864478"/>
                  <a:pt x="5435823" y="3861049"/>
                  <a:pt x="5435823" y="3861049"/>
                </a:cubicBezTo>
                <a:lnTo>
                  <a:pt x="5432394" y="3858478"/>
                </a:lnTo>
                <a:lnTo>
                  <a:pt x="5427250" y="3855049"/>
                </a:lnTo>
                <a:lnTo>
                  <a:pt x="5421249" y="3853334"/>
                </a:lnTo>
                <a:cubicBezTo>
                  <a:pt x="5421249" y="3853334"/>
                  <a:pt x="5417821" y="3852477"/>
                  <a:pt x="5415249" y="3852477"/>
                </a:cubicBezTo>
                <a:cubicBezTo>
                  <a:pt x="5412677" y="3852477"/>
                  <a:pt x="5415249" y="3846476"/>
                  <a:pt x="5415249" y="3845619"/>
                </a:cubicBezTo>
                <a:cubicBezTo>
                  <a:pt x="5415249" y="3843904"/>
                  <a:pt x="5415249" y="3837904"/>
                  <a:pt x="5415249" y="3837904"/>
                </a:cubicBezTo>
                <a:cubicBezTo>
                  <a:pt x="5415249" y="3837904"/>
                  <a:pt x="5411820" y="3837046"/>
                  <a:pt x="5410962" y="3837046"/>
                </a:cubicBezTo>
                <a:cubicBezTo>
                  <a:pt x="5410105" y="3837046"/>
                  <a:pt x="5406676" y="3834475"/>
                  <a:pt x="5406676" y="3833617"/>
                </a:cubicBezTo>
                <a:cubicBezTo>
                  <a:pt x="5406676" y="3831903"/>
                  <a:pt x="5407534" y="3828474"/>
                  <a:pt x="5410105" y="3826759"/>
                </a:cubicBezTo>
                <a:cubicBezTo>
                  <a:pt x="5411820" y="3825045"/>
                  <a:pt x="5419535" y="3822473"/>
                  <a:pt x="5420392" y="3822473"/>
                </a:cubicBezTo>
                <a:cubicBezTo>
                  <a:pt x="5421249" y="3821616"/>
                  <a:pt x="5423821" y="3819044"/>
                  <a:pt x="5425536" y="3818187"/>
                </a:cubicBezTo>
                <a:cubicBezTo>
                  <a:pt x="5426393" y="3817330"/>
                  <a:pt x="5428965" y="3813901"/>
                  <a:pt x="5428965" y="3810472"/>
                </a:cubicBezTo>
                <a:cubicBezTo>
                  <a:pt x="5429822" y="3807900"/>
                  <a:pt x="5431536" y="3803614"/>
                  <a:pt x="5432394" y="3801899"/>
                </a:cubicBezTo>
                <a:cubicBezTo>
                  <a:pt x="5433251" y="3800185"/>
                  <a:pt x="5433251" y="3795898"/>
                  <a:pt x="5434108" y="3792469"/>
                </a:cubicBezTo>
                <a:cubicBezTo>
                  <a:pt x="5434966" y="3789898"/>
                  <a:pt x="5438394" y="3785611"/>
                  <a:pt x="5439252" y="3785611"/>
                </a:cubicBezTo>
                <a:cubicBezTo>
                  <a:pt x="5440109" y="3785611"/>
                  <a:pt x="5448681" y="3779611"/>
                  <a:pt x="5451253" y="3776182"/>
                </a:cubicBezTo>
                <a:cubicBezTo>
                  <a:pt x="5453825" y="3772753"/>
                  <a:pt x="5458111" y="3770181"/>
                  <a:pt x="5458111" y="3770181"/>
                </a:cubicBezTo>
                <a:lnTo>
                  <a:pt x="5460683" y="3764180"/>
                </a:lnTo>
                <a:cubicBezTo>
                  <a:pt x="5460683" y="3764180"/>
                  <a:pt x="5461540" y="3762466"/>
                  <a:pt x="5466684" y="3761608"/>
                </a:cubicBezTo>
                <a:cubicBezTo>
                  <a:pt x="5471827" y="3759894"/>
                  <a:pt x="5474399" y="3757322"/>
                  <a:pt x="5474399" y="3757322"/>
                </a:cubicBezTo>
                <a:cubicBezTo>
                  <a:pt x="5474399" y="3757322"/>
                  <a:pt x="5476971" y="3751321"/>
                  <a:pt x="5476971" y="3749607"/>
                </a:cubicBezTo>
                <a:cubicBezTo>
                  <a:pt x="5476971" y="3747892"/>
                  <a:pt x="5479542" y="3747035"/>
                  <a:pt x="5479542" y="3747035"/>
                </a:cubicBezTo>
                <a:cubicBezTo>
                  <a:pt x="5479542" y="3747035"/>
                  <a:pt x="5488115" y="3741892"/>
                  <a:pt x="5488115" y="3741034"/>
                </a:cubicBezTo>
                <a:cubicBezTo>
                  <a:pt x="5488115" y="3740177"/>
                  <a:pt x="5488972" y="3739320"/>
                  <a:pt x="5491544" y="3738463"/>
                </a:cubicBezTo>
                <a:cubicBezTo>
                  <a:pt x="5494116" y="3737606"/>
                  <a:pt x="5495830" y="3738463"/>
                  <a:pt x="5498402" y="3739320"/>
                </a:cubicBezTo>
                <a:cubicBezTo>
                  <a:pt x="5500117" y="3740177"/>
                  <a:pt x="5503546" y="3741034"/>
                  <a:pt x="5507832" y="3741892"/>
                </a:cubicBezTo>
                <a:cubicBezTo>
                  <a:pt x="5512118" y="3742749"/>
                  <a:pt x="5512975" y="3741034"/>
                  <a:pt x="5512975" y="3741034"/>
                </a:cubicBezTo>
                <a:cubicBezTo>
                  <a:pt x="5512975" y="3741034"/>
                  <a:pt x="5514690" y="3736748"/>
                  <a:pt x="5514690" y="3735034"/>
                </a:cubicBezTo>
                <a:cubicBezTo>
                  <a:pt x="5514690" y="3733319"/>
                  <a:pt x="5513832" y="3731605"/>
                  <a:pt x="5513832" y="3731605"/>
                </a:cubicBezTo>
                <a:cubicBezTo>
                  <a:pt x="5513832" y="3731605"/>
                  <a:pt x="5510404" y="3729890"/>
                  <a:pt x="5509546" y="3729890"/>
                </a:cubicBezTo>
                <a:cubicBezTo>
                  <a:pt x="5508689" y="3729890"/>
                  <a:pt x="5511261" y="3723032"/>
                  <a:pt x="5511261" y="3723032"/>
                </a:cubicBezTo>
                <a:lnTo>
                  <a:pt x="5517262" y="3718746"/>
                </a:lnTo>
                <a:cubicBezTo>
                  <a:pt x="5517262" y="3718746"/>
                  <a:pt x="5522405" y="3714460"/>
                  <a:pt x="5525834" y="3713602"/>
                </a:cubicBezTo>
                <a:cubicBezTo>
                  <a:pt x="5529263" y="3712745"/>
                  <a:pt x="5529263" y="3717031"/>
                  <a:pt x="5530977" y="3717889"/>
                </a:cubicBezTo>
                <a:cubicBezTo>
                  <a:pt x="5532692" y="3719603"/>
                  <a:pt x="5531835" y="3720461"/>
                  <a:pt x="5531835" y="3720461"/>
                </a:cubicBezTo>
                <a:lnTo>
                  <a:pt x="5524977" y="3724747"/>
                </a:lnTo>
                <a:cubicBezTo>
                  <a:pt x="5524977" y="3724747"/>
                  <a:pt x="5525834" y="3729890"/>
                  <a:pt x="5528406" y="3730747"/>
                </a:cubicBezTo>
                <a:cubicBezTo>
                  <a:pt x="5530977" y="3731605"/>
                  <a:pt x="5536978" y="3730747"/>
                  <a:pt x="5536978" y="3730747"/>
                </a:cubicBezTo>
                <a:lnTo>
                  <a:pt x="5542122" y="3727318"/>
                </a:lnTo>
                <a:lnTo>
                  <a:pt x="5543836" y="3723032"/>
                </a:lnTo>
                <a:lnTo>
                  <a:pt x="5543836" y="3716174"/>
                </a:lnTo>
                <a:cubicBezTo>
                  <a:pt x="5543836" y="3716174"/>
                  <a:pt x="5542979" y="3712745"/>
                  <a:pt x="5542979" y="3710173"/>
                </a:cubicBezTo>
                <a:cubicBezTo>
                  <a:pt x="5542979" y="3707602"/>
                  <a:pt x="5544694" y="3706744"/>
                  <a:pt x="5545551" y="3705887"/>
                </a:cubicBezTo>
                <a:cubicBezTo>
                  <a:pt x="5546408" y="3704173"/>
                  <a:pt x="5548980" y="3703316"/>
                  <a:pt x="5548980" y="3703316"/>
                </a:cubicBezTo>
                <a:lnTo>
                  <a:pt x="5551552" y="3699029"/>
                </a:lnTo>
                <a:cubicBezTo>
                  <a:pt x="5551552" y="3699029"/>
                  <a:pt x="5551552" y="3693886"/>
                  <a:pt x="5551552" y="3692171"/>
                </a:cubicBezTo>
                <a:cubicBezTo>
                  <a:pt x="5551552" y="3691314"/>
                  <a:pt x="5556695" y="3684456"/>
                  <a:pt x="5557552" y="3683599"/>
                </a:cubicBezTo>
                <a:cubicBezTo>
                  <a:pt x="5559267" y="3682741"/>
                  <a:pt x="5560124" y="3679312"/>
                  <a:pt x="5560124" y="3679312"/>
                </a:cubicBezTo>
                <a:lnTo>
                  <a:pt x="5552409" y="3675883"/>
                </a:lnTo>
                <a:cubicBezTo>
                  <a:pt x="5543408" y="3675883"/>
                  <a:pt x="5532906" y="3679741"/>
                  <a:pt x="5522218" y="3685527"/>
                </a:cubicBezTo>
                <a:lnTo>
                  <a:pt x="5496913" y="3702672"/>
                </a:lnTo>
                <a:lnTo>
                  <a:pt x="5518815" y="3683786"/>
                </a:lnTo>
                <a:cubicBezTo>
                  <a:pt x="5583431" y="3642075"/>
                  <a:pt x="5647564" y="3633878"/>
                  <a:pt x="5647564" y="3633878"/>
                </a:cubicBezTo>
                <a:cubicBezTo>
                  <a:pt x="5658708" y="3631306"/>
                  <a:pt x="5702427" y="3631306"/>
                  <a:pt x="5699857" y="3627877"/>
                </a:cubicBezTo>
                <a:close/>
                <a:moveTo>
                  <a:pt x="4861612" y="3580313"/>
                </a:moveTo>
                <a:cubicBezTo>
                  <a:pt x="4765935" y="3577782"/>
                  <a:pt x="4673513" y="3631306"/>
                  <a:pt x="4631722" y="3723889"/>
                </a:cubicBezTo>
                <a:cubicBezTo>
                  <a:pt x="4576000" y="3847334"/>
                  <a:pt x="4630007" y="3993066"/>
                  <a:pt x="4753451" y="4048788"/>
                </a:cubicBezTo>
                <a:cubicBezTo>
                  <a:pt x="4876896" y="4105366"/>
                  <a:pt x="5021771" y="4050502"/>
                  <a:pt x="5078350" y="3927058"/>
                </a:cubicBezTo>
                <a:cubicBezTo>
                  <a:pt x="5134071" y="3803614"/>
                  <a:pt x="5080064" y="3657881"/>
                  <a:pt x="4956620" y="3602159"/>
                </a:cubicBezTo>
                <a:cubicBezTo>
                  <a:pt x="4925759" y="3588229"/>
                  <a:pt x="4893505" y="3581157"/>
                  <a:pt x="4861612" y="3580313"/>
                </a:cubicBezTo>
                <a:close/>
                <a:moveTo>
                  <a:pt x="4863113" y="3524739"/>
                </a:moveTo>
                <a:cubicBezTo>
                  <a:pt x="4902238" y="3525757"/>
                  <a:pt x="4941832" y="3534437"/>
                  <a:pt x="4979766" y="3551582"/>
                </a:cubicBezTo>
                <a:cubicBezTo>
                  <a:pt x="5131499" y="3621019"/>
                  <a:pt x="5198365" y="3799328"/>
                  <a:pt x="5128928" y="3950204"/>
                </a:cubicBezTo>
                <a:cubicBezTo>
                  <a:pt x="5068921" y="4082221"/>
                  <a:pt x="4924902" y="4149917"/>
                  <a:pt x="4788185" y="4118835"/>
                </a:cubicBezTo>
                <a:lnTo>
                  <a:pt x="4769854" y="4112669"/>
                </a:lnTo>
                <a:lnTo>
                  <a:pt x="4736576" y="4185841"/>
                </a:lnTo>
                <a:lnTo>
                  <a:pt x="4739414" y="4190448"/>
                </a:lnTo>
                <a:cubicBezTo>
                  <a:pt x="4745307" y="4206093"/>
                  <a:pt x="4745307" y="4224095"/>
                  <a:pt x="4738021" y="4240811"/>
                </a:cubicBezTo>
                <a:lnTo>
                  <a:pt x="4623149" y="4492842"/>
                </a:lnTo>
                <a:cubicBezTo>
                  <a:pt x="4608576" y="4525418"/>
                  <a:pt x="4570000" y="4539991"/>
                  <a:pt x="4536567" y="4525418"/>
                </a:cubicBezTo>
                <a:cubicBezTo>
                  <a:pt x="4503991" y="4510845"/>
                  <a:pt x="4489418" y="4472268"/>
                  <a:pt x="4503991" y="4438835"/>
                </a:cubicBezTo>
                <a:lnTo>
                  <a:pt x="4618863" y="4186804"/>
                </a:lnTo>
                <a:cubicBezTo>
                  <a:pt x="4624328" y="4174588"/>
                  <a:pt x="4633169" y="4164904"/>
                  <a:pt x="4643847" y="4158339"/>
                </a:cubicBezTo>
                <a:lnTo>
                  <a:pt x="4661831" y="4153470"/>
                </a:lnTo>
                <a:lnTo>
                  <a:pt x="4695622" y="4079170"/>
                </a:lnTo>
                <a:lnTo>
                  <a:pt x="4677765" y="4068771"/>
                </a:lnTo>
                <a:cubicBezTo>
                  <a:pt x="4564829" y="3986624"/>
                  <a:pt x="4521137" y="3833511"/>
                  <a:pt x="4581144" y="3700743"/>
                </a:cubicBezTo>
                <a:cubicBezTo>
                  <a:pt x="4632579" y="3587586"/>
                  <a:pt x="4745736" y="3521685"/>
                  <a:pt x="4863113" y="3524739"/>
                </a:cubicBezTo>
                <a:close/>
                <a:moveTo>
                  <a:pt x="1544765" y="3428138"/>
                </a:moveTo>
                <a:cubicBezTo>
                  <a:pt x="1544765" y="3428138"/>
                  <a:pt x="1624490" y="3511291"/>
                  <a:pt x="1620204" y="3555010"/>
                </a:cubicBezTo>
                <a:cubicBezTo>
                  <a:pt x="1615918" y="3598730"/>
                  <a:pt x="1532764" y="3615018"/>
                  <a:pt x="1532764" y="3615018"/>
                </a:cubicBezTo>
                <a:cubicBezTo>
                  <a:pt x="1532764" y="3615018"/>
                  <a:pt x="1645922" y="3615018"/>
                  <a:pt x="1646779" y="3561011"/>
                </a:cubicBezTo>
                <a:cubicBezTo>
                  <a:pt x="1647636" y="3507004"/>
                  <a:pt x="1544765" y="3428138"/>
                  <a:pt x="1544765" y="3428138"/>
                </a:cubicBezTo>
                <a:close/>
                <a:moveTo>
                  <a:pt x="408910" y="3284263"/>
                </a:moveTo>
                <a:lnTo>
                  <a:pt x="393653" y="3296390"/>
                </a:lnTo>
                <a:cubicBezTo>
                  <a:pt x="373702" y="3310964"/>
                  <a:pt x="354008" y="3324077"/>
                  <a:pt x="334836" y="3335610"/>
                </a:cubicBezTo>
                <a:lnTo>
                  <a:pt x="325136" y="3340789"/>
                </a:lnTo>
                <a:lnTo>
                  <a:pt x="330318" y="3354497"/>
                </a:lnTo>
                <a:cubicBezTo>
                  <a:pt x="351753" y="3400123"/>
                  <a:pt x="378758" y="3427281"/>
                  <a:pt x="408051" y="3427281"/>
                </a:cubicBezTo>
                <a:cubicBezTo>
                  <a:pt x="434090" y="3427281"/>
                  <a:pt x="458321" y="3405823"/>
                  <a:pt x="478438" y="3369010"/>
                </a:cubicBezTo>
                <a:lnTo>
                  <a:pt x="491268" y="3340334"/>
                </a:lnTo>
                <a:lnTo>
                  <a:pt x="481268" y="3334978"/>
                </a:lnTo>
                <a:close/>
                <a:moveTo>
                  <a:pt x="385103" y="3234417"/>
                </a:moveTo>
                <a:lnTo>
                  <a:pt x="394907" y="3243179"/>
                </a:lnTo>
                <a:lnTo>
                  <a:pt x="407331" y="3251843"/>
                </a:lnTo>
                <a:lnTo>
                  <a:pt x="427247" y="3234680"/>
                </a:lnTo>
                <a:lnTo>
                  <a:pt x="408051" y="3236114"/>
                </a:lnTo>
                <a:close/>
                <a:moveTo>
                  <a:pt x="293992" y="3227681"/>
                </a:moveTo>
                <a:lnTo>
                  <a:pt x="310863" y="3303036"/>
                </a:lnTo>
                <a:lnTo>
                  <a:pt x="314200" y="3311864"/>
                </a:lnTo>
                <a:lnTo>
                  <a:pt x="346623" y="3294552"/>
                </a:lnTo>
                <a:lnTo>
                  <a:pt x="386844" y="3267724"/>
                </a:lnTo>
                <a:lnTo>
                  <a:pt x="346453" y="3231560"/>
                </a:lnTo>
                <a:close/>
                <a:moveTo>
                  <a:pt x="521204" y="3227662"/>
                </a:moveTo>
                <a:lnTo>
                  <a:pt x="472442" y="3231304"/>
                </a:lnTo>
                <a:lnTo>
                  <a:pt x="454017" y="3248411"/>
                </a:lnTo>
                <a:lnTo>
                  <a:pt x="429899" y="3267581"/>
                </a:lnTo>
                <a:lnTo>
                  <a:pt x="469481" y="3295183"/>
                </a:lnTo>
                <a:lnTo>
                  <a:pt x="501667" y="3312302"/>
                </a:lnTo>
                <a:lnTo>
                  <a:pt x="512504" y="3276718"/>
                </a:lnTo>
                <a:close/>
                <a:moveTo>
                  <a:pt x="645944" y="3207392"/>
                </a:moveTo>
                <a:lnTo>
                  <a:pt x="636239" y="3210346"/>
                </a:lnTo>
                <a:cubicBezTo>
                  <a:pt x="614532" y="3215761"/>
                  <a:pt x="591336" y="3220429"/>
                  <a:pt x="566924" y="3224247"/>
                </a:cubicBezTo>
                <a:lnTo>
                  <a:pt x="548148" y="3225649"/>
                </a:lnTo>
                <a:lnTo>
                  <a:pt x="532529" y="3314283"/>
                </a:lnTo>
                <a:lnTo>
                  <a:pt x="529280" y="3325012"/>
                </a:lnTo>
                <a:lnTo>
                  <a:pt x="558887" y="3336294"/>
                </a:lnTo>
                <a:cubicBezTo>
                  <a:pt x="599166" y="3348093"/>
                  <a:pt x="631474" y="3346164"/>
                  <a:pt x="649797" y="3327840"/>
                </a:cubicBezTo>
                <a:cubicBezTo>
                  <a:pt x="668121" y="3309195"/>
                  <a:pt x="670050" y="3276807"/>
                  <a:pt x="658251" y="3236553"/>
                </a:cubicBezTo>
                <a:close/>
                <a:moveTo>
                  <a:pt x="169104" y="3206549"/>
                </a:moveTo>
                <a:lnTo>
                  <a:pt x="157854" y="3236073"/>
                </a:lnTo>
                <a:cubicBezTo>
                  <a:pt x="146055" y="3276352"/>
                  <a:pt x="147984" y="3308660"/>
                  <a:pt x="166307" y="3326984"/>
                </a:cubicBezTo>
                <a:cubicBezTo>
                  <a:pt x="184631" y="3345629"/>
                  <a:pt x="216939" y="3347638"/>
                  <a:pt x="257218" y="3335814"/>
                </a:cubicBezTo>
                <a:lnTo>
                  <a:pt x="287649" y="3324179"/>
                </a:lnTo>
                <a:lnTo>
                  <a:pt x="269900" y="3244968"/>
                </a:lnTo>
                <a:lnTo>
                  <a:pt x="268468" y="3225793"/>
                </a:lnTo>
                <a:lnTo>
                  <a:pt x="249179" y="3224367"/>
                </a:lnTo>
                <a:close/>
                <a:moveTo>
                  <a:pt x="288917" y="3177713"/>
                </a:moveTo>
                <a:lnTo>
                  <a:pt x="290802" y="3203043"/>
                </a:lnTo>
                <a:lnTo>
                  <a:pt x="316853" y="3205057"/>
                </a:lnTo>
                <a:lnTo>
                  <a:pt x="301752" y="3191537"/>
                </a:lnTo>
                <a:close/>
                <a:moveTo>
                  <a:pt x="528974" y="3176635"/>
                </a:moveTo>
                <a:lnTo>
                  <a:pt x="514351" y="3192395"/>
                </a:lnTo>
                <a:lnTo>
                  <a:pt x="500527" y="3205229"/>
                </a:lnTo>
                <a:lnTo>
                  <a:pt x="525512" y="3203370"/>
                </a:lnTo>
                <a:lnTo>
                  <a:pt x="528388" y="3187154"/>
                </a:lnTo>
                <a:close/>
                <a:moveTo>
                  <a:pt x="1459898" y="3111812"/>
                </a:moveTo>
                <a:cubicBezTo>
                  <a:pt x="1502760" y="3111812"/>
                  <a:pt x="1537907" y="3125528"/>
                  <a:pt x="1537907" y="3141816"/>
                </a:cubicBezTo>
                <a:cubicBezTo>
                  <a:pt x="1537907" y="3141816"/>
                  <a:pt x="1537907" y="3142673"/>
                  <a:pt x="1537907" y="3143530"/>
                </a:cubicBezTo>
                <a:lnTo>
                  <a:pt x="1540479" y="3143530"/>
                </a:lnTo>
                <a:lnTo>
                  <a:pt x="1540479" y="3199252"/>
                </a:lnTo>
                <a:lnTo>
                  <a:pt x="1537907" y="3199252"/>
                </a:lnTo>
                <a:cubicBezTo>
                  <a:pt x="1537050" y="3206110"/>
                  <a:pt x="1532764" y="3212110"/>
                  <a:pt x="1525048" y="3216397"/>
                </a:cubicBezTo>
                <a:cubicBezTo>
                  <a:pt x="1525048" y="3242972"/>
                  <a:pt x="1525048" y="3323553"/>
                  <a:pt x="1525048" y="3344127"/>
                </a:cubicBezTo>
                <a:cubicBezTo>
                  <a:pt x="1525048" y="3368987"/>
                  <a:pt x="1537050" y="3375845"/>
                  <a:pt x="1537050" y="3375845"/>
                </a:cubicBezTo>
                <a:cubicBezTo>
                  <a:pt x="1566197" y="3392990"/>
                  <a:pt x="1731647" y="3561869"/>
                  <a:pt x="1658780" y="3612446"/>
                </a:cubicBezTo>
                <a:cubicBezTo>
                  <a:pt x="1593629" y="3657880"/>
                  <a:pt x="1483900" y="3656166"/>
                  <a:pt x="1461612" y="3655309"/>
                </a:cubicBezTo>
                <a:cubicBezTo>
                  <a:pt x="1439323" y="3656166"/>
                  <a:pt x="1328738" y="3657880"/>
                  <a:pt x="1263587" y="3612446"/>
                </a:cubicBezTo>
                <a:cubicBezTo>
                  <a:pt x="1190721" y="3561011"/>
                  <a:pt x="1358742" y="3392133"/>
                  <a:pt x="1387888" y="3374988"/>
                </a:cubicBezTo>
                <a:cubicBezTo>
                  <a:pt x="1387888" y="3374988"/>
                  <a:pt x="1405033" y="3368130"/>
                  <a:pt x="1405033" y="3343270"/>
                </a:cubicBezTo>
                <a:cubicBezTo>
                  <a:pt x="1405033" y="3322696"/>
                  <a:pt x="1405033" y="3243829"/>
                  <a:pt x="1405033" y="3216397"/>
                </a:cubicBezTo>
                <a:cubicBezTo>
                  <a:pt x="1389603" y="3212110"/>
                  <a:pt x="1383602" y="3206110"/>
                  <a:pt x="1382745" y="3199252"/>
                </a:cubicBezTo>
                <a:lnTo>
                  <a:pt x="1381030" y="3199252"/>
                </a:lnTo>
                <a:lnTo>
                  <a:pt x="1381030" y="3143530"/>
                </a:lnTo>
                <a:lnTo>
                  <a:pt x="1381888" y="3143530"/>
                </a:lnTo>
                <a:cubicBezTo>
                  <a:pt x="1381888" y="3143530"/>
                  <a:pt x="1381888" y="3142673"/>
                  <a:pt x="1381888" y="3141816"/>
                </a:cubicBezTo>
                <a:cubicBezTo>
                  <a:pt x="1381888" y="3125528"/>
                  <a:pt x="1417035" y="3111812"/>
                  <a:pt x="1459898" y="3111812"/>
                </a:cubicBezTo>
                <a:close/>
                <a:moveTo>
                  <a:pt x="590102" y="3107161"/>
                </a:moveTo>
                <a:lnTo>
                  <a:pt x="570367" y="3132026"/>
                </a:lnTo>
                <a:lnTo>
                  <a:pt x="554587" y="3149033"/>
                </a:lnTo>
                <a:lnTo>
                  <a:pt x="551759" y="3200115"/>
                </a:lnTo>
                <a:lnTo>
                  <a:pt x="599532" y="3190547"/>
                </a:lnTo>
                <a:lnTo>
                  <a:pt x="634360" y="3179941"/>
                </a:lnTo>
                <a:lnTo>
                  <a:pt x="630590" y="3171008"/>
                </a:lnTo>
                <a:close/>
                <a:moveTo>
                  <a:pt x="226426" y="3105365"/>
                </a:moveTo>
                <a:lnTo>
                  <a:pt x="198965" y="3146668"/>
                </a:lnTo>
                <a:lnTo>
                  <a:pt x="181775" y="3178985"/>
                </a:lnTo>
                <a:lnTo>
                  <a:pt x="216948" y="3190170"/>
                </a:lnTo>
                <a:lnTo>
                  <a:pt x="266550" y="3200120"/>
                </a:lnTo>
                <a:lnTo>
                  <a:pt x="262773" y="3149552"/>
                </a:lnTo>
                <a:lnTo>
                  <a:pt x="245737" y="3131203"/>
                </a:lnTo>
                <a:close/>
                <a:moveTo>
                  <a:pt x="556573" y="3065846"/>
                </a:moveTo>
                <a:lnTo>
                  <a:pt x="558070" y="3086095"/>
                </a:lnTo>
                <a:lnTo>
                  <a:pt x="557031" y="3104875"/>
                </a:lnTo>
                <a:lnTo>
                  <a:pt x="573606" y="3085614"/>
                </a:lnTo>
                <a:close/>
                <a:moveTo>
                  <a:pt x="259173" y="3065486"/>
                </a:moveTo>
                <a:lnTo>
                  <a:pt x="241966" y="3085481"/>
                </a:lnTo>
                <a:lnTo>
                  <a:pt x="259516" y="3105960"/>
                </a:lnTo>
                <a:lnTo>
                  <a:pt x="258032" y="3086095"/>
                </a:lnTo>
                <a:close/>
                <a:moveTo>
                  <a:pt x="408909" y="3023515"/>
                </a:moveTo>
                <a:cubicBezTo>
                  <a:pt x="443199" y="3023515"/>
                  <a:pt x="471488" y="3050947"/>
                  <a:pt x="471488" y="3086095"/>
                </a:cubicBezTo>
                <a:cubicBezTo>
                  <a:pt x="471488" y="3120385"/>
                  <a:pt x="443199" y="3148674"/>
                  <a:pt x="408909" y="3148674"/>
                </a:cubicBezTo>
                <a:cubicBezTo>
                  <a:pt x="374619" y="3148674"/>
                  <a:pt x="346329" y="3121242"/>
                  <a:pt x="346329" y="3086095"/>
                </a:cubicBezTo>
                <a:cubicBezTo>
                  <a:pt x="346329" y="3051805"/>
                  <a:pt x="373761" y="3023515"/>
                  <a:pt x="408909" y="3023515"/>
                </a:cubicBezTo>
                <a:close/>
                <a:moveTo>
                  <a:pt x="153678" y="3002555"/>
                </a:moveTo>
                <a:lnTo>
                  <a:pt x="124280" y="3015709"/>
                </a:lnTo>
                <a:cubicBezTo>
                  <a:pt x="87467" y="3035826"/>
                  <a:pt x="66009" y="3060056"/>
                  <a:pt x="66009" y="3086095"/>
                </a:cubicBezTo>
                <a:cubicBezTo>
                  <a:pt x="66009" y="3107794"/>
                  <a:pt x="80994" y="3128154"/>
                  <a:pt x="107354" y="3145918"/>
                </a:cubicBezTo>
                <a:lnTo>
                  <a:pt x="153101" y="3169496"/>
                </a:lnTo>
                <a:lnTo>
                  <a:pt x="158538" y="3159312"/>
                </a:lnTo>
                <a:cubicBezTo>
                  <a:pt x="170071" y="3140140"/>
                  <a:pt x="183184" y="3120446"/>
                  <a:pt x="197758" y="3100495"/>
                </a:cubicBezTo>
                <a:lnTo>
                  <a:pt x="210657" y="3084265"/>
                </a:lnTo>
                <a:lnTo>
                  <a:pt x="167482" y="3026495"/>
                </a:lnTo>
                <a:close/>
                <a:moveTo>
                  <a:pt x="663026" y="3002411"/>
                </a:moveTo>
                <a:lnTo>
                  <a:pt x="657566" y="3012654"/>
                </a:lnTo>
                <a:cubicBezTo>
                  <a:pt x="646033" y="3031861"/>
                  <a:pt x="632920" y="3051592"/>
                  <a:pt x="618347" y="3071576"/>
                </a:cubicBezTo>
                <a:lnTo>
                  <a:pt x="606027" y="3087098"/>
                </a:lnTo>
                <a:lnTo>
                  <a:pt x="648622" y="3144181"/>
                </a:lnTo>
                <a:lnTo>
                  <a:pt x="663100" y="3169333"/>
                </a:lnTo>
                <a:lnTo>
                  <a:pt x="691823" y="3156482"/>
                </a:lnTo>
                <a:cubicBezTo>
                  <a:pt x="728636" y="3136365"/>
                  <a:pt x="750094" y="3112134"/>
                  <a:pt x="750094" y="3086095"/>
                </a:cubicBezTo>
                <a:cubicBezTo>
                  <a:pt x="750094" y="3064396"/>
                  <a:pt x="735109" y="3043953"/>
                  <a:pt x="708749" y="3026099"/>
                </a:cubicBezTo>
                <a:close/>
                <a:moveTo>
                  <a:pt x="264344" y="2972075"/>
                </a:moveTo>
                <a:lnTo>
                  <a:pt x="216572" y="2981643"/>
                </a:lnTo>
                <a:lnTo>
                  <a:pt x="182153" y="2992125"/>
                </a:lnTo>
                <a:lnTo>
                  <a:pt x="185871" y="3000908"/>
                </a:lnTo>
                <a:lnTo>
                  <a:pt x="226227" y="3064676"/>
                </a:lnTo>
                <a:lnTo>
                  <a:pt x="245737" y="3040131"/>
                </a:lnTo>
                <a:lnTo>
                  <a:pt x="261518" y="3023133"/>
                </a:lnTo>
                <a:close/>
                <a:moveTo>
                  <a:pt x="549613" y="2971718"/>
                </a:moveTo>
                <a:lnTo>
                  <a:pt x="553247" y="3020858"/>
                </a:lnTo>
                <a:lnTo>
                  <a:pt x="570367" y="3039308"/>
                </a:lnTo>
                <a:lnTo>
                  <a:pt x="589651" y="3065152"/>
                </a:lnTo>
                <a:lnTo>
                  <a:pt x="617139" y="3023810"/>
                </a:lnTo>
                <a:lnTo>
                  <a:pt x="633701" y="2992672"/>
                </a:lnTo>
                <a:lnTo>
                  <a:pt x="599155" y="2981643"/>
                </a:lnTo>
                <a:close/>
                <a:moveTo>
                  <a:pt x="501023" y="2967017"/>
                </a:moveTo>
                <a:lnTo>
                  <a:pt x="514350" y="2978939"/>
                </a:lnTo>
                <a:lnTo>
                  <a:pt x="527186" y="2992772"/>
                </a:lnTo>
                <a:lnTo>
                  <a:pt x="525405" y="2968836"/>
                </a:lnTo>
                <a:close/>
                <a:moveTo>
                  <a:pt x="315586" y="2966960"/>
                </a:moveTo>
                <a:lnTo>
                  <a:pt x="290341" y="2968839"/>
                </a:lnTo>
                <a:lnTo>
                  <a:pt x="287715" y="2983640"/>
                </a:lnTo>
                <a:lnTo>
                  <a:pt x="287044" y="2995639"/>
                </a:lnTo>
                <a:lnTo>
                  <a:pt x="301753" y="2979796"/>
                </a:lnTo>
                <a:close/>
                <a:moveTo>
                  <a:pt x="408051" y="2960079"/>
                </a:moveTo>
                <a:lnTo>
                  <a:pt x="356209" y="2963937"/>
                </a:lnTo>
                <a:lnTo>
                  <a:pt x="318898" y="2996084"/>
                </a:lnTo>
                <a:lnTo>
                  <a:pt x="284805" y="3035702"/>
                </a:lnTo>
                <a:lnTo>
                  <a:pt x="282035" y="3085238"/>
                </a:lnTo>
                <a:lnTo>
                  <a:pt x="285866" y="3136706"/>
                </a:lnTo>
                <a:lnTo>
                  <a:pt x="318897" y="3175250"/>
                </a:lnTo>
                <a:lnTo>
                  <a:pt x="355604" y="3208055"/>
                </a:lnTo>
                <a:lnTo>
                  <a:pt x="408051" y="3212111"/>
                </a:lnTo>
                <a:lnTo>
                  <a:pt x="457727" y="3208414"/>
                </a:lnTo>
                <a:lnTo>
                  <a:pt x="497206" y="3174393"/>
                </a:lnTo>
                <a:lnTo>
                  <a:pt x="531308" y="3134766"/>
                </a:lnTo>
                <a:lnTo>
                  <a:pt x="534067" y="3085238"/>
                </a:lnTo>
                <a:lnTo>
                  <a:pt x="530360" y="3035422"/>
                </a:lnTo>
                <a:lnTo>
                  <a:pt x="497205" y="2996941"/>
                </a:lnTo>
                <a:lnTo>
                  <a:pt x="460323" y="2963980"/>
                </a:lnTo>
                <a:close/>
                <a:moveTo>
                  <a:pt x="407682" y="2919589"/>
                </a:moveTo>
                <a:lnTo>
                  <a:pt x="386715" y="2937654"/>
                </a:lnTo>
                <a:lnTo>
                  <a:pt x="408051" y="2936076"/>
                </a:lnTo>
                <a:lnTo>
                  <a:pt x="430998" y="2937773"/>
                </a:lnTo>
                <a:lnTo>
                  <a:pt x="421196" y="2929013"/>
                </a:lnTo>
                <a:close/>
                <a:moveTo>
                  <a:pt x="313772" y="2860695"/>
                </a:moveTo>
                <a:lnTo>
                  <a:pt x="303599" y="2894135"/>
                </a:lnTo>
                <a:lnTo>
                  <a:pt x="294668" y="2944460"/>
                </a:lnTo>
                <a:lnTo>
                  <a:pt x="343747" y="2940831"/>
                </a:lnTo>
                <a:lnTo>
                  <a:pt x="362122" y="2923781"/>
                </a:lnTo>
                <a:lnTo>
                  <a:pt x="386241" y="2904637"/>
                </a:lnTo>
                <a:lnTo>
                  <a:pt x="346622" y="2877008"/>
                </a:lnTo>
                <a:close/>
                <a:moveTo>
                  <a:pt x="501946" y="2858728"/>
                </a:moveTo>
                <a:lnTo>
                  <a:pt x="469255" y="2876151"/>
                </a:lnTo>
                <a:lnTo>
                  <a:pt x="429247" y="2902810"/>
                </a:lnTo>
                <a:lnTo>
                  <a:pt x="471695" y="2940782"/>
                </a:lnTo>
                <a:lnTo>
                  <a:pt x="522501" y="2944539"/>
                </a:lnTo>
                <a:lnTo>
                  <a:pt x="505240" y="2867440"/>
                </a:lnTo>
                <a:close/>
                <a:moveTo>
                  <a:pt x="219818" y="2828773"/>
                </a:moveTo>
                <a:cubicBezTo>
                  <a:pt x="196953" y="2827205"/>
                  <a:pt x="178523" y="2832135"/>
                  <a:pt x="166307" y="2844350"/>
                </a:cubicBezTo>
                <a:cubicBezTo>
                  <a:pt x="147984" y="2862675"/>
                  <a:pt x="146176" y="2894983"/>
                  <a:pt x="158080" y="2935262"/>
                </a:cubicBezTo>
                <a:lnTo>
                  <a:pt x="170445" y="2964470"/>
                </a:lnTo>
                <a:lnTo>
                  <a:pt x="179864" y="2961618"/>
                </a:lnTo>
                <a:cubicBezTo>
                  <a:pt x="201572" y="2956238"/>
                  <a:pt x="224768" y="2951607"/>
                  <a:pt x="249179" y="2947823"/>
                </a:cubicBezTo>
                <a:lnTo>
                  <a:pt x="267973" y="2946434"/>
                </a:lnTo>
                <a:lnTo>
                  <a:pt x="283574" y="2857908"/>
                </a:lnTo>
                <a:lnTo>
                  <a:pt x="286788" y="2847295"/>
                </a:lnTo>
                <a:lnTo>
                  <a:pt x="277993" y="2842929"/>
                </a:lnTo>
                <a:cubicBezTo>
                  <a:pt x="256609" y="2834778"/>
                  <a:pt x="236967" y="2829948"/>
                  <a:pt x="219818" y="2828773"/>
                </a:cubicBezTo>
                <a:close/>
                <a:moveTo>
                  <a:pt x="595924" y="2827916"/>
                </a:moveTo>
                <a:cubicBezTo>
                  <a:pt x="584472" y="2828700"/>
                  <a:pt x="571928" y="2831107"/>
                  <a:pt x="558510" y="2835040"/>
                </a:cubicBezTo>
                <a:lnTo>
                  <a:pt x="528370" y="2846540"/>
                </a:lnTo>
                <a:lnTo>
                  <a:pt x="546323" y="2927223"/>
                </a:lnTo>
                <a:lnTo>
                  <a:pt x="547742" y="2946405"/>
                </a:lnTo>
                <a:lnTo>
                  <a:pt x="566924" y="2947823"/>
                </a:lnTo>
                <a:lnTo>
                  <a:pt x="646399" y="2965508"/>
                </a:lnTo>
                <a:lnTo>
                  <a:pt x="658251" y="2934405"/>
                </a:lnTo>
                <a:cubicBezTo>
                  <a:pt x="670050" y="2894126"/>
                  <a:pt x="668121" y="2861818"/>
                  <a:pt x="649797" y="2843494"/>
                </a:cubicBezTo>
                <a:cubicBezTo>
                  <a:pt x="637367" y="2831278"/>
                  <a:pt x="618829" y="2826349"/>
                  <a:pt x="595924" y="2827916"/>
                </a:cubicBezTo>
                <a:close/>
                <a:moveTo>
                  <a:pt x="408051" y="2743195"/>
                </a:moveTo>
                <a:cubicBezTo>
                  <a:pt x="382012" y="2743195"/>
                  <a:pt x="357782" y="2764774"/>
                  <a:pt x="337665" y="2801693"/>
                </a:cubicBezTo>
                <a:lnTo>
                  <a:pt x="324723" y="2830683"/>
                </a:lnTo>
                <a:lnTo>
                  <a:pt x="334835" y="2835724"/>
                </a:lnTo>
                <a:lnTo>
                  <a:pt x="408327" y="2887107"/>
                </a:lnTo>
                <a:lnTo>
                  <a:pt x="422572" y="2875801"/>
                </a:lnTo>
                <a:cubicBezTo>
                  <a:pt x="442557" y="2861228"/>
                  <a:pt x="462287" y="2848115"/>
                  <a:pt x="481495" y="2836582"/>
                </a:cubicBezTo>
                <a:lnTo>
                  <a:pt x="491548" y="2831224"/>
                </a:lnTo>
                <a:lnTo>
                  <a:pt x="485785" y="2815980"/>
                </a:lnTo>
                <a:cubicBezTo>
                  <a:pt x="464351" y="2770353"/>
                  <a:pt x="437345" y="2743195"/>
                  <a:pt x="408051" y="2743195"/>
                </a:cubicBezTo>
                <a:close/>
                <a:moveTo>
                  <a:pt x="6236067" y="2687689"/>
                </a:moveTo>
                <a:cubicBezTo>
                  <a:pt x="6239925" y="2687475"/>
                  <a:pt x="6243782" y="2688760"/>
                  <a:pt x="6246782" y="2691760"/>
                </a:cubicBezTo>
                <a:cubicBezTo>
                  <a:pt x="6252783" y="2697761"/>
                  <a:pt x="6253640" y="2707192"/>
                  <a:pt x="6247640" y="2713192"/>
                </a:cubicBezTo>
                <a:lnTo>
                  <a:pt x="6216014" y="2748180"/>
                </a:lnTo>
                <a:lnTo>
                  <a:pt x="6222322" y="2756871"/>
                </a:lnTo>
                <a:cubicBezTo>
                  <a:pt x="6235744" y="2786165"/>
                  <a:pt x="6231565" y="2821847"/>
                  <a:pt x="6209062" y="2846922"/>
                </a:cubicBezTo>
                <a:cubicBezTo>
                  <a:pt x="6193632" y="2863639"/>
                  <a:pt x="6172843" y="2872640"/>
                  <a:pt x="6151734" y="2873711"/>
                </a:cubicBezTo>
                <a:lnTo>
                  <a:pt x="6133744" y="2871200"/>
                </a:lnTo>
                <a:lnTo>
                  <a:pt x="6125031" y="2893063"/>
                </a:lnTo>
                <a:cubicBezTo>
                  <a:pt x="6072016" y="3025978"/>
                  <a:pt x="5930188" y="3380025"/>
                  <a:pt x="5925312" y="3375846"/>
                </a:cubicBezTo>
                <a:cubicBezTo>
                  <a:pt x="5920169" y="3370702"/>
                  <a:pt x="5917597" y="3266975"/>
                  <a:pt x="5917597" y="3266975"/>
                </a:cubicBezTo>
                <a:cubicBezTo>
                  <a:pt x="5917597" y="3266975"/>
                  <a:pt x="6005120" y="3039936"/>
                  <a:pt x="6056644" y="2907754"/>
                </a:cubicBezTo>
                <a:lnTo>
                  <a:pt x="6068648" y="2877062"/>
                </a:lnTo>
                <a:lnTo>
                  <a:pt x="5680138" y="3041518"/>
                </a:lnTo>
                <a:lnTo>
                  <a:pt x="5576411" y="3046661"/>
                </a:lnTo>
                <a:lnTo>
                  <a:pt x="5660422" y="2986654"/>
                </a:lnTo>
                <a:lnTo>
                  <a:pt x="6069879" y="2807820"/>
                </a:lnTo>
                <a:lnTo>
                  <a:pt x="6065771" y="2780383"/>
                </a:lnTo>
                <a:cubicBezTo>
                  <a:pt x="6068031" y="2764586"/>
                  <a:pt x="6074903" y="2749196"/>
                  <a:pt x="6086476" y="2736337"/>
                </a:cubicBezTo>
                <a:cubicBezTo>
                  <a:pt x="6101906" y="2719192"/>
                  <a:pt x="6122694" y="2710191"/>
                  <a:pt x="6143804" y="2709228"/>
                </a:cubicBezTo>
                <a:cubicBezTo>
                  <a:pt x="6154359" y="2708745"/>
                  <a:pt x="6164994" y="2710271"/>
                  <a:pt x="6175080" y="2713794"/>
                </a:cubicBezTo>
                <a:lnTo>
                  <a:pt x="6195368" y="2725788"/>
                </a:lnTo>
                <a:lnTo>
                  <a:pt x="6225351" y="2692617"/>
                </a:lnTo>
                <a:cubicBezTo>
                  <a:pt x="6228352" y="2689618"/>
                  <a:pt x="6232209" y="2687903"/>
                  <a:pt x="6236067" y="2687689"/>
                </a:cubicBezTo>
                <a:close/>
                <a:moveTo>
                  <a:pt x="408051" y="2678044"/>
                </a:moveTo>
                <a:cubicBezTo>
                  <a:pt x="439234" y="2678044"/>
                  <a:pt x="468126" y="2703722"/>
                  <a:pt x="492060" y="2747708"/>
                </a:cubicBezTo>
                <a:lnTo>
                  <a:pt x="519745" y="2816195"/>
                </a:lnTo>
                <a:lnTo>
                  <a:pt x="537283" y="2806846"/>
                </a:lnTo>
                <a:cubicBezTo>
                  <a:pt x="608864" y="2773842"/>
                  <a:pt x="667800" y="2768056"/>
                  <a:pt x="696946" y="2797202"/>
                </a:cubicBezTo>
                <a:cubicBezTo>
                  <a:pt x="726093" y="2826349"/>
                  <a:pt x="720306" y="2885285"/>
                  <a:pt x="687302" y="2956865"/>
                </a:cubicBezTo>
                <a:lnTo>
                  <a:pt x="677955" y="2974402"/>
                </a:lnTo>
                <a:lnTo>
                  <a:pt x="746440" y="3002086"/>
                </a:lnTo>
                <a:cubicBezTo>
                  <a:pt x="790426" y="3026021"/>
                  <a:pt x="816103" y="3054913"/>
                  <a:pt x="816103" y="3086095"/>
                </a:cubicBezTo>
                <a:cubicBezTo>
                  <a:pt x="816103" y="3127243"/>
                  <a:pt x="770455" y="3164748"/>
                  <a:pt x="696624" y="3191966"/>
                </a:cubicBezTo>
                <a:lnTo>
                  <a:pt x="678828" y="3197383"/>
                </a:lnTo>
                <a:lnTo>
                  <a:pt x="698388" y="3240686"/>
                </a:lnTo>
                <a:cubicBezTo>
                  <a:pt x="721207" y="3300318"/>
                  <a:pt x="722450" y="3348629"/>
                  <a:pt x="696946" y="3374132"/>
                </a:cubicBezTo>
                <a:cubicBezTo>
                  <a:pt x="667371" y="3403707"/>
                  <a:pt x="608435" y="3397921"/>
                  <a:pt x="536961" y="3364809"/>
                </a:cubicBezTo>
                <a:lnTo>
                  <a:pt x="519982" y="3355715"/>
                </a:lnTo>
                <a:lnTo>
                  <a:pt x="514243" y="3374667"/>
                </a:lnTo>
                <a:cubicBezTo>
                  <a:pt x="487133" y="3448498"/>
                  <a:pt x="449628" y="3494146"/>
                  <a:pt x="408051" y="3494146"/>
                </a:cubicBezTo>
                <a:cubicBezTo>
                  <a:pt x="377190" y="3494146"/>
                  <a:pt x="348379" y="3468469"/>
                  <a:pt x="324419" y="3424483"/>
                </a:cubicBezTo>
                <a:lnTo>
                  <a:pt x="296648" y="3355999"/>
                </a:lnTo>
                <a:lnTo>
                  <a:pt x="279143" y="3365346"/>
                </a:lnTo>
                <a:cubicBezTo>
                  <a:pt x="207669" y="3398350"/>
                  <a:pt x="148733" y="3404137"/>
                  <a:pt x="119158" y="3374990"/>
                </a:cubicBezTo>
                <a:cubicBezTo>
                  <a:pt x="90011" y="3345415"/>
                  <a:pt x="95798" y="3286479"/>
                  <a:pt x="128803" y="3215005"/>
                </a:cubicBezTo>
                <a:lnTo>
                  <a:pt x="138022" y="3197737"/>
                </a:lnTo>
                <a:lnTo>
                  <a:pt x="69663" y="3170104"/>
                </a:lnTo>
                <a:cubicBezTo>
                  <a:pt x="25677" y="3146169"/>
                  <a:pt x="0" y="3117277"/>
                  <a:pt x="0" y="3086095"/>
                </a:cubicBezTo>
                <a:cubicBezTo>
                  <a:pt x="0" y="3044519"/>
                  <a:pt x="45649" y="3007014"/>
                  <a:pt x="119480" y="2979903"/>
                </a:cubicBezTo>
                <a:lnTo>
                  <a:pt x="137725" y="2974378"/>
                </a:lnTo>
                <a:lnTo>
                  <a:pt x="117717" y="2930147"/>
                </a:lnTo>
                <a:cubicBezTo>
                  <a:pt x="94897" y="2870580"/>
                  <a:pt x="93655" y="2822222"/>
                  <a:pt x="119158" y="2796344"/>
                </a:cubicBezTo>
                <a:cubicBezTo>
                  <a:pt x="133945" y="2781771"/>
                  <a:pt x="156073" y="2775931"/>
                  <a:pt x="183438" y="2777860"/>
                </a:cubicBezTo>
                <a:cubicBezTo>
                  <a:pt x="203962" y="2779308"/>
                  <a:pt x="227432" y="2785123"/>
                  <a:pt x="252960" y="2794903"/>
                </a:cubicBezTo>
                <a:lnTo>
                  <a:pt x="296135" y="2816430"/>
                </a:lnTo>
                <a:lnTo>
                  <a:pt x="301859" y="2797524"/>
                </a:lnTo>
                <a:cubicBezTo>
                  <a:pt x="328970" y="2723693"/>
                  <a:pt x="366475" y="2678044"/>
                  <a:pt x="408051" y="2678044"/>
                </a:cubicBezTo>
                <a:close/>
                <a:moveTo>
                  <a:pt x="5013199" y="2674617"/>
                </a:moveTo>
                <a:lnTo>
                  <a:pt x="5013199" y="3173535"/>
                </a:lnTo>
                <a:lnTo>
                  <a:pt x="5299521" y="3173535"/>
                </a:lnTo>
                <a:close/>
                <a:moveTo>
                  <a:pt x="1456470" y="2362577"/>
                </a:moveTo>
                <a:lnTo>
                  <a:pt x="1669068" y="2628325"/>
                </a:lnTo>
                <a:lnTo>
                  <a:pt x="1485616" y="2776629"/>
                </a:lnTo>
                <a:cubicBezTo>
                  <a:pt x="1485616" y="2776629"/>
                  <a:pt x="1373317" y="2763771"/>
                  <a:pt x="1306451" y="2916361"/>
                </a:cubicBezTo>
                <a:lnTo>
                  <a:pt x="1094710" y="2652328"/>
                </a:lnTo>
                <a:cubicBezTo>
                  <a:pt x="1094710" y="2652328"/>
                  <a:pt x="1159004" y="2492022"/>
                  <a:pt x="1275590" y="2507453"/>
                </a:cubicBezTo>
                <a:close/>
                <a:moveTo>
                  <a:pt x="4655725" y="2293138"/>
                </a:moveTo>
                <a:lnTo>
                  <a:pt x="4792886" y="2293138"/>
                </a:lnTo>
                <a:lnTo>
                  <a:pt x="4792886" y="3310694"/>
                </a:lnTo>
                <a:lnTo>
                  <a:pt x="4655725" y="3310694"/>
                </a:lnTo>
                <a:close/>
                <a:moveTo>
                  <a:pt x="409649" y="2273959"/>
                </a:moveTo>
                <a:lnTo>
                  <a:pt x="459486" y="2287996"/>
                </a:lnTo>
                <a:cubicBezTo>
                  <a:pt x="459486" y="2287996"/>
                  <a:pt x="440627" y="2283924"/>
                  <a:pt x="421017" y="2278031"/>
                </a:cubicBezTo>
                <a:close/>
                <a:moveTo>
                  <a:pt x="4930045" y="2273422"/>
                </a:moveTo>
                <a:lnTo>
                  <a:pt x="5477829" y="3311552"/>
                </a:lnTo>
                <a:lnTo>
                  <a:pt x="4930045" y="3311552"/>
                </a:lnTo>
                <a:close/>
                <a:moveTo>
                  <a:pt x="5782627" y="2202717"/>
                </a:moveTo>
                <a:lnTo>
                  <a:pt x="5767752" y="2214541"/>
                </a:lnTo>
                <a:cubicBezTo>
                  <a:pt x="5747801" y="2229115"/>
                  <a:pt x="5728108" y="2242228"/>
                  <a:pt x="5708935" y="2253760"/>
                </a:cubicBezTo>
                <a:lnTo>
                  <a:pt x="5698749" y="2259199"/>
                </a:lnTo>
                <a:lnTo>
                  <a:pt x="5722156" y="2304260"/>
                </a:lnTo>
                <a:cubicBezTo>
                  <a:pt x="5740009" y="2330529"/>
                  <a:pt x="5760453" y="2345431"/>
                  <a:pt x="5782152" y="2345431"/>
                </a:cubicBezTo>
                <a:cubicBezTo>
                  <a:pt x="5803851" y="2345431"/>
                  <a:pt x="5824294" y="2330530"/>
                  <a:pt x="5842148" y="2304260"/>
                </a:cubicBezTo>
                <a:lnTo>
                  <a:pt x="5865804" y="2258720"/>
                </a:lnTo>
                <a:lnTo>
                  <a:pt x="5855368" y="2253129"/>
                </a:lnTo>
                <a:cubicBezTo>
                  <a:pt x="5836195" y="2241561"/>
                  <a:pt x="5816502" y="2228411"/>
                  <a:pt x="5796551" y="2213804"/>
                </a:cubicBezTo>
                <a:close/>
                <a:moveTo>
                  <a:pt x="5760901" y="2151836"/>
                </a:moveTo>
                <a:lnTo>
                  <a:pt x="5781715" y="2169748"/>
                </a:lnTo>
                <a:lnTo>
                  <a:pt x="5802358" y="2151959"/>
                </a:lnTo>
                <a:lnTo>
                  <a:pt x="5782152" y="2153407"/>
                </a:lnTo>
                <a:close/>
                <a:moveTo>
                  <a:pt x="5896549" y="2145209"/>
                </a:moveTo>
                <a:lnTo>
                  <a:pt x="5847314" y="2148737"/>
                </a:lnTo>
                <a:lnTo>
                  <a:pt x="5828117" y="2166561"/>
                </a:lnTo>
                <a:lnTo>
                  <a:pt x="5803118" y="2186431"/>
                </a:lnTo>
                <a:lnTo>
                  <a:pt x="5843581" y="2213334"/>
                </a:lnTo>
                <a:lnTo>
                  <a:pt x="5875307" y="2230209"/>
                </a:lnTo>
                <a:lnTo>
                  <a:pt x="5886604" y="2194868"/>
                </a:lnTo>
                <a:close/>
                <a:moveTo>
                  <a:pt x="5667701" y="2144945"/>
                </a:moveTo>
                <a:lnTo>
                  <a:pt x="5677700" y="2194868"/>
                </a:lnTo>
                <a:lnTo>
                  <a:pt x="5688842" y="2229724"/>
                </a:lnTo>
                <a:lnTo>
                  <a:pt x="5720722" y="2212702"/>
                </a:lnTo>
                <a:lnTo>
                  <a:pt x="5761232" y="2185681"/>
                </a:lnTo>
                <a:lnTo>
                  <a:pt x="5736186" y="2165739"/>
                </a:lnTo>
                <a:lnTo>
                  <a:pt x="5717789" y="2148648"/>
                </a:lnTo>
                <a:close/>
                <a:moveTo>
                  <a:pt x="6020742" y="2124279"/>
                </a:moveTo>
                <a:lnTo>
                  <a:pt x="5941024" y="2142022"/>
                </a:lnTo>
                <a:lnTo>
                  <a:pt x="5921776" y="2143401"/>
                </a:lnTo>
                <a:lnTo>
                  <a:pt x="5920303" y="2163118"/>
                </a:lnTo>
                <a:lnTo>
                  <a:pt x="5902447" y="2242808"/>
                </a:lnTo>
                <a:lnTo>
                  <a:pt x="5932987" y="2254446"/>
                </a:lnTo>
                <a:cubicBezTo>
                  <a:pt x="5973266" y="2266244"/>
                  <a:pt x="6005573" y="2264317"/>
                  <a:pt x="6023897" y="2245992"/>
                </a:cubicBezTo>
                <a:cubicBezTo>
                  <a:pt x="6042221" y="2227346"/>
                  <a:pt x="6044149" y="2194959"/>
                  <a:pt x="6032350" y="2154704"/>
                </a:cubicBezTo>
                <a:close/>
                <a:moveTo>
                  <a:pt x="5543504" y="2123909"/>
                </a:moveTo>
                <a:lnTo>
                  <a:pt x="5531953" y="2154223"/>
                </a:lnTo>
                <a:cubicBezTo>
                  <a:pt x="5520155" y="2194502"/>
                  <a:pt x="5522083" y="2226811"/>
                  <a:pt x="5540407" y="2245135"/>
                </a:cubicBezTo>
                <a:cubicBezTo>
                  <a:pt x="5558731" y="2263781"/>
                  <a:pt x="5591038" y="2265788"/>
                  <a:pt x="5631317" y="2253964"/>
                </a:cubicBezTo>
                <a:lnTo>
                  <a:pt x="5661749" y="2242328"/>
                </a:lnTo>
                <a:lnTo>
                  <a:pt x="5644001" y="2163118"/>
                </a:lnTo>
                <a:lnTo>
                  <a:pt x="5642504" y="2143082"/>
                </a:lnTo>
                <a:lnTo>
                  <a:pt x="5623279" y="2141660"/>
                </a:lnTo>
                <a:close/>
                <a:moveTo>
                  <a:pt x="5901217" y="2096788"/>
                </a:moveTo>
                <a:lnTo>
                  <a:pt x="5888451" y="2110545"/>
                </a:lnTo>
                <a:lnTo>
                  <a:pt x="5875630" y="2122448"/>
                </a:lnTo>
                <a:lnTo>
                  <a:pt x="5899439" y="2120676"/>
                </a:lnTo>
                <a:close/>
                <a:moveTo>
                  <a:pt x="5663018" y="2095865"/>
                </a:moveTo>
                <a:lnTo>
                  <a:pt x="5664871" y="2120759"/>
                </a:lnTo>
                <a:lnTo>
                  <a:pt x="5689742" y="2122592"/>
                </a:lnTo>
                <a:lnTo>
                  <a:pt x="5675852" y="2109688"/>
                </a:lnTo>
                <a:close/>
                <a:moveTo>
                  <a:pt x="5964361" y="2025112"/>
                </a:moveTo>
                <a:lnTo>
                  <a:pt x="5944467" y="2050176"/>
                </a:lnTo>
                <a:lnTo>
                  <a:pt x="5927363" y="2068609"/>
                </a:lnTo>
                <a:lnTo>
                  <a:pt x="5923685" y="2117844"/>
                </a:lnTo>
                <a:lnTo>
                  <a:pt x="5973632" y="2107841"/>
                </a:lnTo>
                <a:lnTo>
                  <a:pt x="6007981" y="2096861"/>
                </a:lnTo>
                <a:lnTo>
                  <a:pt x="5991239" y="2065450"/>
                </a:lnTo>
                <a:close/>
                <a:moveTo>
                  <a:pt x="5599967" y="2024356"/>
                </a:moveTo>
                <a:lnTo>
                  <a:pt x="5573064" y="2064817"/>
                </a:lnTo>
                <a:lnTo>
                  <a:pt x="5555981" y="2096936"/>
                </a:lnTo>
                <a:lnTo>
                  <a:pt x="5591049" y="2108067"/>
                </a:lnTo>
                <a:lnTo>
                  <a:pt x="5640623" y="2117908"/>
                </a:lnTo>
                <a:lnTo>
                  <a:pt x="5636873" y="2067704"/>
                </a:lnTo>
                <a:lnTo>
                  <a:pt x="5619836" y="2049354"/>
                </a:lnTo>
                <a:close/>
                <a:moveTo>
                  <a:pt x="5930674" y="1983998"/>
                </a:moveTo>
                <a:lnTo>
                  <a:pt x="5932171" y="2004246"/>
                </a:lnTo>
                <a:lnTo>
                  <a:pt x="5930734" y="2023487"/>
                </a:lnTo>
                <a:lnTo>
                  <a:pt x="5947705" y="2003765"/>
                </a:lnTo>
                <a:close/>
                <a:moveTo>
                  <a:pt x="5633693" y="1983147"/>
                </a:moveTo>
                <a:lnTo>
                  <a:pt x="5615905" y="2003818"/>
                </a:lnTo>
                <a:lnTo>
                  <a:pt x="5633640" y="2024428"/>
                </a:lnTo>
                <a:lnTo>
                  <a:pt x="5632133" y="2004246"/>
                </a:lnTo>
                <a:close/>
                <a:moveTo>
                  <a:pt x="5783009" y="1940810"/>
                </a:moveTo>
                <a:cubicBezTo>
                  <a:pt x="5817299" y="1940810"/>
                  <a:pt x="5845588" y="1968242"/>
                  <a:pt x="5845588" y="2003389"/>
                </a:cubicBezTo>
                <a:cubicBezTo>
                  <a:pt x="5845588" y="2038537"/>
                  <a:pt x="5817299" y="2066825"/>
                  <a:pt x="5783009" y="2065968"/>
                </a:cubicBezTo>
                <a:cubicBezTo>
                  <a:pt x="5748719" y="2065968"/>
                  <a:pt x="5720429" y="2038537"/>
                  <a:pt x="5720429" y="2003389"/>
                </a:cubicBezTo>
                <a:cubicBezTo>
                  <a:pt x="5720429" y="1969099"/>
                  <a:pt x="5747861" y="1940810"/>
                  <a:pt x="5783009" y="1940810"/>
                </a:cubicBezTo>
                <a:close/>
                <a:moveTo>
                  <a:pt x="6037483" y="1919889"/>
                </a:moveTo>
                <a:lnTo>
                  <a:pt x="6031666" y="1930805"/>
                </a:lnTo>
                <a:cubicBezTo>
                  <a:pt x="6020133" y="1950011"/>
                  <a:pt x="6007020" y="1969741"/>
                  <a:pt x="5992446" y="1989726"/>
                </a:cubicBezTo>
                <a:lnTo>
                  <a:pt x="5981262" y="2003818"/>
                </a:lnTo>
                <a:lnTo>
                  <a:pt x="5992446" y="2017909"/>
                </a:lnTo>
                <a:cubicBezTo>
                  <a:pt x="6007020" y="2037893"/>
                  <a:pt x="6020133" y="2057623"/>
                  <a:pt x="6031666" y="2076831"/>
                </a:cubicBezTo>
                <a:lnTo>
                  <a:pt x="6037189" y="2087193"/>
                </a:lnTo>
                <a:lnTo>
                  <a:pt x="6083022" y="2063384"/>
                </a:lnTo>
                <a:cubicBezTo>
                  <a:pt x="6109293" y="2045531"/>
                  <a:pt x="6124194" y="2025087"/>
                  <a:pt x="6124194" y="2003388"/>
                </a:cubicBezTo>
                <a:cubicBezTo>
                  <a:pt x="6124194" y="1981689"/>
                  <a:pt x="6109209" y="1961247"/>
                  <a:pt x="6082849" y="1943392"/>
                </a:cubicBezTo>
                <a:close/>
                <a:moveTo>
                  <a:pt x="5527012" y="1919637"/>
                </a:moveTo>
                <a:lnTo>
                  <a:pt x="5481281" y="1943393"/>
                </a:lnTo>
                <a:cubicBezTo>
                  <a:pt x="5455010" y="1961247"/>
                  <a:pt x="5440109" y="1981689"/>
                  <a:pt x="5440109" y="2003388"/>
                </a:cubicBezTo>
                <a:cubicBezTo>
                  <a:pt x="5440109" y="2025355"/>
                  <a:pt x="5455094" y="2045899"/>
                  <a:pt x="5481454" y="2063765"/>
                </a:cubicBezTo>
                <a:lnTo>
                  <a:pt x="5527292" y="2087474"/>
                </a:lnTo>
                <a:lnTo>
                  <a:pt x="5532638" y="2077462"/>
                </a:lnTo>
                <a:cubicBezTo>
                  <a:pt x="5544171" y="2058290"/>
                  <a:pt x="5557284" y="2038597"/>
                  <a:pt x="5571857" y="2018645"/>
                </a:cubicBezTo>
                <a:lnTo>
                  <a:pt x="5583642" y="2003818"/>
                </a:lnTo>
                <a:lnTo>
                  <a:pt x="5571857" y="1988990"/>
                </a:lnTo>
                <a:cubicBezTo>
                  <a:pt x="5557284" y="1969039"/>
                  <a:pt x="5544171" y="1949345"/>
                  <a:pt x="5532638" y="1930175"/>
                </a:cubicBezTo>
                <a:close/>
                <a:moveTo>
                  <a:pt x="5923650" y="1888999"/>
                </a:moveTo>
                <a:lnTo>
                  <a:pt x="5927348" y="1939009"/>
                </a:lnTo>
                <a:lnTo>
                  <a:pt x="5944467" y="1957460"/>
                </a:lnTo>
                <a:lnTo>
                  <a:pt x="5964311" y="1982460"/>
                </a:lnTo>
                <a:lnTo>
                  <a:pt x="5991239" y="1941959"/>
                </a:lnTo>
                <a:lnTo>
                  <a:pt x="6008190" y="1910091"/>
                </a:lnTo>
                <a:lnTo>
                  <a:pt x="5973255" y="1898937"/>
                </a:lnTo>
                <a:close/>
                <a:moveTo>
                  <a:pt x="5640660" y="1888926"/>
                </a:moveTo>
                <a:lnTo>
                  <a:pt x="5590672" y="1898937"/>
                </a:lnTo>
                <a:lnTo>
                  <a:pt x="5555674" y="1910123"/>
                </a:lnTo>
                <a:lnTo>
                  <a:pt x="5573064" y="1942817"/>
                </a:lnTo>
                <a:lnTo>
                  <a:pt x="5599967" y="1983279"/>
                </a:lnTo>
                <a:lnTo>
                  <a:pt x="5619836" y="1958282"/>
                </a:lnTo>
                <a:lnTo>
                  <a:pt x="5636890" y="1939913"/>
                </a:lnTo>
                <a:close/>
                <a:moveTo>
                  <a:pt x="5874649" y="1884276"/>
                </a:moveTo>
                <a:lnTo>
                  <a:pt x="5888451" y="1897089"/>
                </a:lnTo>
                <a:lnTo>
                  <a:pt x="5901285" y="1910921"/>
                </a:lnTo>
                <a:lnTo>
                  <a:pt x="5899440" y="1886125"/>
                </a:lnTo>
                <a:close/>
                <a:moveTo>
                  <a:pt x="5691290" y="1884137"/>
                </a:moveTo>
                <a:lnTo>
                  <a:pt x="5664888" y="1886102"/>
                </a:lnTo>
                <a:lnTo>
                  <a:pt x="5662969" y="1911824"/>
                </a:lnTo>
                <a:lnTo>
                  <a:pt x="5675852" y="1897947"/>
                </a:lnTo>
                <a:close/>
                <a:moveTo>
                  <a:pt x="5782152" y="1877374"/>
                </a:moveTo>
                <a:lnTo>
                  <a:pt x="5729852" y="1881266"/>
                </a:lnTo>
                <a:lnTo>
                  <a:pt x="5692997" y="1914234"/>
                </a:lnTo>
                <a:lnTo>
                  <a:pt x="5659921" y="1952671"/>
                </a:lnTo>
                <a:lnTo>
                  <a:pt x="5656136" y="2003388"/>
                </a:lnTo>
                <a:lnTo>
                  <a:pt x="5659980" y="2055033"/>
                </a:lnTo>
                <a:lnTo>
                  <a:pt x="5692997" y="2093401"/>
                </a:lnTo>
                <a:lnTo>
                  <a:pt x="5730401" y="2125589"/>
                </a:lnTo>
                <a:lnTo>
                  <a:pt x="5782152" y="2129404"/>
                </a:lnTo>
                <a:lnTo>
                  <a:pt x="5832915" y="2125626"/>
                </a:lnTo>
                <a:lnTo>
                  <a:pt x="5871306" y="2092543"/>
                </a:lnTo>
                <a:lnTo>
                  <a:pt x="5904394" y="2054095"/>
                </a:lnTo>
                <a:lnTo>
                  <a:pt x="5908167" y="2003388"/>
                </a:lnTo>
                <a:lnTo>
                  <a:pt x="5904460" y="1953572"/>
                </a:lnTo>
                <a:lnTo>
                  <a:pt x="5871306" y="1915093"/>
                </a:lnTo>
                <a:lnTo>
                  <a:pt x="5831778" y="1881078"/>
                </a:lnTo>
                <a:close/>
                <a:moveTo>
                  <a:pt x="5781317" y="1837652"/>
                </a:moveTo>
                <a:lnTo>
                  <a:pt x="5768933" y="1846306"/>
                </a:lnTo>
                <a:lnTo>
                  <a:pt x="5759134" y="1855072"/>
                </a:lnTo>
                <a:lnTo>
                  <a:pt x="5782152" y="1853370"/>
                </a:lnTo>
                <a:lnTo>
                  <a:pt x="5801220" y="1854779"/>
                </a:lnTo>
                <a:close/>
                <a:moveTo>
                  <a:pt x="5875814" y="1778152"/>
                </a:moveTo>
                <a:lnTo>
                  <a:pt x="5843355" y="1794301"/>
                </a:lnTo>
                <a:lnTo>
                  <a:pt x="5803931" y="1821851"/>
                </a:lnTo>
                <a:lnTo>
                  <a:pt x="5828117" y="1841074"/>
                </a:lnTo>
                <a:lnTo>
                  <a:pt x="5846484" y="1858127"/>
                </a:lnTo>
                <a:lnTo>
                  <a:pt x="5896602" y="1861833"/>
                </a:lnTo>
                <a:lnTo>
                  <a:pt x="5886604" y="1811909"/>
                </a:lnTo>
                <a:close/>
                <a:moveTo>
                  <a:pt x="5688619" y="1778083"/>
                </a:moveTo>
                <a:lnTo>
                  <a:pt x="5677700" y="1812285"/>
                </a:lnTo>
                <a:lnTo>
                  <a:pt x="5667775" y="1861826"/>
                </a:lnTo>
                <a:lnTo>
                  <a:pt x="5720592" y="1857921"/>
                </a:lnTo>
                <a:lnTo>
                  <a:pt x="5760892" y="1821868"/>
                </a:lnTo>
                <a:lnTo>
                  <a:pt x="5720722" y="1795160"/>
                </a:lnTo>
                <a:close/>
                <a:moveTo>
                  <a:pt x="1448754" y="1765931"/>
                </a:moveTo>
                <a:cubicBezTo>
                  <a:pt x="1448754" y="1767646"/>
                  <a:pt x="1631349" y="1852515"/>
                  <a:pt x="1666496" y="1868802"/>
                </a:cubicBezTo>
                <a:cubicBezTo>
                  <a:pt x="1701643" y="1852515"/>
                  <a:pt x="1884238" y="1767646"/>
                  <a:pt x="1884238" y="1765931"/>
                </a:cubicBezTo>
                <a:lnTo>
                  <a:pt x="1884238" y="2016249"/>
                </a:lnTo>
                <a:cubicBezTo>
                  <a:pt x="1825087" y="2077971"/>
                  <a:pt x="1709358" y="2088258"/>
                  <a:pt x="1672497" y="2089973"/>
                </a:cubicBezTo>
                <a:cubicBezTo>
                  <a:pt x="1672497" y="2089973"/>
                  <a:pt x="1669925" y="2089973"/>
                  <a:pt x="1666496" y="2089973"/>
                </a:cubicBezTo>
                <a:cubicBezTo>
                  <a:pt x="1662210" y="2089973"/>
                  <a:pt x="1660495" y="2089973"/>
                  <a:pt x="1660495" y="2089973"/>
                </a:cubicBezTo>
                <a:cubicBezTo>
                  <a:pt x="1623633" y="2089116"/>
                  <a:pt x="1507905" y="2078829"/>
                  <a:pt x="1448754" y="2016249"/>
                </a:cubicBezTo>
                <a:close/>
                <a:moveTo>
                  <a:pt x="5593918" y="1746924"/>
                </a:moveTo>
                <a:cubicBezTo>
                  <a:pt x="5571054" y="1745356"/>
                  <a:pt x="5552623" y="1750285"/>
                  <a:pt x="5540407" y="1762502"/>
                </a:cubicBezTo>
                <a:cubicBezTo>
                  <a:pt x="5522083" y="1780825"/>
                  <a:pt x="5520155" y="1813133"/>
                  <a:pt x="5531953" y="1853413"/>
                </a:cubicBezTo>
                <a:lnTo>
                  <a:pt x="5543203" y="1882935"/>
                </a:lnTo>
                <a:lnTo>
                  <a:pt x="5623279" y="1865117"/>
                </a:lnTo>
                <a:lnTo>
                  <a:pt x="5642525" y="1863694"/>
                </a:lnTo>
                <a:lnTo>
                  <a:pt x="5643880" y="1845375"/>
                </a:lnTo>
                <a:lnTo>
                  <a:pt x="5661631" y="1765599"/>
                </a:lnTo>
                <a:lnTo>
                  <a:pt x="5631317" y="1754048"/>
                </a:lnTo>
                <a:cubicBezTo>
                  <a:pt x="5617891" y="1750115"/>
                  <a:pt x="5605350" y="1747708"/>
                  <a:pt x="5593918" y="1746924"/>
                </a:cubicBezTo>
                <a:close/>
                <a:moveTo>
                  <a:pt x="5970024" y="1746066"/>
                </a:moveTo>
                <a:cubicBezTo>
                  <a:pt x="5952845" y="1747241"/>
                  <a:pt x="5933211" y="1752072"/>
                  <a:pt x="5911854" y="1760221"/>
                </a:cubicBezTo>
                <a:lnTo>
                  <a:pt x="5902511" y="1764870"/>
                </a:lnTo>
                <a:lnTo>
                  <a:pt x="5920424" y="1845375"/>
                </a:lnTo>
                <a:lnTo>
                  <a:pt x="5921779" y="1863694"/>
                </a:lnTo>
                <a:lnTo>
                  <a:pt x="5941024" y="1865117"/>
                </a:lnTo>
                <a:lnTo>
                  <a:pt x="6020799" y="1882868"/>
                </a:lnTo>
                <a:lnTo>
                  <a:pt x="6032350" y="1852555"/>
                </a:lnTo>
                <a:cubicBezTo>
                  <a:pt x="6044149" y="1812276"/>
                  <a:pt x="6042221" y="1779968"/>
                  <a:pt x="6023897" y="1761646"/>
                </a:cubicBezTo>
                <a:cubicBezTo>
                  <a:pt x="6011467" y="1749428"/>
                  <a:pt x="5992929" y="1744499"/>
                  <a:pt x="5970024" y="1746066"/>
                </a:cubicBezTo>
                <a:close/>
                <a:moveTo>
                  <a:pt x="289975" y="1703570"/>
                </a:moveTo>
                <a:lnTo>
                  <a:pt x="249460" y="1738503"/>
                </a:lnTo>
                <a:cubicBezTo>
                  <a:pt x="249460" y="1738503"/>
                  <a:pt x="264462" y="1723072"/>
                  <a:pt x="283964" y="1707642"/>
                </a:cubicBezTo>
                <a:close/>
                <a:moveTo>
                  <a:pt x="4368605" y="1696916"/>
                </a:moveTo>
                <a:cubicBezTo>
                  <a:pt x="4407031" y="1694430"/>
                  <a:pt x="4447416" y="1702386"/>
                  <a:pt x="4478277" y="1734211"/>
                </a:cubicBezTo>
                <a:lnTo>
                  <a:pt x="4710592" y="1734211"/>
                </a:lnTo>
                <a:lnTo>
                  <a:pt x="4710592" y="2074541"/>
                </a:lnTo>
                <a:lnTo>
                  <a:pt x="4473133" y="2076255"/>
                </a:lnTo>
                <a:cubicBezTo>
                  <a:pt x="4473133" y="2076255"/>
                  <a:pt x="4393408" y="1995674"/>
                  <a:pt x="4245961" y="2072826"/>
                </a:cubicBezTo>
                <a:lnTo>
                  <a:pt x="4245961" y="1734211"/>
                </a:lnTo>
                <a:cubicBezTo>
                  <a:pt x="4245961" y="1734211"/>
                  <a:pt x="4304562" y="1701060"/>
                  <a:pt x="4368605" y="1696916"/>
                </a:cubicBezTo>
                <a:close/>
                <a:moveTo>
                  <a:pt x="5782152" y="1661348"/>
                </a:moveTo>
                <a:cubicBezTo>
                  <a:pt x="5760453" y="1661348"/>
                  <a:pt x="5740010" y="1676333"/>
                  <a:pt x="5722156" y="1702693"/>
                </a:cubicBezTo>
                <a:lnTo>
                  <a:pt x="5698519" y="1748314"/>
                </a:lnTo>
                <a:lnTo>
                  <a:pt x="5708935" y="1753875"/>
                </a:lnTo>
                <a:cubicBezTo>
                  <a:pt x="5728108" y="1765408"/>
                  <a:pt x="5747801" y="1778522"/>
                  <a:pt x="5767753" y="1793094"/>
                </a:cubicBezTo>
                <a:lnTo>
                  <a:pt x="5783057" y="1805259"/>
                </a:lnTo>
                <a:lnTo>
                  <a:pt x="5855594" y="1754507"/>
                </a:lnTo>
                <a:lnTo>
                  <a:pt x="5866361" y="1749129"/>
                </a:lnTo>
                <a:lnTo>
                  <a:pt x="5842148" y="1702521"/>
                </a:lnTo>
                <a:cubicBezTo>
                  <a:pt x="5824294" y="1676250"/>
                  <a:pt x="5803851" y="1661348"/>
                  <a:pt x="5782152" y="1661348"/>
                </a:cubicBezTo>
                <a:close/>
                <a:moveTo>
                  <a:pt x="592360" y="1640776"/>
                </a:moveTo>
                <a:cubicBezTo>
                  <a:pt x="592360" y="1640776"/>
                  <a:pt x="595066" y="1641779"/>
                  <a:pt x="599890" y="1643860"/>
                </a:cubicBezTo>
                <a:lnTo>
                  <a:pt x="615617" y="1651278"/>
                </a:lnTo>
                <a:close/>
                <a:moveTo>
                  <a:pt x="493776" y="1630488"/>
                </a:moveTo>
                <a:lnTo>
                  <a:pt x="498063" y="1633917"/>
                </a:lnTo>
                <a:cubicBezTo>
                  <a:pt x="498063" y="1633917"/>
                  <a:pt x="495491" y="1638204"/>
                  <a:pt x="493776" y="1640776"/>
                </a:cubicBezTo>
                <a:cubicBezTo>
                  <a:pt x="492919" y="1643348"/>
                  <a:pt x="497205" y="1641634"/>
                  <a:pt x="497205" y="1641634"/>
                </a:cubicBezTo>
                <a:cubicBezTo>
                  <a:pt x="497205" y="1641634"/>
                  <a:pt x="510921" y="1648491"/>
                  <a:pt x="510921" y="1651062"/>
                </a:cubicBezTo>
                <a:cubicBezTo>
                  <a:pt x="510921" y="1653635"/>
                  <a:pt x="504921" y="1656207"/>
                  <a:pt x="492919" y="1655350"/>
                </a:cubicBezTo>
                <a:cubicBezTo>
                  <a:pt x="480918" y="1654492"/>
                  <a:pt x="486918" y="1657064"/>
                  <a:pt x="471488" y="1649348"/>
                </a:cubicBezTo>
                <a:cubicBezTo>
                  <a:pt x="456057" y="1641634"/>
                  <a:pt x="457772" y="1662207"/>
                  <a:pt x="451771" y="1667351"/>
                </a:cubicBezTo>
                <a:cubicBezTo>
                  <a:pt x="444913" y="1672494"/>
                  <a:pt x="444913" y="1674208"/>
                  <a:pt x="440627" y="1683638"/>
                </a:cubicBezTo>
                <a:cubicBezTo>
                  <a:pt x="437198" y="1693069"/>
                  <a:pt x="440627" y="1683638"/>
                  <a:pt x="450914" y="1689640"/>
                </a:cubicBezTo>
                <a:cubicBezTo>
                  <a:pt x="461201" y="1695639"/>
                  <a:pt x="455200" y="1691355"/>
                  <a:pt x="460344" y="1690497"/>
                </a:cubicBezTo>
                <a:cubicBezTo>
                  <a:pt x="465487" y="1690497"/>
                  <a:pt x="480060" y="1687067"/>
                  <a:pt x="484347" y="1686210"/>
                </a:cubicBezTo>
                <a:cubicBezTo>
                  <a:pt x="488633" y="1685352"/>
                  <a:pt x="491205" y="1686210"/>
                  <a:pt x="490347" y="1700784"/>
                </a:cubicBezTo>
                <a:cubicBezTo>
                  <a:pt x="489490" y="1716214"/>
                  <a:pt x="490347" y="1700784"/>
                  <a:pt x="512636" y="1711927"/>
                </a:cubicBezTo>
                <a:cubicBezTo>
                  <a:pt x="534924" y="1723071"/>
                  <a:pt x="508350" y="1723071"/>
                  <a:pt x="525495" y="1726501"/>
                </a:cubicBezTo>
                <a:cubicBezTo>
                  <a:pt x="542640" y="1730788"/>
                  <a:pt x="522923" y="1731644"/>
                  <a:pt x="510064" y="1736787"/>
                </a:cubicBezTo>
                <a:cubicBezTo>
                  <a:pt x="497205" y="1742789"/>
                  <a:pt x="503206" y="1735930"/>
                  <a:pt x="494634" y="1747070"/>
                </a:cubicBezTo>
                <a:cubicBezTo>
                  <a:pt x="486061" y="1758215"/>
                  <a:pt x="496348" y="1754786"/>
                  <a:pt x="500634" y="1756500"/>
                </a:cubicBezTo>
                <a:cubicBezTo>
                  <a:pt x="504921" y="1758215"/>
                  <a:pt x="512636" y="1756500"/>
                  <a:pt x="516922" y="1753071"/>
                </a:cubicBezTo>
                <a:cubicBezTo>
                  <a:pt x="520351" y="1749645"/>
                  <a:pt x="523780" y="1751357"/>
                  <a:pt x="523780" y="1751357"/>
                </a:cubicBezTo>
                <a:cubicBezTo>
                  <a:pt x="523780" y="1751357"/>
                  <a:pt x="533210" y="1742789"/>
                  <a:pt x="542640" y="1747928"/>
                </a:cubicBezTo>
                <a:cubicBezTo>
                  <a:pt x="552069" y="1753071"/>
                  <a:pt x="542640" y="1747928"/>
                  <a:pt x="545211" y="1745356"/>
                </a:cubicBezTo>
                <a:cubicBezTo>
                  <a:pt x="547783" y="1743646"/>
                  <a:pt x="552069" y="1744499"/>
                  <a:pt x="555498" y="1741075"/>
                </a:cubicBezTo>
                <a:cubicBezTo>
                  <a:pt x="558927" y="1738503"/>
                  <a:pt x="566643" y="1735930"/>
                  <a:pt x="588931" y="1744499"/>
                </a:cubicBezTo>
                <a:cubicBezTo>
                  <a:pt x="612077" y="1753071"/>
                  <a:pt x="590646" y="1751357"/>
                  <a:pt x="600933" y="1755643"/>
                </a:cubicBezTo>
                <a:cubicBezTo>
                  <a:pt x="610362" y="1759929"/>
                  <a:pt x="604362" y="1758215"/>
                  <a:pt x="605219" y="1752214"/>
                </a:cubicBezTo>
                <a:cubicBezTo>
                  <a:pt x="606076" y="1746213"/>
                  <a:pt x="606076" y="1737646"/>
                  <a:pt x="609505" y="1735930"/>
                </a:cubicBezTo>
                <a:cubicBezTo>
                  <a:pt x="612934" y="1734216"/>
                  <a:pt x="615506" y="1735930"/>
                  <a:pt x="619792" y="1739360"/>
                </a:cubicBezTo>
                <a:cubicBezTo>
                  <a:pt x="624078" y="1742789"/>
                  <a:pt x="633508" y="1720500"/>
                  <a:pt x="643795" y="1724786"/>
                </a:cubicBezTo>
                <a:cubicBezTo>
                  <a:pt x="653225" y="1729073"/>
                  <a:pt x="646367" y="1726501"/>
                  <a:pt x="656654" y="1733358"/>
                </a:cubicBezTo>
                <a:cubicBezTo>
                  <a:pt x="666942" y="1740217"/>
                  <a:pt x="656654" y="1743646"/>
                  <a:pt x="651510" y="1747928"/>
                </a:cubicBezTo>
                <a:cubicBezTo>
                  <a:pt x="645510" y="1753071"/>
                  <a:pt x="648081" y="1745356"/>
                  <a:pt x="639509" y="1742789"/>
                </a:cubicBezTo>
                <a:cubicBezTo>
                  <a:pt x="630936" y="1740217"/>
                  <a:pt x="636080" y="1744499"/>
                  <a:pt x="623221" y="1756500"/>
                </a:cubicBezTo>
                <a:cubicBezTo>
                  <a:pt x="610362" y="1767644"/>
                  <a:pt x="623221" y="1756500"/>
                  <a:pt x="625793" y="1763359"/>
                </a:cubicBezTo>
                <a:cubicBezTo>
                  <a:pt x="628365" y="1770216"/>
                  <a:pt x="635223" y="1760786"/>
                  <a:pt x="642081" y="1763359"/>
                </a:cubicBezTo>
                <a:cubicBezTo>
                  <a:pt x="648939" y="1765931"/>
                  <a:pt x="647224" y="1765931"/>
                  <a:pt x="656654" y="1767644"/>
                </a:cubicBezTo>
                <a:cubicBezTo>
                  <a:pt x="666085" y="1769359"/>
                  <a:pt x="656654" y="1767644"/>
                  <a:pt x="658369" y="1773647"/>
                </a:cubicBezTo>
                <a:cubicBezTo>
                  <a:pt x="660084" y="1779648"/>
                  <a:pt x="662656" y="1774503"/>
                  <a:pt x="672085" y="1778790"/>
                </a:cubicBezTo>
                <a:cubicBezTo>
                  <a:pt x="681515" y="1783932"/>
                  <a:pt x="675514" y="1781362"/>
                  <a:pt x="672085" y="1788218"/>
                </a:cubicBezTo>
                <a:cubicBezTo>
                  <a:pt x="669514" y="1795076"/>
                  <a:pt x="669514" y="1788218"/>
                  <a:pt x="666085" y="1786504"/>
                </a:cubicBezTo>
                <a:cubicBezTo>
                  <a:pt x="662656" y="1785647"/>
                  <a:pt x="661798" y="1785647"/>
                  <a:pt x="654082" y="1789076"/>
                </a:cubicBezTo>
                <a:cubicBezTo>
                  <a:pt x="646367" y="1793363"/>
                  <a:pt x="645510" y="1789933"/>
                  <a:pt x="642081" y="1791647"/>
                </a:cubicBezTo>
                <a:cubicBezTo>
                  <a:pt x="639509" y="1793363"/>
                  <a:pt x="636937" y="1789933"/>
                  <a:pt x="618935" y="1788218"/>
                </a:cubicBezTo>
                <a:cubicBezTo>
                  <a:pt x="600933" y="1786504"/>
                  <a:pt x="618935" y="1788218"/>
                  <a:pt x="608648" y="1798505"/>
                </a:cubicBezTo>
                <a:cubicBezTo>
                  <a:pt x="598361" y="1808794"/>
                  <a:pt x="608648" y="1798505"/>
                  <a:pt x="601790" y="1798505"/>
                </a:cubicBezTo>
                <a:cubicBezTo>
                  <a:pt x="594932" y="1798505"/>
                  <a:pt x="592360" y="1795935"/>
                  <a:pt x="588074" y="1793363"/>
                </a:cubicBezTo>
                <a:cubicBezTo>
                  <a:pt x="582930" y="1790790"/>
                  <a:pt x="585502" y="1789076"/>
                  <a:pt x="576072" y="1789076"/>
                </a:cubicBezTo>
                <a:cubicBezTo>
                  <a:pt x="566643" y="1789076"/>
                  <a:pt x="576072" y="1789076"/>
                  <a:pt x="566643" y="1788218"/>
                </a:cubicBezTo>
                <a:cubicBezTo>
                  <a:pt x="558070" y="1787361"/>
                  <a:pt x="563214" y="1782218"/>
                  <a:pt x="562356" y="1770216"/>
                </a:cubicBezTo>
                <a:cubicBezTo>
                  <a:pt x="561499" y="1758215"/>
                  <a:pt x="562356" y="1770216"/>
                  <a:pt x="557213" y="1769359"/>
                </a:cubicBezTo>
                <a:cubicBezTo>
                  <a:pt x="552069" y="1768504"/>
                  <a:pt x="553784" y="1767644"/>
                  <a:pt x="550355" y="1767644"/>
                </a:cubicBezTo>
                <a:cubicBezTo>
                  <a:pt x="547783" y="1767644"/>
                  <a:pt x="550355" y="1767644"/>
                  <a:pt x="537496" y="1770216"/>
                </a:cubicBezTo>
                <a:cubicBezTo>
                  <a:pt x="524637" y="1772790"/>
                  <a:pt x="533210" y="1771073"/>
                  <a:pt x="528924" y="1771073"/>
                </a:cubicBezTo>
                <a:cubicBezTo>
                  <a:pt x="524637" y="1771073"/>
                  <a:pt x="522923" y="1771933"/>
                  <a:pt x="516065" y="1773647"/>
                </a:cubicBezTo>
                <a:cubicBezTo>
                  <a:pt x="509207" y="1775362"/>
                  <a:pt x="510921" y="1773647"/>
                  <a:pt x="507492" y="1774503"/>
                </a:cubicBezTo>
                <a:cubicBezTo>
                  <a:pt x="504921" y="1775362"/>
                  <a:pt x="498063" y="1782218"/>
                  <a:pt x="493776" y="1786504"/>
                </a:cubicBezTo>
                <a:cubicBezTo>
                  <a:pt x="488633" y="1790790"/>
                  <a:pt x="480918" y="1794219"/>
                  <a:pt x="474060" y="1793363"/>
                </a:cubicBezTo>
                <a:cubicBezTo>
                  <a:pt x="467202" y="1793363"/>
                  <a:pt x="469773" y="1795076"/>
                  <a:pt x="466344" y="1797648"/>
                </a:cubicBezTo>
                <a:cubicBezTo>
                  <a:pt x="462915" y="1799363"/>
                  <a:pt x="460344" y="1807080"/>
                  <a:pt x="458629" y="1810508"/>
                </a:cubicBezTo>
                <a:cubicBezTo>
                  <a:pt x="456915" y="1813080"/>
                  <a:pt x="446628" y="1818224"/>
                  <a:pt x="438912" y="1831938"/>
                </a:cubicBezTo>
                <a:cubicBezTo>
                  <a:pt x="431197" y="1845654"/>
                  <a:pt x="432912" y="1841369"/>
                  <a:pt x="441484" y="1860230"/>
                </a:cubicBezTo>
                <a:cubicBezTo>
                  <a:pt x="450057" y="1879088"/>
                  <a:pt x="436341" y="1865373"/>
                  <a:pt x="436341" y="1874802"/>
                </a:cubicBezTo>
                <a:cubicBezTo>
                  <a:pt x="436341" y="1883375"/>
                  <a:pt x="434626" y="1879088"/>
                  <a:pt x="431197" y="1886803"/>
                </a:cubicBezTo>
                <a:cubicBezTo>
                  <a:pt x="427768" y="1894520"/>
                  <a:pt x="431197" y="1886803"/>
                  <a:pt x="439770" y="1896233"/>
                </a:cubicBezTo>
                <a:cubicBezTo>
                  <a:pt x="448342" y="1905663"/>
                  <a:pt x="439770" y="1896233"/>
                  <a:pt x="444913" y="1902233"/>
                </a:cubicBezTo>
                <a:cubicBezTo>
                  <a:pt x="450914" y="1909093"/>
                  <a:pt x="446628" y="1907378"/>
                  <a:pt x="447485" y="1914235"/>
                </a:cubicBezTo>
                <a:cubicBezTo>
                  <a:pt x="448342" y="1921094"/>
                  <a:pt x="450057" y="1917664"/>
                  <a:pt x="456915" y="1921951"/>
                </a:cubicBezTo>
                <a:cubicBezTo>
                  <a:pt x="463773" y="1926236"/>
                  <a:pt x="460344" y="1925378"/>
                  <a:pt x="463773" y="1933095"/>
                </a:cubicBezTo>
                <a:cubicBezTo>
                  <a:pt x="467202" y="1940810"/>
                  <a:pt x="468059" y="1934810"/>
                  <a:pt x="474917" y="1939095"/>
                </a:cubicBezTo>
                <a:cubicBezTo>
                  <a:pt x="481775" y="1943381"/>
                  <a:pt x="492919" y="1939953"/>
                  <a:pt x="502349" y="1939953"/>
                </a:cubicBezTo>
                <a:cubicBezTo>
                  <a:pt x="511779" y="1939953"/>
                  <a:pt x="514350" y="1940810"/>
                  <a:pt x="521208" y="1937380"/>
                </a:cubicBezTo>
                <a:cubicBezTo>
                  <a:pt x="528924" y="1934810"/>
                  <a:pt x="536639" y="1934810"/>
                  <a:pt x="540925" y="1931380"/>
                </a:cubicBezTo>
                <a:cubicBezTo>
                  <a:pt x="545211" y="1927951"/>
                  <a:pt x="549498" y="1928810"/>
                  <a:pt x="552069" y="1930522"/>
                </a:cubicBezTo>
                <a:cubicBezTo>
                  <a:pt x="554641" y="1932237"/>
                  <a:pt x="552927" y="1936523"/>
                  <a:pt x="559785" y="1941666"/>
                </a:cubicBezTo>
                <a:cubicBezTo>
                  <a:pt x="566643" y="1946811"/>
                  <a:pt x="566643" y="1939953"/>
                  <a:pt x="570929" y="1939095"/>
                </a:cubicBezTo>
                <a:cubicBezTo>
                  <a:pt x="575215" y="1938237"/>
                  <a:pt x="587217" y="1945953"/>
                  <a:pt x="587217" y="1945953"/>
                </a:cubicBezTo>
                <a:cubicBezTo>
                  <a:pt x="587217" y="1945953"/>
                  <a:pt x="586359" y="1951954"/>
                  <a:pt x="583788" y="1962240"/>
                </a:cubicBezTo>
                <a:cubicBezTo>
                  <a:pt x="581216" y="1971670"/>
                  <a:pt x="583788" y="1962240"/>
                  <a:pt x="583788" y="1968242"/>
                </a:cubicBezTo>
                <a:cubicBezTo>
                  <a:pt x="583788" y="1974242"/>
                  <a:pt x="585502" y="1990529"/>
                  <a:pt x="585502" y="1990529"/>
                </a:cubicBezTo>
                <a:cubicBezTo>
                  <a:pt x="585502" y="1990529"/>
                  <a:pt x="588931" y="1994816"/>
                  <a:pt x="593217" y="2001674"/>
                </a:cubicBezTo>
                <a:cubicBezTo>
                  <a:pt x="597504" y="2008532"/>
                  <a:pt x="597504" y="2006817"/>
                  <a:pt x="598361" y="2009389"/>
                </a:cubicBezTo>
                <a:cubicBezTo>
                  <a:pt x="599218" y="2011104"/>
                  <a:pt x="605219" y="2017105"/>
                  <a:pt x="606933" y="2021391"/>
                </a:cubicBezTo>
                <a:cubicBezTo>
                  <a:pt x="608648" y="2024819"/>
                  <a:pt x="608648" y="2027392"/>
                  <a:pt x="609505" y="2033392"/>
                </a:cubicBezTo>
                <a:cubicBezTo>
                  <a:pt x="610362" y="2040250"/>
                  <a:pt x="604362" y="2041107"/>
                  <a:pt x="598361" y="2045393"/>
                </a:cubicBezTo>
                <a:cubicBezTo>
                  <a:pt x="592360" y="2049680"/>
                  <a:pt x="595789" y="2051396"/>
                  <a:pt x="593217" y="2061682"/>
                </a:cubicBezTo>
                <a:cubicBezTo>
                  <a:pt x="590646" y="2071968"/>
                  <a:pt x="593217" y="2061682"/>
                  <a:pt x="588931" y="2071968"/>
                </a:cubicBezTo>
                <a:cubicBezTo>
                  <a:pt x="584645" y="2082255"/>
                  <a:pt x="589788" y="2076254"/>
                  <a:pt x="595789" y="2082255"/>
                </a:cubicBezTo>
                <a:cubicBezTo>
                  <a:pt x="601790" y="2088256"/>
                  <a:pt x="601790" y="2084827"/>
                  <a:pt x="606076" y="2095114"/>
                </a:cubicBezTo>
                <a:cubicBezTo>
                  <a:pt x="611220" y="2104544"/>
                  <a:pt x="607791" y="2098543"/>
                  <a:pt x="608648" y="2107115"/>
                </a:cubicBezTo>
                <a:cubicBezTo>
                  <a:pt x="609505" y="2115689"/>
                  <a:pt x="608648" y="2107115"/>
                  <a:pt x="608648" y="2116545"/>
                </a:cubicBezTo>
                <a:cubicBezTo>
                  <a:pt x="608648" y="2125118"/>
                  <a:pt x="608648" y="2116545"/>
                  <a:pt x="613791" y="2128547"/>
                </a:cubicBezTo>
                <a:cubicBezTo>
                  <a:pt x="618935" y="2140548"/>
                  <a:pt x="614649" y="2133690"/>
                  <a:pt x="620649" y="2144834"/>
                </a:cubicBezTo>
                <a:cubicBezTo>
                  <a:pt x="627507" y="2155979"/>
                  <a:pt x="620649" y="2144834"/>
                  <a:pt x="624936" y="2144834"/>
                </a:cubicBezTo>
                <a:cubicBezTo>
                  <a:pt x="629222" y="2144834"/>
                  <a:pt x="640366" y="2139691"/>
                  <a:pt x="642938" y="2137119"/>
                </a:cubicBezTo>
                <a:cubicBezTo>
                  <a:pt x="645510" y="2134548"/>
                  <a:pt x="660941" y="2128547"/>
                  <a:pt x="665227" y="2127690"/>
                </a:cubicBezTo>
                <a:cubicBezTo>
                  <a:pt x="670371" y="2126832"/>
                  <a:pt x="668656" y="2118260"/>
                  <a:pt x="668656" y="2118260"/>
                </a:cubicBezTo>
                <a:lnTo>
                  <a:pt x="683230" y="2106258"/>
                </a:lnTo>
                <a:lnTo>
                  <a:pt x="695231" y="2088256"/>
                </a:lnTo>
                <a:cubicBezTo>
                  <a:pt x="695231" y="2088256"/>
                  <a:pt x="695231" y="2078826"/>
                  <a:pt x="695231" y="2076254"/>
                </a:cubicBezTo>
                <a:cubicBezTo>
                  <a:pt x="695231" y="2074540"/>
                  <a:pt x="702089" y="2073683"/>
                  <a:pt x="706375" y="2072825"/>
                </a:cubicBezTo>
                <a:cubicBezTo>
                  <a:pt x="709804" y="2071968"/>
                  <a:pt x="708947" y="2067682"/>
                  <a:pt x="710662" y="2065110"/>
                </a:cubicBezTo>
                <a:cubicBezTo>
                  <a:pt x="712376" y="2063397"/>
                  <a:pt x="718377" y="2053966"/>
                  <a:pt x="724378" y="2052252"/>
                </a:cubicBezTo>
                <a:cubicBezTo>
                  <a:pt x="731236" y="2051396"/>
                  <a:pt x="719234" y="2040250"/>
                  <a:pt x="719234" y="2040250"/>
                </a:cubicBezTo>
                <a:cubicBezTo>
                  <a:pt x="719234" y="2040250"/>
                  <a:pt x="727807" y="2034249"/>
                  <a:pt x="729521" y="2028248"/>
                </a:cubicBezTo>
                <a:cubicBezTo>
                  <a:pt x="731236" y="2022248"/>
                  <a:pt x="729521" y="2010247"/>
                  <a:pt x="728664" y="2006817"/>
                </a:cubicBezTo>
                <a:cubicBezTo>
                  <a:pt x="727807" y="2004246"/>
                  <a:pt x="728664" y="1992244"/>
                  <a:pt x="728664" y="1992244"/>
                </a:cubicBezTo>
                <a:lnTo>
                  <a:pt x="735522" y="1983671"/>
                </a:lnTo>
                <a:cubicBezTo>
                  <a:pt x="735522" y="1983671"/>
                  <a:pt x="736379" y="1968242"/>
                  <a:pt x="738951" y="1966526"/>
                </a:cubicBezTo>
                <a:cubicBezTo>
                  <a:pt x="741523" y="1964813"/>
                  <a:pt x="745809" y="1954526"/>
                  <a:pt x="750095" y="1954526"/>
                </a:cubicBezTo>
                <a:cubicBezTo>
                  <a:pt x="754381" y="1954526"/>
                  <a:pt x="753524" y="1931380"/>
                  <a:pt x="753524" y="1931380"/>
                </a:cubicBezTo>
                <a:lnTo>
                  <a:pt x="760382" y="1918520"/>
                </a:lnTo>
                <a:cubicBezTo>
                  <a:pt x="760382" y="1918520"/>
                  <a:pt x="762954" y="1905663"/>
                  <a:pt x="762954" y="1903090"/>
                </a:cubicBezTo>
                <a:cubicBezTo>
                  <a:pt x="762954" y="1900518"/>
                  <a:pt x="756096" y="1895375"/>
                  <a:pt x="756096" y="1895375"/>
                </a:cubicBezTo>
                <a:cubicBezTo>
                  <a:pt x="756096" y="1895375"/>
                  <a:pt x="749238" y="1895375"/>
                  <a:pt x="744094" y="1897947"/>
                </a:cubicBezTo>
                <a:cubicBezTo>
                  <a:pt x="738951" y="1900518"/>
                  <a:pt x="740665" y="1898805"/>
                  <a:pt x="737236" y="1899662"/>
                </a:cubicBezTo>
                <a:cubicBezTo>
                  <a:pt x="733807" y="1900518"/>
                  <a:pt x="732950" y="1897947"/>
                  <a:pt x="727807" y="1896233"/>
                </a:cubicBezTo>
                <a:cubicBezTo>
                  <a:pt x="722663" y="1894520"/>
                  <a:pt x="726949" y="1889375"/>
                  <a:pt x="727807" y="1885088"/>
                </a:cubicBezTo>
                <a:cubicBezTo>
                  <a:pt x="728664" y="1880803"/>
                  <a:pt x="720091" y="1881660"/>
                  <a:pt x="716662" y="1880803"/>
                </a:cubicBezTo>
                <a:cubicBezTo>
                  <a:pt x="714091" y="1879945"/>
                  <a:pt x="713233" y="1870514"/>
                  <a:pt x="710662" y="1867944"/>
                </a:cubicBezTo>
                <a:cubicBezTo>
                  <a:pt x="708947" y="1866229"/>
                  <a:pt x="708090" y="1862801"/>
                  <a:pt x="704661" y="1855941"/>
                </a:cubicBezTo>
                <a:cubicBezTo>
                  <a:pt x="701232" y="1849083"/>
                  <a:pt x="699517" y="1852513"/>
                  <a:pt x="695231" y="1851655"/>
                </a:cubicBezTo>
                <a:cubicBezTo>
                  <a:pt x="690945" y="1850798"/>
                  <a:pt x="696088" y="1842226"/>
                  <a:pt x="691802" y="1834510"/>
                </a:cubicBezTo>
                <a:cubicBezTo>
                  <a:pt x="687516" y="1826796"/>
                  <a:pt x="701232" y="1831082"/>
                  <a:pt x="701232" y="1831082"/>
                </a:cubicBezTo>
                <a:cubicBezTo>
                  <a:pt x="701232" y="1831082"/>
                  <a:pt x="701232" y="1831082"/>
                  <a:pt x="707233" y="1836225"/>
                </a:cubicBezTo>
                <a:cubicBezTo>
                  <a:pt x="713233" y="1842226"/>
                  <a:pt x="708947" y="1840511"/>
                  <a:pt x="713233" y="1846511"/>
                </a:cubicBezTo>
                <a:cubicBezTo>
                  <a:pt x="718377" y="1852513"/>
                  <a:pt x="714091" y="1856798"/>
                  <a:pt x="715805" y="1859371"/>
                </a:cubicBezTo>
                <a:cubicBezTo>
                  <a:pt x="717520" y="1861944"/>
                  <a:pt x="726949" y="1863658"/>
                  <a:pt x="730378" y="1868802"/>
                </a:cubicBezTo>
                <a:cubicBezTo>
                  <a:pt x="733807" y="1873945"/>
                  <a:pt x="738951" y="1879945"/>
                  <a:pt x="738951" y="1879945"/>
                </a:cubicBezTo>
                <a:cubicBezTo>
                  <a:pt x="738951" y="1879945"/>
                  <a:pt x="756096" y="1877374"/>
                  <a:pt x="759525" y="1875660"/>
                </a:cubicBezTo>
                <a:cubicBezTo>
                  <a:pt x="762097" y="1873945"/>
                  <a:pt x="763811" y="1864514"/>
                  <a:pt x="763811" y="1864514"/>
                </a:cubicBezTo>
                <a:cubicBezTo>
                  <a:pt x="763811" y="1864514"/>
                  <a:pt x="767240" y="1855941"/>
                  <a:pt x="767240" y="1852513"/>
                </a:cubicBezTo>
                <a:cubicBezTo>
                  <a:pt x="767240" y="1849940"/>
                  <a:pt x="762954" y="1837940"/>
                  <a:pt x="762954" y="1837940"/>
                </a:cubicBezTo>
                <a:lnTo>
                  <a:pt x="762954" y="1825938"/>
                </a:lnTo>
                <a:cubicBezTo>
                  <a:pt x="762954" y="1825938"/>
                  <a:pt x="756953" y="1819938"/>
                  <a:pt x="758668" y="1815651"/>
                </a:cubicBezTo>
                <a:cubicBezTo>
                  <a:pt x="760382" y="1812222"/>
                  <a:pt x="758668" y="1815651"/>
                  <a:pt x="762097" y="1816508"/>
                </a:cubicBezTo>
                <a:cubicBezTo>
                  <a:pt x="764668" y="1817366"/>
                  <a:pt x="771526" y="1817366"/>
                  <a:pt x="774098" y="1820794"/>
                </a:cubicBezTo>
                <a:cubicBezTo>
                  <a:pt x="776670" y="1824223"/>
                  <a:pt x="779242" y="1833653"/>
                  <a:pt x="782671" y="1837084"/>
                </a:cubicBezTo>
                <a:cubicBezTo>
                  <a:pt x="786100" y="1840511"/>
                  <a:pt x="786100" y="1839654"/>
                  <a:pt x="790386" y="1844797"/>
                </a:cubicBezTo>
                <a:cubicBezTo>
                  <a:pt x="793815" y="1849940"/>
                  <a:pt x="792958" y="1846511"/>
                  <a:pt x="796387" y="1851655"/>
                </a:cubicBezTo>
                <a:cubicBezTo>
                  <a:pt x="799816" y="1857656"/>
                  <a:pt x="796387" y="1855941"/>
                  <a:pt x="800673" y="1863658"/>
                </a:cubicBezTo>
                <a:cubicBezTo>
                  <a:pt x="804959" y="1871372"/>
                  <a:pt x="804959" y="1869657"/>
                  <a:pt x="809245" y="1873945"/>
                </a:cubicBezTo>
                <a:lnTo>
                  <a:pt x="810960" y="1870514"/>
                </a:lnTo>
                <a:cubicBezTo>
                  <a:pt x="776884" y="1746428"/>
                  <a:pt x="670960" y="1679244"/>
                  <a:pt x="620127" y="1653407"/>
                </a:cubicBezTo>
                <a:lnTo>
                  <a:pt x="615617" y="1651278"/>
                </a:lnTo>
                <a:lnTo>
                  <a:pt x="671583" y="1676556"/>
                </a:lnTo>
                <a:cubicBezTo>
                  <a:pt x="838713" y="1774368"/>
                  <a:pt x="881468" y="1966205"/>
                  <a:pt x="792958" y="2119974"/>
                </a:cubicBezTo>
                <a:cubicBezTo>
                  <a:pt x="691802" y="2295710"/>
                  <a:pt x="511779" y="2287139"/>
                  <a:pt x="511779" y="2287139"/>
                </a:cubicBezTo>
                <a:cubicBezTo>
                  <a:pt x="592360" y="2286282"/>
                  <a:pt x="630079" y="2251133"/>
                  <a:pt x="630079" y="2251133"/>
                </a:cubicBezTo>
                <a:cubicBezTo>
                  <a:pt x="630079" y="2251133"/>
                  <a:pt x="616363" y="2250276"/>
                  <a:pt x="613791" y="2251993"/>
                </a:cubicBezTo>
                <a:cubicBezTo>
                  <a:pt x="611220" y="2253706"/>
                  <a:pt x="600075" y="2245133"/>
                  <a:pt x="597504" y="2245133"/>
                </a:cubicBezTo>
                <a:cubicBezTo>
                  <a:pt x="594932" y="2245133"/>
                  <a:pt x="590646" y="2244276"/>
                  <a:pt x="588074" y="2243418"/>
                </a:cubicBezTo>
                <a:cubicBezTo>
                  <a:pt x="585502" y="2242562"/>
                  <a:pt x="577787" y="2245133"/>
                  <a:pt x="572643" y="2245990"/>
                </a:cubicBezTo>
                <a:cubicBezTo>
                  <a:pt x="566643" y="2246848"/>
                  <a:pt x="565785" y="2246848"/>
                  <a:pt x="560642" y="2251993"/>
                </a:cubicBezTo>
                <a:cubicBezTo>
                  <a:pt x="554641" y="2257136"/>
                  <a:pt x="553784" y="2251133"/>
                  <a:pt x="550355" y="2251133"/>
                </a:cubicBezTo>
                <a:cubicBezTo>
                  <a:pt x="546926" y="2251133"/>
                  <a:pt x="537496" y="2251993"/>
                  <a:pt x="537496" y="2251993"/>
                </a:cubicBezTo>
                <a:lnTo>
                  <a:pt x="541782" y="2241705"/>
                </a:lnTo>
                <a:cubicBezTo>
                  <a:pt x="541782" y="2241705"/>
                  <a:pt x="535782" y="2239989"/>
                  <a:pt x="530638" y="2239989"/>
                </a:cubicBezTo>
                <a:cubicBezTo>
                  <a:pt x="525495" y="2239989"/>
                  <a:pt x="526352" y="2244276"/>
                  <a:pt x="523780" y="2248563"/>
                </a:cubicBezTo>
                <a:cubicBezTo>
                  <a:pt x="521208" y="2252849"/>
                  <a:pt x="521208" y="2253706"/>
                  <a:pt x="517779" y="2259708"/>
                </a:cubicBezTo>
                <a:cubicBezTo>
                  <a:pt x="515208" y="2266564"/>
                  <a:pt x="501492" y="2256279"/>
                  <a:pt x="496348" y="2255421"/>
                </a:cubicBezTo>
                <a:cubicBezTo>
                  <a:pt x="491205" y="2254563"/>
                  <a:pt x="488633" y="2255421"/>
                  <a:pt x="484347" y="2252849"/>
                </a:cubicBezTo>
                <a:cubicBezTo>
                  <a:pt x="480060" y="2250276"/>
                  <a:pt x="485204" y="2248563"/>
                  <a:pt x="485204" y="2248563"/>
                </a:cubicBezTo>
                <a:lnTo>
                  <a:pt x="497205" y="2239989"/>
                </a:lnTo>
                <a:lnTo>
                  <a:pt x="509207" y="2233132"/>
                </a:lnTo>
                <a:cubicBezTo>
                  <a:pt x="509207" y="2233132"/>
                  <a:pt x="507492" y="2227131"/>
                  <a:pt x="503206" y="2226275"/>
                </a:cubicBezTo>
                <a:cubicBezTo>
                  <a:pt x="499777" y="2225418"/>
                  <a:pt x="499777" y="2228846"/>
                  <a:pt x="497205" y="2231417"/>
                </a:cubicBezTo>
                <a:cubicBezTo>
                  <a:pt x="494634" y="2233989"/>
                  <a:pt x="472345" y="2232275"/>
                  <a:pt x="472345" y="2232275"/>
                </a:cubicBezTo>
                <a:cubicBezTo>
                  <a:pt x="472345" y="2232275"/>
                  <a:pt x="458629" y="2237419"/>
                  <a:pt x="451771" y="2233989"/>
                </a:cubicBezTo>
                <a:cubicBezTo>
                  <a:pt x="444056" y="2230561"/>
                  <a:pt x="451771" y="2233989"/>
                  <a:pt x="448342" y="2227131"/>
                </a:cubicBezTo>
                <a:cubicBezTo>
                  <a:pt x="445770" y="2220274"/>
                  <a:pt x="438912" y="2231417"/>
                  <a:pt x="433769" y="2233989"/>
                </a:cubicBezTo>
                <a:cubicBezTo>
                  <a:pt x="427768" y="2236562"/>
                  <a:pt x="427768" y="2234846"/>
                  <a:pt x="413195" y="2237419"/>
                </a:cubicBezTo>
                <a:cubicBezTo>
                  <a:pt x="398622" y="2239989"/>
                  <a:pt x="402908" y="2239132"/>
                  <a:pt x="402908" y="2239132"/>
                </a:cubicBezTo>
                <a:lnTo>
                  <a:pt x="402051" y="2233132"/>
                </a:lnTo>
                <a:cubicBezTo>
                  <a:pt x="402051" y="2233132"/>
                  <a:pt x="396050" y="2237419"/>
                  <a:pt x="391764" y="2241705"/>
                </a:cubicBezTo>
                <a:cubicBezTo>
                  <a:pt x="387477" y="2245990"/>
                  <a:pt x="383191" y="2243418"/>
                  <a:pt x="379762" y="2243418"/>
                </a:cubicBezTo>
                <a:cubicBezTo>
                  <a:pt x="376333" y="2243418"/>
                  <a:pt x="378048" y="2257136"/>
                  <a:pt x="378048" y="2257136"/>
                </a:cubicBezTo>
                <a:cubicBezTo>
                  <a:pt x="379548" y="2260779"/>
                  <a:pt x="385388" y="2264528"/>
                  <a:pt x="393304" y="2268105"/>
                </a:cubicBezTo>
                <a:lnTo>
                  <a:pt x="409649" y="2273959"/>
                </a:lnTo>
                <a:lnTo>
                  <a:pt x="353398" y="2258117"/>
                </a:lnTo>
                <a:cubicBezTo>
                  <a:pt x="141567" y="2163439"/>
                  <a:pt x="167164" y="1913378"/>
                  <a:pt x="167164" y="1913378"/>
                </a:cubicBezTo>
                <a:lnTo>
                  <a:pt x="170593" y="1910806"/>
                </a:lnTo>
                <a:cubicBezTo>
                  <a:pt x="170593" y="1910806"/>
                  <a:pt x="172308" y="1918520"/>
                  <a:pt x="173165" y="1921951"/>
                </a:cubicBezTo>
                <a:cubicBezTo>
                  <a:pt x="174879" y="1925378"/>
                  <a:pt x="174879" y="1924521"/>
                  <a:pt x="179166" y="1930522"/>
                </a:cubicBezTo>
                <a:cubicBezTo>
                  <a:pt x="182595" y="1936523"/>
                  <a:pt x="184309" y="1935665"/>
                  <a:pt x="186024" y="1939953"/>
                </a:cubicBezTo>
                <a:cubicBezTo>
                  <a:pt x="187738" y="1945095"/>
                  <a:pt x="186024" y="1939953"/>
                  <a:pt x="181737" y="1954526"/>
                </a:cubicBezTo>
                <a:cubicBezTo>
                  <a:pt x="178308" y="1969098"/>
                  <a:pt x="190310" y="1978528"/>
                  <a:pt x="190310" y="1978528"/>
                </a:cubicBezTo>
                <a:cubicBezTo>
                  <a:pt x="190310" y="1978528"/>
                  <a:pt x="190310" y="1982814"/>
                  <a:pt x="189453" y="2007674"/>
                </a:cubicBezTo>
                <a:cubicBezTo>
                  <a:pt x="188595" y="2031678"/>
                  <a:pt x="199740" y="2037678"/>
                  <a:pt x="208312" y="2052252"/>
                </a:cubicBezTo>
                <a:cubicBezTo>
                  <a:pt x="216027" y="2065968"/>
                  <a:pt x="211741" y="2060824"/>
                  <a:pt x="215170" y="2066825"/>
                </a:cubicBezTo>
                <a:cubicBezTo>
                  <a:pt x="218599" y="2071968"/>
                  <a:pt x="217742" y="2067682"/>
                  <a:pt x="227172" y="2076254"/>
                </a:cubicBezTo>
                <a:cubicBezTo>
                  <a:pt x="236601" y="2084827"/>
                  <a:pt x="228886" y="2084827"/>
                  <a:pt x="233172" y="2101972"/>
                </a:cubicBezTo>
                <a:cubicBezTo>
                  <a:pt x="237459" y="2119117"/>
                  <a:pt x="237459" y="2109687"/>
                  <a:pt x="240888" y="2124260"/>
                </a:cubicBezTo>
                <a:cubicBezTo>
                  <a:pt x="243459" y="2139691"/>
                  <a:pt x="244317" y="2127690"/>
                  <a:pt x="250317" y="2136262"/>
                </a:cubicBezTo>
                <a:cubicBezTo>
                  <a:pt x="256318" y="2144834"/>
                  <a:pt x="250317" y="2136262"/>
                  <a:pt x="257175" y="2149122"/>
                </a:cubicBezTo>
                <a:cubicBezTo>
                  <a:pt x="264033" y="2161979"/>
                  <a:pt x="262319" y="2155122"/>
                  <a:pt x="264891" y="2161123"/>
                </a:cubicBezTo>
                <a:cubicBezTo>
                  <a:pt x="267462" y="2166267"/>
                  <a:pt x="270034" y="2163694"/>
                  <a:pt x="279464" y="2189412"/>
                </a:cubicBezTo>
                <a:cubicBezTo>
                  <a:pt x="288894" y="2215130"/>
                  <a:pt x="281178" y="2193698"/>
                  <a:pt x="286322" y="2199699"/>
                </a:cubicBezTo>
                <a:cubicBezTo>
                  <a:pt x="291465" y="2205701"/>
                  <a:pt x="294037" y="2202272"/>
                  <a:pt x="306039" y="2211701"/>
                </a:cubicBezTo>
                <a:cubicBezTo>
                  <a:pt x="318040" y="2221130"/>
                  <a:pt x="309468" y="2215986"/>
                  <a:pt x="318897" y="2221987"/>
                </a:cubicBezTo>
                <a:cubicBezTo>
                  <a:pt x="328327" y="2227988"/>
                  <a:pt x="320612" y="2219415"/>
                  <a:pt x="320612" y="2215986"/>
                </a:cubicBezTo>
                <a:cubicBezTo>
                  <a:pt x="320612" y="2212557"/>
                  <a:pt x="316326" y="2210843"/>
                  <a:pt x="312897" y="2207414"/>
                </a:cubicBezTo>
                <a:cubicBezTo>
                  <a:pt x="308610" y="2204842"/>
                  <a:pt x="307753" y="2200556"/>
                  <a:pt x="304324" y="2196269"/>
                </a:cubicBezTo>
                <a:cubicBezTo>
                  <a:pt x="301752" y="2192841"/>
                  <a:pt x="301752" y="2191127"/>
                  <a:pt x="300038" y="2186840"/>
                </a:cubicBezTo>
                <a:cubicBezTo>
                  <a:pt x="297466" y="2182553"/>
                  <a:pt x="294894" y="2180840"/>
                  <a:pt x="290608" y="2173981"/>
                </a:cubicBezTo>
                <a:cubicBezTo>
                  <a:pt x="286322" y="2167124"/>
                  <a:pt x="294037" y="2168839"/>
                  <a:pt x="294894" y="2166267"/>
                </a:cubicBezTo>
                <a:cubicBezTo>
                  <a:pt x="295752" y="2163694"/>
                  <a:pt x="297466" y="2164551"/>
                  <a:pt x="298323" y="2161123"/>
                </a:cubicBezTo>
                <a:cubicBezTo>
                  <a:pt x="299181" y="2157693"/>
                  <a:pt x="299181" y="2152550"/>
                  <a:pt x="294894" y="2148263"/>
                </a:cubicBezTo>
                <a:cubicBezTo>
                  <a:pt x="291465" y="2143120"/>
                  <a:pt x="302610" y="2122546"/>
                  <a:pt x="303467" y="2119974"/>
                </a:cubicBezTo>
                <a:cubicBezTo>
                  <a:pt x="304324" y="2117403"/>
                  <a:pt x="303467" y="2104544"/>
                  <a:pt x="303467" y="2104544"/>
                </a:cubicBezTo>
                <a:cubicBezTo>
                  <a:pt x="303467" y="2104544"/>
                  <a:pt x="309468" y="2098543"/>
                  <a:pt x="312897" y="2097686"/>
                </a:cubicBezTo>
                <a:cubicBezTo>
                  <a:pt x="316326" y="2096828"/>
                  <a:pt x="322326" y="2092543"/>
                  <a:pt x="326613" y="2088256"/>
                </a:cubicBezTo>
                <a:cubicBezTo>
                  <a:pt x="330899" y="2083970"/>
                  <a:pt x="324898" y="2079683"/>
                  <a:pt x="324898" y="2079683"/>
                </a:cubicBezTo>
                <a:cubicBezTo>
                  <a:pt x="324898" y="2079683"/>
                  <a:pt x="327470" y="2074540"/>
                  <a:pt x="329184" y="2071111"/>
                </a:cubicBezTo>
                <a:cubicBezTo>
                  <a:pt x="330899" y="2067682"/>
                  <a:pt x="330042" y="2059967"/>
                  <a:pt x="330042" y="2057396"/>
                </a:cubicBezTo>
                <a:cubicBezTo>
                  <a:pt x="330042" y="2054823"/>
                  <a:pt x="327470" y="2050539"/>
                  <a:pt x="325755" y="2046251"/>
                </a:cubicBezTo>
                <a:cubicBezTo>
                  <a:pt x="323184" y="2041964"/>
                  <a:pt x="325755" y="2037678"/>
                  <a:pt x="327470" y="2035106"/>
                </a:cubicBezTo>
                <a:cubicBezTo>
                  <a:pt x="330042" y="2032536"/>
                  <a:pt x="333471" y="2023962"/>
                  <a:pt x="336900" y="2021391"/>
                </a:cubicBezTo>
                <a:cubicBezTo>
                  <a:pt x="340329" y="2018820"/>
                  <a:pt x="341186" y="2014533"/>
                  <a:pt x="342043" y="2008532"/>
                </a:cubicBezTo>
                <a:cubicBezTo>
                  <a:pt x="342900" y="2002531"/>
                  <a:pt x="338614" y="2002531"/>
                  <a:pt x="336900" y="2001674"/>
                </a:cubicBezTo>
                <a:cubicBezTo>
                  <a:pt x="335185" y="2000816"/>
                  <a:pt x="332613" y="1999102"/>
                  <a:pt x="324041" y="1994816"/>
                </a:cubicBezTo>
                <a:cubicBezTo>
                  <a:pt x="316326" y="1989672"/>
                  <a:pt x="318897" y="1986243"/>
                  <a:pt x="315468" y="1983671"/>
                </a:cubicBezTo>
                <a:cubicBezTo>
                  <a:pt x="312039" y="1981100"/>
                  <a:pt x="306039" y="1981957"/>
                  <a:pt x="299181" y="1982814"/>
                </a:cubicBezTo>
                <a:cubicBezTo>
                  <a:pt x="292323" y="1983671"/>
                  <a:pt x="297466" y="1978528"/>
                  <a:pt x="295752" y="1977671"/>
                </a:cubicBezTo>
                <a:cubicBezTo>
                  <a:pt x="294037" y="1976813"/>
                  <a:pt x="288894" y="1974242"/>
                  <a:pt x="282893" y="1972528"/>
                </a:cubicBezTo>
                <a:cubicBezTo>
                  <a:pt x="277749" y="1970814"/>
                  <a:pt x="281178" y="1965669"/>
                  <a:pt x="281178" y="1965669"/>
                </a:cubicBezTo>
                <a:cubicBezTo>
                  <a:pt x="281178" y="1965669"/>
                  <a:pt x="274320" y="1964813"/>
                  <a:pt x="271749" y="1963955"/>
                </a:cubicBezTo>
                <a:cubicBezTo>
                  <a:pt x="269177" y="1963955"/>
                  <a:pt x="269177" y="1959668"/>
                  <a:pt x="270034" y="1957954"/>
                </a:cubicBezTo>
                <a:cubicBezTo>
                  <a:pt x="270891" y="1955382"/>
                  <a:pt x="269177" y="1948525"/>
                  <a:pt x="269177" y="1948525"/>
                </a:cubicBezTo>
                <a:cubicBezTo>
                  <a:pt x="269177" y="1948525"/>
                  <a:pt x="268320" y="1939953"/>
                  <a:pt x="264033" y="1939095"/>
                </a:cubicBezTo>
                <a:cubicBezTo>
                  <a:pt x="259747" y="1937380"/>
                  <a:pt x="261462" y="1933952"/>
                  <a:pt x="259747" y="1933095"/>
                </a:cubicBezTo>
                <a:cubicBezTo>
                  <a:pt x="257175" y="1932237"/>
                  <a:pt x="250317" y="1931380"/>
                  <a:pt x="248603" y="1931380"/>
                </a:cubicBezTo>
                <a:cubicBezTo>
                  <a:pt x="247746" y="1931380"/>
                  <a:pt x="240030" y="1929666"/>
                  <a:pt x="239173" y="1926236"/>
                </a:cubicBezTo>
                <a:cubicBezTo>
                  <a:pt x="238316" y="1923666"/>
                  <a:pt x="238316" y="1918520"/>
                  <a:pt x="236601" y="1917664"/>
                </a:cubicBezTo>
                <a:cubicBezTo>
                  <a:pt x="234887" y="1916808"/>
                  <a:pt x="233172" y="1911663"/>
                  <a:pt x="232315" y="1908233"/>
                </a:cubicBezTo>
                <a:cubicBezTo>
                  <a:pt x="230601" y="1904805"/>
                  <a:pt x="228029" y="1904805"/>
                  <a:pt x="226314" y="1903948"/>
                </a:cubicBezTo>
                <a:cubicBezTo>
                  <a:pt x="224600" y="1903090"/>
                  <a:pt x="216885" y="1907378"/>
                  <a:pt x="214313" y="1906521"/>
                </a:cubicBezTo>
                <a:cubicBezTo>
                  <a:pt x="211741" y="1905663"/>
                  <a:pt x="215170" y="1900518"/>
                  <a:pt x="213456" y="1898805"/>
                </a:cubicBezTo>
                <a:cubicBezTo>
                  <a:pt x="212598" y="1897090"/>
                  <a:pt x="211741" y="1897947"/>
                  <a:pt x="206598" y="1897090"/>
                </a:cubicBezTo>
                <a:cubicBezTo>
                  <a:pt x="201454" y="1896233"/>
                  <a:pt x="201454" y="1900518"/>
                  <a:pt x="201454" y="1900518"/>
                </a:cubicBezTo>
                <a:lnTo>
                  <a:pt x="198882" y="1903948"/>
                </a:lnTo>
                <a:cubicBezTo>
                  <a:pt x="198882" y="1903948"/>
                  <a:pt x="197168" y="1906521"/>
                  <a:pt x="192882" y="1912520"/>
                </a:cubicBezTo>
                <a:cubicBezTo>
                  <a:pt x="188595" y="1918520"/>
                  <a:pt x="192882" y="1912520"/>
                  <a:pt x="191167" y="1910806"/>
                </a:cubicBezTo>
                <a:cubicBezTo>
                  <a:pt x="189453" y="1909093"/>
                  <a:pt x="189453" y="1909093"/>
                  <a:pt x="188595" y="1907378"/>
                </a:cubicBezTo>
                <a:cubicBezTo>
                  <a:pt x="186881" y="1906521"/>
                  <a:pt x="184309" y="1898805"/>
                  <a:pt x="185166" y="1895375"/>
                </a:cubicBezTo>
                <a:cubicBezTo>
                  <a:pt x="186024" y="1891947"/>
                  <a:pt x="187738" y="1888518"/>
                  <a:pt x="188595" y="1885946"/>
                </a:cubicBezTo>
                <a:cubicBezTo>
                  <a:pt x="189453" y="1883375"/>
                  <a:pt x="187738" y="1881660"/>
                  <a:pt x="187738" y="1873087"/>
                </a:cubicBezTo>
                <a:cubicBezTo>
                  <a:pt x="187738" y="1864514"/>
                  <a:pt x="187738" y="1865373"/>
                  <a:pt x="188595" y="1862801"/>
                </a:cubicBezTo>
                <a:cubicBezTo>
                  <a:pt x="188595" y="1860230"/>
                  <a:pt x="187738" y="1857656"/>
                  <a:pt x="187738" y="1855084"/>
                </a:cubicBezTo>
                <a:cubicBezTo>
                  <a:pt x="187738" y="1852513"/>
                  <a:pt x="183452" y="1853370"/>
                  <a:pt x="183452" y="1853370"/>
                </a:cubicBezTo>
                <a:cubicBezTo>
                  <a:pt x="186881" y="1837940"/>
                  <a:pt x="197168" y="1817366"/>
                  <a:pt x="197168" y="1817366"/>
                </a:cubicBezTo>
                <a:cubicBezTo>
                  <a:pt x="197168" y="1817366"/>
                  <a:pt x="195453" y="1826796"/>
                  <a:pt x="195453" y="1828509"/>
                </a:cubicBezTo>
                <a:cubicBezTo>
                  <a:pt x="195453" y="1830225"/>
                  <a:pt x="194596" y="1833653"/>
                  <a:pt x="194596" y="1835368"/>
                </a:cubicBezTo>
                <a:cubicBezTo>
                  <a:pt x="194596" y="1837084"/>
                  <a:pt x="193739" y="1841369"/>
                  <a:pt x="193739" y="1843085"/>
                </a:cubicBezTo>
                <a:cubicBezTo>
                  <a:pt x="193739" y="1844797"/>
                  <a:pt x="195453" y="1843941"/>
                  <a:pt x="196311" y="1843941"/>
                </a:cubicBezTo>
                <a:cubicBezTo>
                  <a:pt x="197168" y="1843085"/>
                  <a:pt x="198882" y="1843941"/>
                  <a:pt x="201454" y="1847369"/>
                </a:cubicBezTo>
                <a:cubicBezTo>
                  <a:pt x="204026" y="1850798"/>
                  <a:pt x="202311" y="1847369"/>
                  <a:pt x="203169" y="1847369"/>
                </a:cubicBezTo>
                <a:cubicBezTo>
                  <a:pt x="204026" y="1847369"/>
                  <a:pt x="206598" y="1850798"/>
                  <a:pt x="207455" y="1852513"/>
                </a:cubicBezTo>
                <a:cubicBezTo>
                  <a:pt x="208312" y="1854227"/>
                  <a:pt x="206598" y="1855941"/>
                  <a:pt x="206598" y="1859371"/>
                </a:cubicBezTo>
                <a:cubicBezTo>
                  <a:pt x="205740" y="1862801"/>
                  <a:pt x="206598" y="1859371"/>
                  <a:pt x="208312" y="1861087"/>
                </a:cubicBezTo>
                <a:cubicBezTo>
                  <a:pt x="210027" y="1862801"/>
                  <a:pt x="212598" y="1862801"/>
                  <a:pt x="213456" y="1863658"/>
                </a:cubicBezTo>
                <a:cubicBezTo>
                  <a:pt x="215170" y="1864514"/>
                  <a:pt x="217742" y="1861944"/>
                  <a:pt x="220314" y="1862801"/>
                </a:cubicBezTo>
                <a:cubicBezTo>
                  <a:pt x="222885" y="1862801"/>
                  <a:pt x="222885" y="1864514"/>
                  <a:pt x="223743" y="1867085"/>
                </a:cubicBezTo>
                <a:cubicBezTo>
                  <a:pt x="224600" y="1870514"/>
                  <a:pt x="224600" y="1870514"/>
                  <a:pt x="225457" y="1870514"/>
                </a:cubicBezTo>
                <a:cubicBezTo>
                  <a:pt x="226314" y="1871372"/>
                  <a:pt x="228029" y="1867944"/>
                  <a:pt x="228886" y="1867085"/>
                </a:cubicBezTo>
                <a:cubicBezTo>
                  <a:pt x="229743" y="1866229"/>
                  <a:pt x="230601" y="1862801"/>
                  <a:pt x="230601" y="1862801"/>
                </a:cubicBezTo>
                <a:lnTo>
                  <a:pt x="227172" y="1860230"/>
                </a:lnTo>
                <a:lnTo>
                  <a:pt x="222028" y="1856798"/>
                </a:lnTo>
                <a:lnTo>
                  <a:pt x="216027" y="1855084"/>
                </a:lnTo>
                <a:cubicBezTo>
                  <a:pt x="216027" y="1855084"/>
                  <a:pt x="212598" y="1854227"/>
                  <a:pt x="210027" y="1854227"/>
                </a:cubicBezTo>
                <a:cubicBezTo>
                  <a:pt x="207455" y="1854227"/>
                  <a:pt x="210027" y="1848226"/>
                  <a:pt x="210027" y="1847369"/>
                </a:cubicBezTo>
                <a:cubicBezTo>
                  <a:pt x="210027" y="1845654"/>
                  <a:pt x="210027" y="1839654"/>
                  <a:pt x="210027" y="1839654"/>
                </a:cubicBezTo>
                <a:cubicBezTo>
                  <a:pt x="210027" y="1839654"/>
                  <a:pt x="206598" y="1838796"/>
                  <a:pt x="205740" y="1838796"/>
                </a:cubicBezTo>
                <a:cubicBezTo>
                  <a:pt x="204883" y="1838796"/>
                  <a:pt x="201454" y="1835368"/>
                  <a:pt x="201454" y="1834510"/>
                </a:cubicBezTo>
                <a:cubicBezTo>
                  <a:pt x="201454" y="1832795"/>
                  <a:pt x="202311" y="1829367"/>
                  <a:pt x="204883" y="1827653"/>
                </a:cubicBezTo>
                <a:cubicBezTo>
                  <a:pt x="206598" y="1825938"/>
                  <a:pt x="214313" y="1823367"/>
                  <a:pt x="215170" y="1823367"/>
                </a:cubicBezTo>
                <a:cubicBezTo>
                  <a:pt x="216027" y="1822508"/>
                  <a:pt x="218599" y="1819938"/>
                  <a:pt x="220314" y="1819081"/>
                </a:cubicBezTo>
                <a:cubicBezTo>
                  <a:pt x="221171" y="1818224"/>
                  <a:pt x="223743" y="1814795"/>
                  <a:pt x="223743" y="1811365"/>
                </a:cubicBezTo>
                <a:cubicBezTo>
                  <a:pt x="224600" y="1808794"/>
                  <a:pt x="226314" y="1804507"/>
                  <a:pt x="227172" y="1802793"/>
                </a:cubicBezTo>
                <a:cubicBezTo>
                  <a:pt x="228029" y="1801078"/>
                  <a:pt x="228029" y="1796791"/>
                  <a:pt x="228886" y="1793363"/>
                </a:cubicBezTo>
                <a:cubicBezTo>
                  <a:pt x="229743" y="1789933"/>
                  <a:pt x="233172" y="1786504"/>
                  <a:pt x="234030" y="1786504"/>
                </a:cubicBezTo>
                <a:cubicBezTo>
                  <a:pt x="234887" y="1786504"/>
                  <a:pt x="243459" y="1780505"/>
                  <a:pt x="246031" y="1777076"/>
                </a:cubicBezTo>
                <a:cubicBezTo>
                  <a:pt x="249460" y="1773647"/>
                  <a:pt x="252889" y="1771073"/>
                  <a:pt x="252889" y="1771073"/>
                </a:cubicBezTo>
                <a:lnTo>
                  <a:pt x="255461" y="1765075"/>
                </a:lnTo>
                <a:cubicBezTo>
                  <a:pt x="255461" y="1765075"/>
                  <a:pt x="256318" y="1763359"/>
                  <a:pt x="261462" y="1762502"/>
                </a:cubicBezTo>
                <a:cubicBezTo>
                  <a:pt x="266605" y="1760786"/>
                  <a:pt x="269177" y="1758215"/>
                  <a:pt x="269177" y="1758215"/>
                </a:cubicBezTo>
                <a:cubicBezTo>
                  <a:pt x="269177" y="1758215"/>
                  <a:pt x="271749" y="1752214"/>
                  <a:pt x="271749" y="1750501"/>
                </a:cubicBezTo>
                <a:cubicBezTo>
                  <a:pt x="271749" y="1748785"/>
                  <a:pt x="274320" y="1747928"/>
                  <a:pt x="274320" y="1747928"/>
                </a:cubicBezTo>
                <a:cubicBezTo>
                  <a:pt x="274320" y="1747928"/>
                  <a:pt x="282893" y="1742789"/>
                  <a:pt x="282893" y="1741932"/>
                </a:cubicBezTo>
                <a:cubicBezTo>
                  <a:pt x="282893" y="1741075"/>
                  <a:pt x="283750" y="1740217"/>
                  <a:pt x="286322" y="1739360"/>
                </a:cubicBezTo>
                <a:cubicBezTo>
                  <a:pt x="288894" y="1738503"/>
                  <a:pt x="290608" y="1739360"/>
                  <a:pt x="293180" y="1740217"/>
                </a:cubicBezTo>
                <a:cubicBezTo>
                  <a:pt x="294894" y="1741075"/>
                  <a:pt x="298323" y="1741932"/>
                  <a:pt x="302610" y="1742789"/>
                </a:cubicBezTo>
                <a:cubicBezTo>
                  <a:pt x="306896" y="1743646"/>
                  <a:pt x="307753" y="1741932"/>
                  <a:pt x="307753" y="1741932"/>
                </a:cubicBezTo>
                <a:cubicBezTo>
                  <a:pt x="307753" y="1741932"/>
                  <a:pt x="309468" y="1737646"/>
                  <a:pt x="309468" y="1735930"/>
                </a:cubicBezTo>
                <a:cubicBezTo>
                  <a:pt x="309468" y="1734216"/>
                  <a:pt x="308610" y="1732501"/>
                  <a:pt x="308610" y="1732501"/>
                </a:cubicBezTo>
                <a:cubicBezTo>
                  <a:pt x="308610" y="1732501"/>
                  <a:pt x="305181" y="1730788"/>
                  <a:pt x="304324" y="1730788"/>
                </a:cubicBezTo>
                <a:cubicBezTo>
                  <a:pt x="303467" y="1730788"/>
                  <a:pt x="306039" y="1723929"/>
                  <a:pt x="306039" y="1723929"/>
                </a:cubicBezTo>
                <a:lnTo>
                  <a:pt x="312039" y="1719643"/>
                </a:lnTo>
                <a:cubicBezTo>
                  <a:pt x="312039" y="1719643"/>
                  <a:pt x="317183" y="1715357"/>
                  <a:pt x="320612" y="1714500"/>
                </a:cubicBezTo>
                <a:cubicBezTo>
                  <a:pt x="324041" y="1713642"/>
                  <a:pt x="324041" y="1717928"/>
                  <a:pt x="325755" y="1718786"/>
                </a:cubicBezTo>
                <a:cubicBezTo>
                  <a:pt x="327470" y="1720500"/>
                  <a:pt x="326613" y="1721357"/>
                  <a:pt x="326613" y="1721357"/>
                </a:cubicBezTo>
                <a:lnTo>
                  <a:pt x="319755" y="1725643"/>
                </a:lnTo>
                <a:cubicBezTo>
                  <a:pt x="319755" y="1725643"/>
                  <a:pt x="320612" y="1730788"/>
                  <a:pt x="323184" y="1731644"/>
                </a:cubicBezTo>
                <a:cubicBezTo>
                  <a:pt x="324898" y="1732501"/>
                  <a:pt x="330899" y="1731644"/>
                  <a:pt x="330899" y="1731644"/>
                </a:cubicBezTo>
                <a:lnTo>
                  <a:pt x="336042" y="1728216"/>
                </a:lnTo>
                <a:lnTo>
                  <a:pt x="337757" y="1723929"/>
                </a:lnTo>
                <a:lnTo>
                  <a:pt x="337757" y="1717072"/>
                </a:lnTo>
                <a:cubicBezTo>
                  <a:pt x="337757" y="1717072"/>
                  <a:pt x="336900" y="1713642"/>
                  <a:pt x="336900" y="1711070"/>
                </a:cubicBezTo>
                <a:cubicBezTo>
                  <a:pt x="336900" y="1708499"/>
                  <a:pt x="338614" y="1707642"/>
                  <a:pt x="339471" y="1706785"/>
                </a:cubicBezTo>
                <a:cubicBezTo>
                  <a:pt x="340329" y="1705069"/>
                  <a:pt x="342900" y="1704213"/>
                  <a:pt x="342900" y="1704213"/>
                </a:cubicBezTo>
                <a:lnTo>
                  <a:pt x="345472" y="1699927"/>
                </a:lnTo>
                <a:cubicBezTo>
                  <a:pt x="345472" y="1699927"/>
                  <a:pt x="345472" y="1694782"/>
                  <a:pt x="345472" y="1693069"/>
                </a:cubicBezTo>
                <a:cubicBezTo>
                  <a:pt x="345472" y="1692212"/>
                  <a:pt x="350616" y="1685352"/>
                  <a:pt x="351473" y="1684495"/>
                </a:cubicBezTo>
                <a:cubicBezTo>
                  <a:pt x="353187" y="1683638"/>
                  <a:pt x="354045" y="1680211"/>
                  <a:pt x="354045" y="1680211"/>
                </a:cubicBezTo>
                <a:lnTo>
                  <a:pt x="345472" y="1676780"/>
                </a:lnTo>
                <a:cubicBezTo>
                  <a:pt x="336471" y="1676780"/>
                  <a:pt x="325970" y="1680637"/>
                  <a:pt x="315281" y="1686424"/>
                </a:cubicBezTo>
                <a:lnTo>
                  <a:pt x="289975" y="1703570"/>
                </a:lnTo>
                <a:lnTo>
                  <a:pt x="311879" y="1684683"/>
                </a:lnTo>
                <a:cubicBezTo>
                  <a:pt x="376494" y="1642972"/>
                  <a:pt x="440627" y="1634775"/>
                  <a:pt x="440627" y="1634775"/>
                </a:cubicBezTo>
                <a:cubicBezTo>
                  <a:pt x="451771" y="1632204"/>
                  <a:pt x="494634" y="1632204"/>
                  <a:pt x="493776" y="1630488"/>
                </a:cubicBezTo>
                <a:close/>
                <a:moveTo>
                  <a:pt x="5782152" y="1596198"/>
                </a:moveTo>
                <a:cubicBezTo>
                  <a:pt x="5813334" y="1596198"/>
                  <a:pt x="5842226" y="1621875"/>
                  <a:pt x="5866161" y="1665861"/>
                </a:cubicBezTo>
                <a:lnTo>
                  <a:pt x="5894202" y="1735228"/>
                </a:lnTo>
                <a:lnTo>
                  <a:pt x="5937599" y="1713557"/>
                </a:lnTo>
                <a:cubicBezTo>
                  <a:pt x="5963155" y="1703749"/>
                  <a:pt x="5986632" y="1697925"/>
                  <a:pt x="6007126" y="1696509"/>
                </a:cubicBezTo>
                <a:cubicBezTo>
                  <a:pt x="6034451" y="1694620"/>
                  <a:pt x="6056472" y="1700567"/>
                  <a:pt x="6071045" y="1715354"/>
                </a:cubicBezTo>
                <a:cubicBezTo>
                  <a:pt x="6100192" y="1744499"/>
                  <a:pt x="6094406" y="1803436"/>
                  <a:pt x="6061402" y="1875016"/>
                </a:cubicBezTo>
                <a:lnTo>
                  <a:pt x="6052430" y="1891847"/>
                </a:lnTo>
                <a:lnTo>
                  <a:pt x="6120539" y="1919379"/>
                </a:lnTo>
                <a:cubicBezTo>
                  <a:pt x="6164526" y="1943315"/>
                  <a:pt x="6190203" y="1972206"/>
                  <a:pt x="6190203" y="2003388"/>
                </a:cubicBezTo>
                <a:cubicBezTo>
                  <a:pt x="6190203" y="2034571"/>
                  <a:pt x="6164526" y="2063583"/>
                  <a:pt x="6120539" y="2087623"/>
                </a:cubicBezTo>
                <a:lnTo>
                  <a:pt x="6052202" y="2115361"/>
                </a:lnTo>
                <a:lnTo>
                  <a:pt x="6061402" y="2132621"/>
                </a:lnTo>
                <a:cubicBezTo>
                  <a:pt x="6094406" y="2204202"/>
                  <a:pt x="6100192" y="2263137"/>
                  <a:pt x="6071045" y="2292283"/>
                </a:cubicBezTo>
                <a:cubicBezTo>
                  <a:pt x="6041470" y="2321858"/>
                  <a:pt x="5982534" y="2316072"/>
                  <a:pt x="5911061" y="2282960"/>
                </a:cubicBezTo>
                <a:lnTo>
                  <a:pt x="5893744" y="2273685"/>
                </a:lnTo>
                <a:lnTo>
                  <a:pt x="5865784" y="2342634"/>
                </a:lnTo>
                <a:cubicBezTo>
                  <a:pt x="5841825" y="2386620"/>
                  <a:pt x="5813013" y="2412297"/>
                  <a:pt x="5782152" y="2412297"/>
                </a:cubicBezTo>
                <a:cubicBezTo>
                  <a:pt x="5751291" y="2412297"/>
                  <a:pt x="5722479" y="2386620"/>
                  <a:pt x="5698520" y="2342634"/>
                </a:cubicBezTo>
                <a:lnTo>
                  <a:pt x="5670749" y="2274150"/>
                </a:lnTo>
                <a:lnTo>
                  <a:pt x="5653242" y="2283496"/>
                </a:lnTo>
                <a:cubicBezTo>
                  <a:pt x="5581769" y="2316501"/>
                  <a:pt x="5522833" y="2322286"/>
                  <a:pt x="5493258" y="2293141"/>
                </a:cubicBezTo>
                <a:cubicBezTo>
                  <a:pt x="5464112" y="2263565"/>
                  <a:pt x="5469898" y="2204628"/>
                  <a:pt x="5502902" y="2133155"/>
                </a:cubicBezTo>
                <a:lnTo>
                  <a:pt x="5512498" y="2115182"/>
                </a:lnTo>
                <a:lnTo>
                  <a:pt x="5443764" y="2087397"/>
                </a:lnTo>
                <a:cubicBezTo>
                  <a:pt x="5399777" y="2063462"/>
                  <a:pt x="5374100" y="2034570"/>
                  <a:pt x="5374100" y="2003388"/>
                </a:cubicBezTo>
                <a:cubicBezTo>
                  <a:pt x="5374100" y="1972207"/>
                  <a:pt x="5399777" y="1943315"/>
                  <a:pt x="5443764" y="1919379"/>
                </a:cubicBezTo>
                <a:lnTo>
                  <a:pt x="5512121" y="1891747"/>
                </a:lnTo>
                <a:lnTo>
                  <a:pt x="5502902" y="1874480"/>
                </a:lnTo>
                <a:cubicBezTo>
                  <a:pt x="5469898" y="1803007"/>
                  <a:pt x="5464112" y="1744073"/>
                  <a:pt x="5493258" y="1714497"/>
                </a:cubicBezTo>
                <a:cubicBezTo>
                  <a:pt x="5522833" y="1685351"/>
                  <a:pt x="5581769" y="1691138"/>
                  <a:pt x="5653242" y="1724143"/>
                </a:cubicBezTo>
                <a:lnTo>
                  <a:pt x="5670795" y="1733514"/>
                </a:lnTo>
                <a:lnTo>
                  <a:pt x="5698143" y="1665860"/>
                </a:lnTo>
                <a:cubicBezTo>
                  <a:pt x="5722077" y="1621875"/>
                  <a:pt x="5750969" y="1596198"/>
                  <a:pt x="5782152" y="1596198"/>
                </a:cubicBezTo>
                <a:close/>
                <a:moveTo>
                  <a:pt x="3595306" y="1531906"/>
                </a:moveTo>
                <a:cubicBezTo>
                  <a:pt x="3530155" y="1531906"/>
                  <a:pt x="3477006" y="1585913"/>
                  <a:pt x="3477006" y="1651922"/>
                </a:cubicBezTo>
                <a:cubicBezTo>
                  <a:pt x="3477006" y="1717929"/>
                  <a:pt x="3530155" y="1771933"/>
                  <a:pt x="3595306" y="1771933"/>
                </a:cubicBezTo>
                <a:cubicBezTo>
                  <a:pt x="3661315" y="1771933"/>
                  <a:pt x="3714464" y="1717929"/>
                  <a:pt x="3713607" y="1651922"/>
                </a:cubicBezTo>
                <a:cubicBezTo>
                  <a:pt x="3713607" y="1585913"/>
                  <a:pt x="3660458" y="1531906"/>
                  <a:pt x="3595306" y="1531906"/>
                </a:cubicBezTo>
                <a:close/>
                <a:moveTo>
                  <a:pt x="1682785" y="1496755"/>
                </a:moveTo>
                <a:lnTo>
                  <a:pt x="2037137" y="1655346"/>
                </a:lnTo>
                <a:lnTo>
                  <a:pt x="2042829" y="1655346"/>
                </a:lnTo>
                <a:lnTo>
                  <a:pt x="2042829" y="1657894"/>
                </a:lnTo>
                <a:lnTo>
                  <a:pt x="2050545" y="1661347"/>
                </a:lnTo>
                <a:lnTo>
                  <a:pt x="2042829" y="1664864"/>
                </a:lnTo>
                <a:lnTo>
                  <a:pt x="2042829" y="1878511"/>
                </a:lnTo>
                <a:lnTo>
                  <a:pt x="2057832" y="1884660"/>
                </a:lnTo>
                <a:cubicBezTo>
                  <a:pt x="2064475" y="1891304"/>
                  <a:pt x="2068547" y="1900519"/>
                  <a:pt x="2068547" y="1910806"/>
                </a:cubicBezTo>
                <a:cubicBezTo>
                  <a:pt x="2068547" y="1921093"/>
                  <a:pt x="2064475" y="1930523"/>
                  <a:pt x="2057832" y="1937274"/>
                </a:cubicBezTo>
                <a:lnTo>
                  <a:pt x="2057578" y="1937375"/>
                </a:lnTo>
                <a:lnTo>
                  <a:pt x="2065332" y="1965456"/>
                </a:lnTo>
                <a:cubicBezTo>
                  <a:pt x="2071119" y="1992674"/>
                  <a:pt x="2075405" y="2031679"/>
                  <a:pt x="2069404" y="2078827"/>
                </a:cubicBezTo>
                <a:lnTo>
                  <a:pt x="2038543" y="2078827"/>
                </a:lnTo>
                <a:lnTo>
                  <a:pt x="2027398" y="2078827"/>
                </a:lnTo>
                <a:lnTo>
                  <a:pt x="1996538" y="2078827"/>
                </a:lnTo>
                <a:cubicBezTo>
                  <a:pt x="1990966" y="2031679"/>
                  <a:pt x="1995467" y="1992674"/>
                  <a:pt x="2001360" y="1965456"/>
                </a:cubicBezTo>
                <a:lnTo>
                  <a:pt x="2008928" y="1938341"/>
                </a:lnTo>
                <a:lnTo>
                  <a:pt x="2005539" y="1936952"/>
                </a:lnTo>
                <a:cubicBezTo>
                  <a:pt x="1998895" y="1930309"/>
                  <a:pt x="1994823" y="1921093"/>
                  <a:pt x="1994823" y="1910806"/>
                </a:cubicBezTo>
                <a:cubicBezTo>
                  <a:pt x="1994823" y="1900519"/>
                  <a:pt x="1998895" y="1891304"/>
                  <a:pt x="2005539" y="1884660"/>
                </a:cubicBezTo>
                <a:lnTo>
                  <a:pt x="2019683" y="1878863"/>
                </a:lnTo>
                <a:lnTo>
                  <a:pt x="2019683" y="1675413"/>
                </a:lnTo>
                <a:lnTo>
                  <a:pt x="1672498" y="1833654"/>
                </a:lnTo>
                <a:lnTo>
                  <a:pt x="1300450" y="1665634"/>
                </a:lnTo>
                <a:close/>
                <a:moveTo>
                  <a:pt x="5080921" y="1438462"/>
                </a:moveTo>
                <a:lnTo>
                  <a:pt x="5143500" y="1438462"/>
                </a:lnTo>
                <a:cubicBezTo>
                  <a:pt x="5151215" y="1438462"/>
                  <a:pt x="5158931" y="1447035"/>
                  <a:pt x="5158931" y="1457322"/>
                </a:cubicBezTo>
                <a:cubicBezTo>
                  <a:pt x="5158931" y="1467609"/>
                  <a:pt x="5152073" y="1476181"/>
                  <a:pt x="5143500" y="1476181"/>
                </a:cubicBezTo>
                <a:lnTo>
                  <a:pt x="5080921" y="1476181"/>
                </a:lnTo>
                <a:cubicBezTo>
                  <a:pt x="5072348" y="1476181"/>
                  <a:pt x="5065490" y="1467609"/>
                  <a:pt x="5065490" y="1457322"/>
                </a:cubicBezTo>
                <a:cubicBezTo>
                  <a:pt x="5065490" y="1447035"/>
                  <a:pt x="5072348" y="1438462"/>
                  <a:pt x="5080921" y="1438462"/>
                </a:cubicBezTo>
                <a:close/>
                <a:moveTo>
                  <a:pt x="2660050" y="1421316"/>
                </a:moveTo>
                <a:cubicBezTo>
                  <a:pt x="2660050" y="1421316"/>
                  <a:pt x="2765491" y="1532758"/>
                  <a:pt x="2760348" y="1591909"/>
                </a:cubicBezTo>
                <a:cubicBezTo>
                  <a:pt x="2755204" y="1651059"/>
                  <a:pt x="2643762" y="1672490"/>
                  <a:pt x="2643762" y="1672490"/>
                </a:cubicBezTo>
                <a:cubicBezTo>
                  <a:pt x="2643762" y="1672490"/>
                  <a:pt x="2795495" y="1672490"/>
                  <a:pt x="2797210" y="1599624"/>
                </a:cubicBezTo>
                <a:cubicBezTo>
                  <a:pt x="2798067" y="1527615"/>
                  <a:pt x="2660050" y="1421316"/>
                  <a:pt x="2660050" y="1421316"/>
                </a:cubicBezTo>
                <a:close/>
                <a:moveTo>
                  <a:pt x="5060347" y="1398171"/>
                </a:moveTo>
                <a:lnTo>
                  <a:pt x="5164075" y="1398171"/>
                </a:lnTo>
                <a:cubicBezTo>
                  <a:pt x="5177791" y="1398171"/>
                  <a:pt x="5189792" y="1406744"/>
                  <a:pt x="5189792" y="1417031"/>
                </a:cubicBezTo>
                <a:cubicBezTo>
                  <a:pt x="5189792" y="1427318"/>
                  <a:pt x="5177791" y="1435890"/>
                  <a:pt x="5164075" y="1435890"/>
                </a:cubicBezTo>
                <a:lnTo>
                  <a:pt x="5060347" y="1435890"/>
                </a:lnTo>
                <a:cubicBezTo>
                  <a:pt x="5045774" y="1435890"/>
                  <a:pt x="5034629" y="1427318"/>
                  <a:pt x="5034629" y="1417031"/>
                </a:cubicBezTo>
                <a:cubicBezTo>
                  <a:pt x="5034629" y="1406744"/>
                  <a:pt x="5046631" y="1398171"/>
                  <a:pt x="5060347" y="1398171"/>
                </a:cubicBezTo>
                <a:close/>
                <a:moveTo>
                  <a:pt x="3397282" y="1360456"/>
                </a:moveTo>
                <a:cubicBezTo>
                  <a:pt x="3336417" y="1360456"/>
                  <a:pt x="3287554" y="1410176"/>
                  <a:pt x="3287554" y="1471897"/>
                </a:cubicBezTo>
                <a:cubicBezTo>
                  <a:pt x="3287554" y="1532763"/>
                  <a:pt x="3336417" y="1582484"/>
                  <a:pt x="3397282" y="1582484"/>
                </a:cubicBezTo>
                <a:cubicBezTo>
                  <a:pt x="3458146" y="1582484"/>
                  <a:pt x="3507010" y="1532763"/>
                  <a:pt x="3507010" y="1471897"/>
                </a:cubicBezTo>
                <a:cubicBezTo>
                  <a:pt x="3507010" y="1410176"/>
                  <a:pt x="3458146" y="1360456"/>
                  <a:pt x="3397282" y="1360456"/>
                </a:cubicBezTo>
                <a:close/>
                <a:moveTo>
                  <a:pt x="5060347" y="1358738"/>
                </a:moveTo>
                <a:lnTo>
                  <a:pt x="5164075" y="1358738"/>
                </a:lnTo>
                <a:cubicBezTo>
                  <a:pt x="5177791" y="1358738"/>
                  <a:pt x="5189792" y="1367311"/>
                  <a:pt x="5189792" y="1377598"/>
                </a:cubicBezTo>
                <a:cubicBezTo>
                  <a:pt x="5189792" y="1387886"/>
                  <a:pt x="5177791" y="1396458"/>
                  <a:pt x="5164075" y="1396458"/>
                </a:cubicBezTo>
                <a:lnTo>
                  <a:pt x="5060347" y="1396458"/>
                </a:lnTo>
                <a:cubicBezTo>
                  <a:pt x="5045774" y="1396458"/>
                  <a:pt x="5034629" y="1387886"/>
                  <a:pt x="5034629" y="1377598"/>
                </a:cubicBezTo>
                <a:cubicBezTo>
                  <a:pt x="5034629" y="1367311"/>
                  <a:pt x="5046631" y="1358738"/>
                  <a:pt x="5060347" y="1358738"/>
                </a:cubicBezTo>
                <a:close/>
                <a:moveTo>
                  <a:pt x="3329559" y="1134999"/>
                </a:moveTo>
                <a:cubicBezTo>
                  <a:pt x="3276409" y="1134999"/>
                  <a:pt x="3233547" y="1178718"/>
                  <a:pt x="3233547" y="1232725"/>
                </a:cubicBezTo>
                <a:cubicBezTo>
                  <a:pt x="3233547" y="1286732"/>
                  <a:pt x="3277267" y="1330451"/>
                  <a:pt x="3329559" y="1330451"/>
                </a:cubicBezTo>
                <a:cubicBezTo>
                  <a:pt x="3382708" y="1330451"/>
                  <a:pt x="3425571" y="1286732"/>
                  <a:pt x="3425571" y="1232725"/>
                </a:cubicBezTo>
                <a:cubicBezTo>
                  <a:pt x="3425571" y="1178718"/>
                  <a:pt x="3382708" y="1134999"/>
                  <a:pt x="3329559" y="1134999"/>
                </a:cubicBezTo>
                <a:close/>
                <a:moveTo>
                  <a:pt x="2545178" y="997834"/>
                </a:moveTo>
                <a:cubicBezTo>
                  <a:pt x="2602614" y="997834"/>
                  <a:pt x="2649763" y="1015837"/>
                  <a:pt x="2649763" y="1038125"/>
                </a:cubicBezTo>
                <a:cubicBezTo>
                  <a:pt x="2649763" y="1038982"/>
                  <a:pt x="2649763" y="1039840"/>
                  <a:pt x="2649763" y="1040697"/>
                </a:cubicBezTo>
                <a:lnTo>
                  <a:pt x="2654049" y="1040697"/>
                </a:lnTo>
                <a:lnTo>
                  <a:pt x="2654049" y="1116135"/>
                </a:lnTo>
                <a:lnTo>
                  <a:pt x="2649763" y="1116135"/>
                </a:lnTo>
                <a:cubicBezTo>
                  <a:pt x="2648905" y="1124707"/>
                  <a:pt x="2643762" y="1132423"/>
                  <a:pt x="2632618" y="1138423"/>
                </a:cubicBezTo>
                <a:cubicBezTo>
                  <a:pt x="2632618" y="1174428"/>
                  <a:pt x="2632618" y="1282441"/>
                  <a:pt x="2632618" y="1309873"/>
                </a:cubicBezTo>
                <a:cubicBezTo>
                  <a:pt x="2632618" y="1343306"/>
                  <a:pt x="2648905" y="1351879"/>
                  <a:pt x="2648905" y="1351879"/>
                </a:cubicBezTo>
                <a:cubicBezTo>
                  <a:pt x="2688339" y="1374167"/>
                  <a:pt x="2910367" y="1601338"/>
                  <a:pt x="2810926" y="1669918"/>
                </a:cubicBezTo>
                <a:cubicBezTo>
                  <a:pt x="2722629" y="1731640"/>
                  <a:pt x="2575182" y="1729069"/>
                  <a:pt x="2546035" y="1728211"/>
                </a:cubicBezTo>
                <a:cubicBezTo>
                  <a:pt x="2516889" y="1729069"/>
                  <a:pt x="2368584" y="1731640"/>
                  <a:pt x="2281144" y="1669918"/>
                </a:cubicBezTo>
                <a:cubicBezTo>
                  <a:pt x="2183418" y="1601338"/>
                  <a:pt x="2408875" y="1375024"/>
                  <a:pt x="2447452" y="1351879"/>
                </a:cubicBezTo>
                <a:cubicBezTo>
                  <a:pt x="2447452" y="1351879"/>
                  <a:pt x="2470597" y="1343306"/>
                  <a:pt x="2470597" y="1309873"/>
                </a:cubicBezTo>
                <a:cubicBezTo>
                  <a:pt x="2470597" y="1282441"/>
                  <a:pt x="2470597" y="1176142"/>
                  <a:pt x="2470597" y="1139281"/>
                </a:cubicBezTo>
                <a:cubicBezTo>
                  <a:pt x="2449166" y="1133280"/>
                  <a:pt x="2442308" y="1124707"/>
                  <a:pt x="2440594" y="1116135"/>
                </a:cubicBezTo>
                <a:lnTo>
                  <a:pt x="2438022" y="1116135"/>
                </a:lnTo>
                <a:lnTo>
                  <a:pt x="2438022" y="1040697"/>
                </a:lnTo>
                <a:lnTo>
                  <a:pt x="2440594" y="1040697"/>
                </a:lnTo>
                <a:cubicBezTo>
                  <a:pt x="2440594" y="1039840"/>
                  <a:pt x="2440594" y="1038982"/>
                  <a:pt x="2440594" y="1038125"/>
                </a:cubicBezTo>
                <a:cubicBezTo>
                  <a:pt x="2440594" y="1015837"/>
                  <a:pt x="2487742" y="997834"/>
                  <a:pt x="2545178" y="997834"/>
                </a:cubicBezTo>
                <a:close/>
                <a:moveTo>
                  <a:pt x="1963962" y="956688"/>
                </a:moveTo>
                <a:lnTo>
                  <a:pt x="2026541" y="956688"/>
                </a:lnTo>
                <a:cubicBezTo>
                  <a:pt x="2035113" y="956688"/>
                  <a:pt x="2042829" y="964404"/>
                  <a:pt x="2042829" y="975549"/>
                </a:cubicBezTo>
                <a:cubicBezTo>
                  <a:pt x="2042829" y="985836"/>
                  <a:pt x="2035971" y="994408"/>
                  <a:pt x="2027398" y="994408"/>
                </a:cubicBezTo>
                <a:lnTo>
                  <a:pt x="1963962" y="994408"/>
                </a:lnTo>
                <a:cubicBezTo>
                  <a:pt x="1955389" y="994408"/>
                  <a:pt x="1948531" y="985836"/>
                  <a:pt x="1948531" y="975549"/>
                </a:cubicBezTo>
                <a:cubicBezTo>
                  <a:pt x="1948531" y="965262"/>
                  <a:pt x="1955389" y="956688"/>
                  <a:pt x="1963962" y="956688"/>
                </a:cubicBezTo>
                <a:close/>
                <a:moveTo>
                  <a:pt x="3402425" y="943831"/>
                </a:moveTo>
                <a:cubicBezTo>
                  <a:pt x="3362134" y="943831"/>
                  <a:pt x="3329559" y="976409"/>
                  <a:pt x="3330416" y="1016699"/>
                </a:cubicBezTo>
                <a:cubicBezTo>
                  <a:pt x="3330416" y="1056989"/>
                  <a:pt x="3362134" y="1089565"/>
                  <a:pt x="3402425" y="1089565"/>
                </a:cubicBezTo>
                <a:cubicBezTo>
                  <a:pt x="3441859" y="1089565"/>
                  <a:pt x="3474434" y="1056989"/>
                  <a:pt x="3474434" y="1016699"/>
                </a:cubicBezTo>
                <a:cubicBezTo>
                  <a:pt x="3474434" y="976409"/>
                  <a:pt x="3442716" y="943831"/>
                  <a:pt x="3402425" y="943831"/>
                </a:cubicBezTo>
                <a:close/>
                <a:moveTo>
                  <a:pt x="4083082" y="928402"/>
                </a:moveTo>
                <a:cubicBezTo>
                  <a:pt x="4003358" y="928402"/>
                  <a:pt x="3939064" y="992696"/>
                  <a:pt x="3939064" y="1072419"/>
                </a:cubicBezTo>
                <a:cubicBezTo>
                  <a:pt x="3939064" y="1152143"/>
                  <a:pt x="4003358" y="1216437"/>
                  <a:pt x="4083082" y="1216437"/>
                </a:cubicBezTo>
                <a:cubicBezTo>
                  <a:pt x="4162806" y="1216437"/>
                  <a:pt x="4227100" y="1152143"/>
                  <a:pt x="4227100" y="1072419"/>
                </a:cubicBezTo>
                <a:cubicBezTo>
                  <a:pt x="4227100" y="992696"/>
                  <a:pt x="4162806" y="928402"/>
                  <a:pt x="4083082" y="928402"/>
                </a:cubicBezTo>
                <a:close/>
                <a:moveTo>
                  <a:pt x="1944245" y="916397"/>
                </a:moveTo>
                <a:lnTo>
                  <a:pt x="2047973" y="916397"/>
                </a:lnTo>
                <a:cubicBezTo>
                  <a:pt x="2061689" y="916397"/>
                  <a:pt x="2073690" y="924971"/>
                  <a:pt x="2073690" y="935258"/>
                </a:cubicBezTo>
                <a:cubicBezTo>
                  <a:pt x="2073690" y="945545"/>
                  <a:pt x="2061689" y="954117"/>
                  <a:pt x="2047973" y="954117"/>
                </a:cubicBezTo>
                <a:lnTo>
                  <a:pt x="1944245" y="954117"/>
                </a:lnTo>
                <a:cubicBezTo>
                  <a:pt x="1929672" y="954117"/>
                  <a:pt x="1918527" y="945545"/>
                  <a:pt x="1918527" y="935258"/>
                </a:cubicBezTo>
                <a:cubicBezTo>
                  <a:pt x="1918527" y="924971"/>
                  <a:pt x="1930529" y="916397"/>
                  <a:pt x="1944245" y="916397"/>
                </a:cubicBezTo>
                <a:close/>
                <a:moveTo>
                  <a:pt x="1944245" y="876106"/>
                </a:moveTo>
                <a:lnTo>
                  <a:pt x="2047973" y="876106"/>
                </a:lnTo>
                <a:cubicBezTo>
                  <a:pt x="2061689" y="876106"/>
                  <a:pt x="2073690" y="884680"/>
                  <a:pt x="2073690" y="894967"/>
                </a:cubicBezTo>
                <a:cubicBezTo>
                  <a:pt x="2073690" y="905254"/>
                  <a:pt x="2061689" y="913826"/>
                  <a:pt x="2047973" y="913826"/>
                </a:cubicBezTo>
                <a:lnTo>
                  <a:pt x="1944245" y="913826"/>
                </a:lnTo>
                <a:cubicBezTo>
                  <a:pt x="1929672" y="913826"/>
                  <a:pt x="1918527" y="905254"/>
                  <a:pt x="1918527" y="894967"/>
                </a:cubicBezTo>
                <a:cubicBezTo>
                  <a:pt x="1918527" y="884680"/>
                  <a:pt x="1930529" y="876106"/>
                  <a:pt x="1944245" y="876106"/>
                </a:cubicBezTo>
                <a:close/>
                <a:moveTo>
                  <a:pt x="5177790" y="825530"/>
                </a:moveTo>
                <a:cubicBezTo>
                  <a:pt x="5177790" y="825530"/>
                  <a:pt x="5326951" y="909539"/>
                  <a:pt x="5272088" y="1060415"/>
                </a:cubicBezTo>
                <a:cubicBezTo>
                  <a:pt x="5272088" y="1060415"/>
                  <a:pt x="5399818" y="860676"/>
                  <a:pt x="5177790" y="825530"/>
                </a:cubicBezTo>
                <a:close/>
                <a:moveTo>
                  <a:pt x="5101495" y="760378"/>
                </a:moveTo>
                <a:cubicBezTo>
                  <a:pt x="5104710" y="760378"/>
                  <a:pt x="5106531" y="760378"/>
                  <a:pt x="5107496" y="760378"/>
                </a:cubicBezTo>
                <a:lnTo>
                  <a:pt x="5108353" y="760378"/>
                </a:lnTo>
                <a:lnTo>
                  <a:pt x="5114354" y="760378"/>
                </a:lnTo>
                <a:cubicBezTo>
                  <a:pt x="5439252" y="768951"/>
                  <a:pt x="5363813" y="1091277"/>
                  <a:pt x="5275516" y="1171000"/>
                </a:cubicBezTo>
                <a:cubicBezTo>
                  <a:pt x="5185505" y="1250725"/>
                  <a:pt x="5192363" y="1351880"/>
                  <a:pt x="5192363" y="1351880"/>
                </a:cubicBezTo>
                <a:lnTo>
                  <a:pt x="5120354" y="1351880"/>
                </a:lnTo>
                <a:lnTo>
                  <a:pt x="5107496" y="1351880"/>
                </a:lnTo>
                <a:lnTo>
                  <a:pt x="5029486" y="1351880"/>
                </a:lnTo>
                <a:cubicBezTo>
                  <a:pt x="5029486" y="1351880"/>
                  <a:pt x="5032915" y="1251583"/>
                  <a:pt x="4943761" y="1171000"/>
                </a:cubicBezTo>
                <a:cubicBezTo>
                  <a:pt x="4855464" y="1091277"/>
                  <a:pt x="4776597" y="768951"/>
                  <a:pt x="5101495" y="760378"/>
                </a:cubicBezTo>
                <a:close/>
                <a:moveTo>
                  <a:pt x="3975068" y="748379"/>
                </a:moveTo>
                <a:cubicBezTo>
                  <a:pt x="3975068" y="748379"/>
                  <a:pt x="4251103" y="775810"/>
                  <a:pt x="4329113" y="991837"/>
                </a:cubicBezTo>
                <a:cubicBezTo>
                  <a:pt x="4407122" y="1207864"/>
                  <a:pt x="4227100" y="1303876"/>
                  <a:pt x="4023074" y="1384458"/>
                </a:cubicBezTo>
                <a:cubicBezTo>
                  <a:pt x="3818191" y="1465899"/>
                  <a:pt x="3867055" y="1849944"/>
                  <a:pt x="3545586" y="1825939"/>
                </a:cubicBezTo>
                <a:cubicBezTo>
                  <a:pt x="3224974" y="1801937"/>
                  <a:pt x="2732913" y="766380"/>
                  <a:pt x="3975068" y="748379"/>
                </a:cubicBezTo>
                <a:close/>
                <a:moveTo>
                  <a:pt x="912543" y="703049"/>
                </a:moveTo>
                <a:cubicBezTo>
                  <a:pt x="916186" y="704227"/>
                  <a:pt x="919401" y="706799"/>
                  <a:pt x="921544" y="710657"/>
                </a:cubicBezTo>
                <a:lnTo>
                  <a:pt x="942953" y="752806"/>
                </a:lnTo>
                <a:lnTo>
                  <a:pt x="953423" y="749943"/>
                </a:lnTo>
                <a:cubicBezTo>
                  <a:pt x="985731" y="747733"/>
                  <a:pt x="1017557" y="764449"/>
                  <a:pt x="1032987" y="794666"/>
                </a:cubicBezTo>
                <a:cubicBezTo>
                  <a:pt x="1040703" y="810097"/>
                  <a:pt x="1043234" y="826733"/>
                  <a:pt x="1041260" y="842585"/>
                </a:cubicBezTo>
                <a:lnTo>
                  <a:pt x="1028104" y="872891"/>
                </a:lnTo>
                <a:lnTo>
                  <a:pt x="1072875" y="914092"/>
                </a:lnTo>
                <a:cubicBezTo>
                  <a:pt x="1192382" y="1024195"/>
                  <a:pt x="1430752" y="1244724"/>
                  <a:pt x="1425608" y="1247295"/>
                </a:cubicBezTo>
                <a:cubicBezTo>
                  <a:pt x="1418750" y="1250724"/>
                  <a:pt x="1321023" y="1216434"/>
                  <a:pt x="1321023" y="1216434"/>
                </a:cubicBezTo>
                <a:cubicBezTo>
                  <a:pt x="1321023" y="1216434"/>
                  <a:pt x="1119944" y="1035608"/>
                  <a:pt x="1018681" y="943748"/>
                </a:cubicBezTo>
                <a:lnTo>
                  <a:pt x="1011064" y="936811"/>
                </a:lnTo>
                <a:lnTo>
                  <a:pt x="1026129" y="1357885"/>
                </a:lnTo>
                <a:lnTo>
                  <a:pt x="993553" y="1456468"/>
                </a:lnTo>
                <a:lnTo>
                  <a:pt x="966978" y="1357028"/>
                </a:lnTo>
                <a:lnTo>
                  <a:pt x="946039" y="912474"/>
                </a:lnTo>
                <a:lnTo>
                  <a:pt x="933546" y="910931"/>
                </a:lnTo>
                <a:cubicBezTo>
                  <a:pt x="913401" y="904395"/>
                  <a:pt x="895827" y="890250"/>
                  <a:pt x="885540" y="870104"/>
                </a:cubicBezTo>
                <a:cubicBezTo>
                  <a:pt x="870110" y="839243"/>
                  <a:pt x="875414" y="803561"/>
                  <a:pt x="896028" y="778968"/>
                </a:cubicBezTo>
                <a:lnTo>
                  <a:pt x="914412" y="764338"/>
                </a:lnTo>
                <a:lnTo>
                  <a:pt x="894112" y="724373"/>
                </a:lnTo>
                <a:cubicBezTo>
                  <a:pt x="890683" y="716657"/>
                  <a:pt x="893254" y="708085"/>
                  <a:pt x="900970" y="703799"/>
                </a:cubicBezTo>
                <a:cubicBezTo>
                  <a:pt x="904828" y="702085"/>
                  <a:pt x="908900" y="701870"/>
                  <a:pt x="912543" y="703049"/>
                </a:cubicBezTo>
                <a:close/>
                <a:moveTo>
                  <a:pt x="2061687" y="342898"/>
                </a:moveTo>
                <a:cubicBezTo>
                  <a:pt x="2061687" y="342898"/>
                  <a:pt x="2210848" y="426910"/>
                  <a:pt x="2155984" y="577785"/>
                </a:cubicBezTo>
                <a:cubicBezTo>
                  <a:pt x="2155984" y="577785"/>
                  <a:pt x="2283715" y="378904"/>
                  <a:pt x="2061687" y="342898"/>
                </a:cubicBezTo>
                <a:close/>
                <a:moveTo>
                  <a:pt x="1985392" y="278605"/>
                </a:moveTo>
                <a:lnTo>
                  <a:pt x="1991393" y="278605"/>
                </a:lnTo>
                <a:lnTo>
                  <a:pt x="1992250" y="278605"/>
                </a:lnTo>
                <a:lnTo>
                  <a:pt x="1998250" y="278605"/>
                </a:lnTo>
                <a:cubicBezTo>
                  <a:pt x="2323148" y="287178"/>
                  <a:pt x="2247710" y="609504"/>
                  <a:pt x="2159413" y="689228"/>
                </a:cubicBezTo>
                <a:cubicBezTo>
                  <a:pt x="2069402" y="768953"/>
                  <a:pt x="2076260" y="870108"/>
                  <a:pt x="2076260" y="870108"/>
                </a:cubicBezTo>
                <a:lnTo>
                  <a:pt x="2004251" y="870108"/>
                </a:lnTo>
                <a:lnTo>
                  <a:pt x="1991393" y="870108"/>
                </a:lnTo>
                <a:lnTo>
                  <a:pt x="1913383" y="870108"/>
                </a:lnTo>
                <a:cubicBezTo>
                  <a:pt x="1913383" y="870108"/>
                  <a:pt x="1916812" y="769810"/>
                  <a:pt x="1827658" y="689228"/>
                </a:cubicBezTo>
                <a:cubicBezTo>
                  <a:pt x="1739361" y="609504"/>
                  <a:pt x="1660494" y="287178"/>
                  <a:pt x="1985392" y="278605"/>
                </a:cubicBezTo>
                <a:close/>
                <a:moveTo>
                  <a:pt x="2776633" y="269173"/>
                </a:moveTo>
                <a:cubicBezTo>
                  <a:pt x="2776633" y="270888"/>
                  <a:pt x="2959228" y="355756"/>
                  <a:pt x="2994375" y="372043"/>
                </a:cubicBezTo>
                <a:cubicBezTo>
                  <a:pt x="3029522" y="355756"/>
                  <a:pt x="3212117" y="270888"/>
                  <a:pt x="3212117" y="269173"/>
                </a:cubicBezTo>
                <a:lnTo>
                  <a:pt x="3212117" y="519491"/>
                </a:lnTo>
                <a:cubicBezTo>
                  <a:pt x="3152966" y="581213"/>
                  <a:pt x="3037238" y="591500"/>
                  <a:pt x="3000376" y="593215"/>
                </a:cubicBezTo>
                <a:cubicBezTo>
                  <a:pt x="3000376" y="593215"/>
                  <a:pt x="2997804" y="593215"/>
                  <a:pt x="2994375" y="593215"/>
                </a:cubicBezTo>
                <a:cubicBezTo>
                  <a:pt x="2990089" y="593215"/>
                  <a:pt x="2988374" y="593215"/>
                  <a:pt x="2988374" y="593215"/>
                </a:cubicBezTo>
                <a:cubicBezTo>
                  <a:pt x="2951513" y="592358"/>
                  <a:pt x="2835784" y="582071"/>
                  <a:pt x="2776633" y="519491"/>
                </a:cubicBezTo>
                <a:close/>
                <a:moveTo>
                  <a:pt x="4064357" y="122787"/>
                </a:moveTo>
                <a:cubicBezTo>
                  <a:pt x="4089994" y="126765"/>
                  <a:pt x="4114801" y="137373"/>
                  <a:pt x="4135375" y="158590"/>
                </a:cubicBezTo>
                <a:lnTo>
                  <a:pt x="4367690" y="158590"/>
                </a:lnTo>
                <a:lnTo>
                  <a:pt x="4367690" y="498920"/>
                </a:lnTo>
                <a:lnTo>
                  <a:pt x="4130231" y="500634"/>
                </a:lnTo>
                <a:cubicBezTo>
                  <a:pt x="4130231" y="500634"/>
                  <a:pt x="4050506" y="420052"/>
                  <a:pt x="3903059" y="497205"/>
                </a:cubicBezTo>
                <a:lnTo>
                  <a:pt x="3903059" y="158590"/>
                </a:lnTo>
                <a:cubicBezTo>
                  <a:pt x="3903059" y="158590"/>
                  <a:pt x="3987445" y="110852"/>
                  <a:pt x="4064357" y="122787"/>
                </a:cubicBezTo>
                <a:close/>
                <a:moveTo>
                  <a:pt x="3009805" y="0"/>
                </a:moveTo>
                <a:lnTo>
                  <a:pt x="3364979" y="158588"/>
                </a:lnTo>
                <a:lnTo>
                  <a:pt x="3370707" y="158588"/>
                </a:lnTo>
                <a:lnTo>
                  <a:pt x="3370707" y="161146"/>
                </a:lnTo>
                <a:lnTo>
                  <a:pt x="3378423" y="164591"/>
                </a:lnTo>
                <a:lnTo>
                  <a:pt x="3370707" y="168108"/>
                </a:lnTo>
                <a:lnTo>
                  <a:pt x="3370707" y="381755"/>
                </a:lnTo>
                <a:lnTo>
                  <a:pt x="3385709" y="387903"/>
                </a:lnTo>
                <a:cubicBezTo>
                  <a:pt x="3392353" y="394547"/>
                  <a:pt x="3396425" y="403762"/>
                  <a:pt x="3396425" y="414049"/>
                </a:cubicBezTo>
                <a:cubicBezTo>
                  <a:pt x="3396425" y="424336"/>
                  <a:pt x="3392139" y="433766"/>
                  <a:pt x="3385388" y="440517"/>
                </a:cubicBezTo>
                <a:lnTo>
                  <a:pt x="3384653" y="440813"/>
                </a:lnTo>
                <a:lnTo>
                  <a:pt x="3392352" y="468698"/>
                </a:lnTo>
                <a:cubicBezTo>
                  <a:pt x="3398139" y="495916"/>
                  <a:pt x="3402425" y="534921"/>
                  <a:pt x="3396424" y="582069"/>
                </a:cubicBezTo>
                <a:lnTo>
                  <a:pt x="3366421" y="582069"/>
                </a:lnTo>
                <a:lnTo>
                  <a:pt x="3324416" y="582069"/>
                </a:lnTo>
                <a:cubicBezTo>
                  <a:pt x="3318844" y="534921"/>
                  <a:pt x="3323345" y="495916"/>
                  <a:pt x="3329238" y="468698"/>
                </a:cubicBezTo>
                <a:lnTo>
                  <a:pt x="3336806" y="441584"/>
                </a:lnTo>
                <a:lnTo>
                  <a:pt x="3333417" y="440196"/>
                </a:lnTo>
                <a:cubicBezTo>
                  <a:pt x="3326773" y="433552"/>
                  <a:pt x="3322701" y="424336"/>
                  <a:pt x="3322701" y="414049"/>
                </a:cubicBezTo>
                <a:cubicBezTo>
                  <a:pt x="3322701" y="403762"/>
                  <a:pt x="3326773" y="394547"/>
                  <a:pt x="3333417" y="387903"/>
                </a:cubicBezTo>
                <a:lnTo>
                  <a:pt x="3347562" y="382106"/>
                </a:lnTo>
                <a:lnTo>
                  <a:pt x="3347562" y="178657"/>
                </a:lnTo>
                <a:lnTo>
                  <a:pt x="3000375" y="336899"/>
                </a:lnTo>
                <a:lnTo>
                  <a:pt x="2628328" y="168878"/>
                </a:lnTo>
                <a:close/>
              </a:path>
            </a:pathLst>
          </a:custGeom>
          <a:solidFill>
            <a:srgbClr val="FFFFFF">
              <a:alpha val="8000"/>
            </a:srgbClr>
          </a:solidFill>
          <a:ln w="9525" cap="flat">
            <a:noFill/>
            <a:prstDash val="solid"/>
            <a:miter/>
          </a:ln>
        </p:spPr>
        <p:txBody>
          <a:bodyPr rtlCol="0" anchor="ctr"/>
          <a:lstStyle/>
          <a:p>
            <a:endParaRPr lang="zh-CN" altLang="en-US"/>
          </a:p>
        </p:txBody>
      </p:sp>
      <p:sp>
        <p:nvSpPr>
          <p:cNvPr id="114" name="任意多边形: 形状 113">
            <a:extLst>
              <a:ext uri="{FF2B5EF4-FFF2-40B4-BE49-F238E27FC236}">
                <a16:creationId xmlns:a16="http://schemas.microsoft.com/office/drawing/2014/main" id="{4B088214-7996-463C-8911-786879695581}"/>
              </a:ext>
            </a:extLst>
          </p:cNvPr>
          <p:cNvSpPr/>
          <p:nvPr userDrawn="1"/>
        </p:nvSpPr>
        <p:spPr>
          <a:xfrm>
            <a:off x="6408629" y="1296790"/>
            <a:ext cx="4453909" cy="4560934"/>
          </a:xfrm>
          <a:custGeom>
            <a:avLst/>
            <a:gdLst>
              <a:gd name="connsiteX0" fmla="*/ 4572119 w 4637722"/>
              <a:gd name="connsiteY0" fmla="*/ 4742736 h 4749165"/>
              <a:gd name="connsiteX1" fmla="*/ 4074914 w 4637722"/>
              <a:gd name="connsiteY1" fmla="*/ 4742736 h 4749165"/>
              <a:gd name="connsiteX2" fmla="*/ 2928771 w 4637722"/>
              <a:gd name="connsiteY2" fmla="*/ 4107514 h 4749165"/>
              <a:gd name="connsiteX3" fmla="*/ 2740176 w 4637722"/>
              <a:gd name="connsiteY3" fmla="*/ 3498009 h 4749165"/>
              <a:gd name="connsiteX4" fmla="*/ 2927056 w 4637722"/>
              <a:gd name="connsiteY4" fmla="*/ 2647617 h 4749165"/>
              <a:gd name="connsiteX5" fmla="*/ 3051357 w 4637722"/>
              <a:gd name="connsiteY5" fmla="*/ 2327862 h 4749165"/>
              <a:gd name="connsiteX6" fmla="*/ 1716619 w 4637722"/>
              <a:gd name="connsiteY6" fmla="*/ 2519029 h 4749165"/>
              <a:gd name="connsiteX7" fmla="*/ 963954 w 4637722"/>
              <a:gd name="connsiteY7" fmla="*/ 2110121 h 4749165"/>
              <a:gd name="connsiteX8" fmla="*/ 556760 w 4637722"/>
              <a:gd name="connsiteY8" fmla="*/ 1420892 h 4749165"/>
              <a:gd name="connsiteX9" fmla="*/ 584192 w 4637722"/>
              <a:gd name="connsiteY9" fmla="*/ 888540 h 4749165"/>
              <a:gd name="connsiteX10" fmla="*/ 853368 w 4637722"/>
              <a:gd name="connsiteY10" fmla="*/ 500205 h 4749165"/>
              <a:gd name="connsiteX11" fmla="*/ 1576887 w 4637722"/>
              <a:gd name="connsiteY11" fmla="*/ 208740 h 4749165"/>
              <a:gd name="connsiteX12" fmla="*/ 2424708 w 4637722"/>
              <a:gd name="connsiteY12" fmla="*/ 309896 h 4749165"/>
              <a:gd name="connsiteX13" fmla="*/ 3227951 w 4637722"/>
              <a:gd name="connsiteY13" fmla="*/ 1005126 h 4749165"/>
              <a:gd name="connsiteX14" fmla="*/ 3297388 w 4637722"/>
              <a:gd name="connsiteY14" fmla="*/ 1894951 h 4749165"/>
              <a:gd name="connsiteX15" fmla="*/ 3313676 w 4637722"/>
              <a:gd name="connsiteY15" fmla="*/ 963120 h 4749165"/>
              <a:gd name="connsiteX16" fmla="*/ 1827205 w 4637722"/>
              <a:gd name="connsiteY16" fmla="*/ 135017 h 4749165"/>
              <a:gd name="connsiteX17" fmla="*/ 1797201 w 4637722"/>
              <a:gd name="connsiteY17" fmla="*/ 135017 h 4749165"/>
              <a:gd name="connsiteX18" fmla="*/ 685347 w 4637722"/>
              <a:gd name="connsiteY18" fmla="*/ 513064 h 4749165"/>
              <a:gd name="connsiteX19" fmla="*/ 450461 w 4637722"/>
              <a:gd name="connsiteY19" fmla="*/ 1625775 h 4749165"/>
              <a:gd name="connsiteX20" fmla="*/ 459033 w 4637722"/>
              <a:gd name="connsiteY20" fmla="*/ 1714072 h 4749165"/>
              <a:gd name="connsiteX21" fmla="*/ 293584 w 4637722"/>
              <a:gd name="connsiteY21" fmla="*/ 2163271 h 4749165"/>
              <a:gd name="connsiteX22" fmla="*/ 231005 w 4637722"/>
              <a:gd name="connsiteY22" fmla="*/ 2266141 h 4749165"/>
              <a:gd name="connsiteX23" fmla="*/ 200144 w 4637722"/>
              <a:gd name="connsiteY23" fmla="*/ 2318433 h 4749165"/>
              <a:gd name="connsiteX24" fmla="*/ 138422 w 4637722"/>
              <a:gd name="connsiteY24" fmla="*/ 2430732 h 4749165"/>
              <a:gd name="connsiteX25" fmla="*/ 148709 w 4637722"/>
              <a:gd name="connsiteY25" fmla="*/ 2433304 h 4749165"/>
              <a:gd name="connsiteX26" fmla="*/ 333018 w 4637722"/>
              <a:gd name="connsiteY26" fmla="*/ 2528459 h 4749165"/>
              <a:gd name="connsiteX27" fmla="*/ 336447 w 4637722"/>
              <a:gd name="connsiteY27" fmla="*/ 2646760 h 4749165"/>
              <a:gd name="connsiteX28" fmla="*/ 435030 w 4637722"/>
              <a:gd name="connsiteY28" fmla="*/ 2687907 h 4749165"/>
              <a:gd name="connsiteX29" fmla="*/ 487323 w 4637722"/>
              <a:gd name="connsiteY29" fmla="*/ 2747915 h 4749165"/>
              <a:gd name="connsiteX30" fmla="*/ 441888 w 4637722"/>
              <a:gd name="connsiteY30" fmla="*/ 2813066 h 4749165"/>
              <a:gd name="connsiteX31" fmla="*/ 398169 w 4637722"/>
              <a:gd name="connsiteY31" fmla="*/ 2836212 h 4749165"/>
              <a:gd name="connsiteX32" fmla="*/ 413599 w 4637722"/>
              <a:gd name="connsiteY32" fmla="*/ 2852500 h 4749165"/>
              <a:gd name="connsiteX33" fmla="*/ 487323 w 4637722"/>
              <a:gd name="connsiteY33" fmla="*/ 3032522 h 4749165"/>
              <a:gd name="connsiteX34" fmla="*/ 501039 w 4637722"/>
              <a:gd name="connsiteY34" fmla="*/ 3231404 h 4749165"/>
              <a:gd name="connsiteX35" fmla="*/ 764214 w 4637722"/>
              <a:gd name="connsiteY35" fmla="*/ 3303413 h 4749165"/>
              <a:gd name="connsiteX36" fmla="*/ 1107972 w 4637722"/>
              <a:gd name="connsiteY36" fmla="*/ 3277696 h 4749165"/>
              <a:gd name="connsiteX37" fmla="*/ 1349716 w 4637722"/>
              <a:gd name="connsiteY37" fmla="*/ 3394282 h 4749165"/>
              <a:gd name="connsiteX38" fmla="*/ 1478304 w 4637722"/>
              <a:gd name="connsiteY38" fmla="*/ 3910346 h 4749165"/>
              <a:gd name="connsiteX39" fmla="*/ 1408866 w 4637722"/>
              <a:gd name="connsiteY39" fmla="*/ 3968639 h 4749165"/>
              <a:gd name="connsiteX40" fmla="*/ 1350573 w 4637722"/>
              <a:gd name="connsiteY40" fmla="*/ 3899202 h 4749165"/>
              <a:gd name="connsiteX41" fmla="*/ 1350573 w 4637722"/>
              <a:gd name="connsiteY41" fmla="*/ 3899202 h 4749165"/>
              <a:gd name="connsiteX42" fmla="*/ 1252847 w 4637722"/>
              <a:gd name="connsiteY42" fmla="*/ 3478292 h 4749165"/>
              <a:gd name="connsiteX43" fmla="*/ 1101114 w 4637722"/>
              <a:gd name="connsiteY43" fmla="*/ 3405426 h 4749165"/>
              <a:gd name="connsiteX44" fmla="*/ 784788 w 4637722"/>
              <a:gd name="connsiteY44" fmla="*/ 3429429 h 4749165"/>
              <a:gd name="connsiteX45" fmla="*/ 376737 w 4637722"/>
              <a:gd name="connsiteY45" fmla="*/ 3260551 h 4749165"/>
              <a:gd name="connsiteX46" fmla="*/ 360450 w 4637722"/>
              <a:gd name="connsiteY46" fmla="*/ 3013662 h 4749165"/>
              <a:gd name="connsiteX47" fmla="*/ 363021 w 4637722"/>
              <a:gd name="connsiteY47" fmla="*/ 2983659 h 4749165"/>
              <a:gd name="connsiteX48" fmla="*/ 330446 w 4637722"/>
              <a:gd name="connsiteY48" fmla="*/ 2948512 h 4749165"/>
              <a:gd name="connsiteX49" fmla="*/ 270438 w 4637722"/>
              <a:gd name="connsiteY49" fmla="*/ 2809637 h 4749165"/>
              <a:gd name="connsiteX50" fmla="*/ 288441 w 4637722"/>
              <a:gd name="connsiteY50" fmla="*/ 2767632 h 4749165"/>
              <a:gd name="connsiteX51" fmla="*/ 225004 w 4637722"/>
              <a:gd name="connsiteY51" fmla="*/ 2707624 h 4749165"/>
              <a:gd name="connsiteX52" fmla="*/ 216432 w 4637722"/>
              <a:gd name="connsiteY52" fmla="*/ 2606469 h 4749165"/>
              <a:gd name="connsiteX53" fmla="*/ 220718 w 4637722"/>
              <a:gd name="connsiteY53" fmla="*/ 2589324 h 4749165"/>
              <a:gd name="connsiteX54" fmla="*/ 120420 w 4637722"/>
              <a:gd name="connsiteY54" fmla="*/ 2558463 h 4749165"/>
              <a:gd name="connsiteX55" fmla="*/ 14978 w 4637722"/>
              <a:gd name="connsiteY55" fmla="*/ 2485597 h 4749165"/>
              <a:gd name="connsiteX56" fmla="*/ 91273 w 4637722"/>
              <a:gd name="connsiteY56" fmla="*/ 2252425 h 4749165"/>
              <a:gd name="connsiteX57" fmla="*/ 121277 w 4637722"/>
              <a:gd name="connsiteY57" fmla="*/ 2200990 h 4749165"/>
              <a:gd name="connsiteX58" fmla="*/ 186428 w 4637722"/>
              <a:gd name="connsiteY58" fmla="*/ 2094690 h 4749165"/>
              <a:gd name="connsiteX59" fmla="*/ 333018 w 4637722"/>
              <a:gd name="connsiteY59" fmla="*/ 1716643 h 4749165"/>
              <a:gd name="connsiteX60" fmla="*/ 325302 w 4637722"/>
              <a:gd name="connsiteY60" fmla="*/ 1640348 h 4749165"/>
              <a:gd name="connsiteX61" fmla="*/ 591907 w 4637722"/>
              <a:gd name="connsiteY61" fmla="*/ 426482 h 4749165"/>
              <a:gd name="connsiteX62" fmla="*/ 1799772 w 4637722"/>
              <a:gd name="connsiteY62" fmla="*/ 6429 h 4749165"/>
              <a:gd name="connsiteX63" fmla="*/ 1831491 w 4637722"/>
              <a:gd name="connsiteY63" fmla="*/ 6429 h 4749165"/>
              <a:gd name="connsiteX64" fmla="*/ 2875621 w 4637722"/>
              <a:gd name="connsiteY64" fmla="*/ 279892 h 4749165"/>
              <a:gd name="connsiteX65" fmla="*/ 3433691 w 4637722"/>
              <a:gd name="connsiteY65" fmla="*/ 910828 h 4749165"/>
              <a:gd name="connsiteX66" fmla="*/ 3539990 w 4637722"/>
              <a:gd name="connsiteY66" fmla="*/ 1552051 h 4749165"/>
              <a:gd name="connsiteX67" fmla="*/ 3308532 w 4637722"/>
              <a:gd name="connsiteY67" fmla="*/ 2102406 h 4749165"/>
              <a:gd name="connsiteX68" fmla="*/ 3234809 w 4637722"/>
              <a:gd name="connsiteY68" fmla="*/ 2179558 h 4749165"/>
              <a:gd name="connsiteX69" fmla="*/ 3047071 w 4637722"/>
              <a:gd name="connsiteY69" fmla="*/ 2699052 h 4749165"/>
              <a:gd name="connsiteX70" fmla="*/ 3038499 w 4637722"/>
              <a:gd name="connsiteY70" fmla="*/ 4037219 h 4749165"/>
              <a:gd name="connsiteX71" fmla="*/ 4074914 w 4637722"/>
              <a:gd name="connsiteY71" fmla="*/ 4614148 h 4749165"/>
              <a:gd name="connsiteX72" fmla="*/ 4572119 w 4637722"/>
              <a:gd name="connsiteY72" fmla="*/ 4614148 h 4749165"/>
              <a:gd name="connsiteX73" fmla="*/ 4636413 w 4637722"/>
              <a:gd name="connsiteY73" fmla="*/ 4678442 h 4749165"/>
              <a:gd name="connsiteX74" fmla="*/ 4572119 w 4637722"/>
              <a:gd name="connsiteY74" fmla="*/ 4742736 h 4749165"/>
              <a:gd name="connsiteX75" fmla="*/ 1783485 w 4637722"/>
              <a:gd name="connsiteY75" fmla="*/ 325326 h 4749165"/>
              <a:gd name="connsiteX76" fmla="*/ 937379 w 4637722"/>
              <a:gd name="connsiteY76" fmla="*/ 597075 h 4749165"/>
              <a:gd name="connsiteX77" fmla="*/ 683633 w 4637722"/>
              <a:gd name="connsiteY77" fmla="*/ 1395174 h 4749165"/>
              <a:gd name="connsiteX78" fmla="*/ 1750909 w 4637722"/>
              <a:gd name="connsiteY78" fmla="*/ 2393871 h 4749165"/>
              <a:gd name="connsiteX79" fmla="*/ 3119080 w 4637722"/>
              <a:gd name="connsiteY79" fmla="*/ 2109264 h 4749165"/>
              <a:gd name="connsiteX80" fmla="*/ 3111365 w 4637722"/>
              <a:gd name="connsiteY80" fmla="*/ 1054846 h 4749165"/>
              <a:gd name="connsiteX81" fmla="*/ 2381845 w 4637722"/>
              <a:gd name="connsiteY81" fmla="*/ 429911 h 4749165"/>
              <a:gd name="connsiteX82" fmla="*/ 1783485 w 4637722"/>
              <a:gd name="connsiteY82" fmla="*/ 325326 h 474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637722" h="4749165">
                <a:moveTo>
                  <a:pt x="4572119" y="4742736"/>
                </a:moveTo>
                <a:lnTo>
                  <a:pt x="4074914" y="4742736"/>
                </a:lnTo>
                <a:cubicBezTo>
                  <a:pt x="3846885" y="4742736"/>
                  <a:pt x="3240810" y="4582430"/>
                  <a:pt x="2928771" y="4107514"/>
                </a:cubicBezTo>
                <a:cubicBezTo>
                  <a:pt x="2811327" y="3929205"/>
                  <a:pt x="2747891" y="3723465"/>
                  <a:pt x="2740176" y="3498009"/>
                </a:cubicBezTo>
                <a:cubicBezTo>
                  <a:pt x="2730746" y="3241691"/>
                  <a:pt x="2794182" y="2955370"/>
                  <a:pt x="2927056" y="2647617"/>
                </a:cubicBezTo>
                <a:cubicBezTo>
                  <a:pt x="2975062" y="2537889"/>
                  <a:pt x="3016210" y="2430732"/>
                  <a:pt x="3051357" y="2327862"/>
                </a:cubicBezTo>
                <a:cubicBezTo>
                  <a:pt x="2684455" y="2580751"/>
                  <a:pt x="2206109" y="2653617"/>
                  <a:pt x="1716619" y="2519029"/>
                </a:cubicBezTo>
                <a:cubicBezTo>
                  <a:pt x="1431155" y="2440162"/>
                  <a:pt x="1170551" y="2298716"/>
                  <a:pt x="963954" y="2110121"/>
                </a:cubicBezTo>
                <a:cubicBezTo>
                  <a:pt x="746212" y="1910382"/>
                  <a:pt x="605623" y="1672066"/>
                  <a:pt x="556760" y="1420892"/>
                </a:cubicBezTo>
                <a:cubicBezTo>
                  <a:pt x="519898" y="1228868"/>
                  <a:pt x="528471" y="1049703"/>
                  <a:pt x="584192" y="888540"/>
                </a:cubicBezTo>
                <a:cubicBezTo>
                  <a:pt x="635627" y="738521"/>
                  <a:pt x="726495" y="608219"/>
                  <a:pt x="853368" y="500205"/>
                </a:cubicBezTo>
                <a:cubicBezTo>
                  <a:pt x="1037677" y="343329"/>
                  <a:pt x="1287994" y="242173"/>
                  <a:pt x="1576887" y="208740"/>
                </a:cubicBezTo>
                <a:cubicBezTo>
                  <a:pt x="1856351" y="176165"/>
                  <a:pt x="2158103" y="212169"/>
                  <a:pt x="2424708" y="309896"/>
                </a:cubicBezTo>
                <a:cubicBezTo>
                  <a:pt x="2822472" y="455628"/>
                  <a:pt x="3092505" y="689658"/>
                  <a:pt x="3227951" y="1005126"/>
                </a:cubicBezTo>
                <a:cubicBezTo>
                  <a:pt x="3334250" y="1252871"/>
                  <a:pt x="3357396" y="1550337"/>
                  <a:pt x="3297388" y="1894951"/>
                </a:cubicBezTo>
                <a:cubicBezTo>
                  <a:pt x="3445692" y="1638633"/>
                  <a:pt x="3455122" y="1282875"/>
                  <a:pt x="3313676" y="963120"/>
                </a:cubicBezTo>
                <a:cubicBezTo>
                  <a:pt x="3204805" y="717090"/>
                  <a:pt x="2842188" y="144447"/>
                  <a:pt x="1827205" y="135017"/>
                </a:cubicBezTo>
                <a:cubicBezTo>
                  <a:pt x="1816917" y="135017"/>
                  <a:pt x="1806630" y="135017"/>
                  <a:pt x="1797201" y="135017"/>
                </a:cubicBezTo>
                <a:cubicBezTo>
                  <a:pt x="1283708" y="135017"/>
                  <a:pt x="909947" y="261890"/>
                  <a:pt x="685347" y="513064"/>
                </a:cubicBezTo>
                <a:cubicBezTo>
                  <a:pt x="361307" y="874824"/>
                  <a:pt x="423886" y="1401175"/>
                  <a:pt x="450461" y="1625775"/>
                </a:cubicBezTo>
                <a:cubicBezTo>
                  <a:pt x="454747" y="1665208"/>
                  <a:pt x="458176" y="1693497"/>
                  <a:pt x="459033" y="1714072"/>
                </a:cubicBezTo>
                <a:cubicBezTo>
                  <a:pt x="464177" y="1889808"/>
                  <a:pt x="381024" y="2022682"/>
                  <a:pt x="293584" y="2163271"/>
                </a:cubicBezTo>
                <a:cubicBezTo>
                  <a:pt x="273010" y="2196703"/>
                  <a:pt x="251579" y="2230993"/>
                  <a:pt x="231005" y="2266141"/>
                </a:cubicBezTo>
                <a:cubicBezTo>
                  <a:pt x="219861" y="2285000"/>
                  <a:pt x="209574" y="2302145"/>
                  <a:pt x="200144" y="2318433"/>
                </a:cubicBezTo>
                <a:cubicBezTo>
                  <a:pt x="174426" y="2361295"/>
                  <a:pt x="148709" y="2405872"/>
                  <a:pt x="138422" y="2430732"/>
                </a:cubicBezTo>
                <a:cubicBezTo>
                  <a:pt x="140994" y="2431590"/>
                  <a:pt x="144423" y="2432447"/>
                  <a:pt x="148709" y="2433304"/>
                </a:cubicBezTo>
                <a:cubicBezTo>
                  <a:pt x="230148" y="2453021"/>
                  <a:pt x="301299" y="2469309"/>
                  <a:pt x="333018" y="2528459"/>
                </a:cubicBezTo>
                <a:cubicBezTo>
                  <a:pt x="351020" y="2561035"/>
                  <a:pt x="351877" y="2601325"/>
                  <a:pt x="336447" y="2646760"/>
                </a:cubicBezTo>
                <a:cubicBezTo>
                  <a:pt x="348448" y="2660476"/>
                  <a:pt x="394740" y="2680192"/>
                  <a:pt x="435030" y="2687907"/>
                </a:cubicBezTo>
                <a:cubicBezTo>
                  <a:pt x="464177" y="2693908"/>
                  <a:pt x="485608" y="2717911"/>
                  <a:pt x="487323" y="2747915"/>
                </a:cubicBezTo>
                <a:cubicBezTo>
                  <a:pt x="489037" y="2777062"/>
                  <a:pt x="470178" y="2804493"/>
                  <a:pt x="441888" y="2813066"/>
                </a:cubicBezTo>
                <a:cubicBezTo>
                  <a:pt x="425601" y="2818210"/>
                  <a:pt x="406741" y="2828497"/>
                  <a:pt x="398169" y="2836212"/>
                </a:cubicBezTo>
                <a:cubicBezTo>
                  <a:pt x="400740" y="2839641"/>
                  <a:pt x="405027" y="2845642"/>
                  <a:pt x="413599" y="2852500"/>
                </a:cubicBezTo>
                <a:cubicBezTo>
                  <a:pt x="495895" y="2923651"/>
                  <a:pt x="495895" y="2967371"/>
                  <a:pt x="487323" y="3032522"/>
                </a:cubicBezTo>
                <a:cubicBezTo>
                  <a:pt x="482179" y="3071098"/>
                  <a:pt x="474464" y="3123391"/>
                  <a:pt x="501039" y="3231404"/>
                </a:cubicBezTo>
                <a:cubicBezTo>
                  <a:pt x="525899" y="3331702"/>
                  <a:pt x="566190" y="3335131"/>
                  <a:pt x="764214" y="3303413"/>
                </a:cubicBezTo>
                <a:cubicBezTo>
                  <a:pt x="858512" y="3288840"/>
                  <a:pt x="976812" y="3269980"/>
                  <a:pt x="1107972" y="3277696"/>
                </a:cubicBezTo>
                <a:cubicBezTo>
                  <a:pt x="1206555" y="3283696"/>
                  <a:pt x="1287137" y="3323130"/>
                  <a:pt x="1349716" y="3394282"/>
                </a:cubicBezTo>
                <a:cubicBezTo>
                  <a:pt x="1504878" y="3573447"/>
                  <a:pt x="1480018" y="3896630"/>
                  <a:pt x="1478304" y="3910346"/>
                </a:cubicBezTo>
                <a:cubicBezTo>
                  <a:pt x="1475732" y="3945493"/>
                  <a:pt x="1444014" y="3972068"/>
                  <a:pt x="1408866" y="3968639"/>
                </a:cubicBezTo>
                <a:cubicBezTo>
                  <a:pt x="1373719" y="3966067"/>
                  <a:pt x="1347145" y="3934349"/>
                  <a:pt x="1350573" y="3899202"/>
                </a:cubicBezTo>
                <a:lnTo>
                  <a:pt x="1350573" y="3899202"/>
                </a:lnTo>
                <a:cubicBezTo>
                  <a:pt x="1350573" y="3896630"/>
                  <a:pt x="1372005" y="3616309"/>
                  <a:pt x="1252847" y="3478292"/>
                </a:cubicBezTo>
                <a:cubicBezTo>
                  <a:pt x="1213413" y="3432858"/>
                  <a:pt x="1163693" y="3409712"/>
                  <a:pt x="1101114" y="3405426"/>
                </a:cubicBezTo>
                <a:cubicBezTo>
                  <a:pt x="983670" y="3398568"/>
                  <a:pt x="878229" y="3414855"/>
                  <a:pt x="784788" y="3429429"/>
                </a:cubicBezTo>
                <a:cubicBezTo>
                  <a:pt x="611624" y="3456861"/>
                  <a:pt x="431601" y="3485150"/>
                  <a:pt x="376737" y="3260551"/>
                </a:cubicBezTo>
                <a:cubicBezTo>
                  <a:pt x="344162" y="3129391"/>
                  <a:pt x="354449" y="3059954"/>
                  <a:pt x="360450" y="3013662"/>
                </a:cubicBezTo>
                <a:cubicBezTo>
                  <a:pt x="362164" y="3001661"/>
                  <a:pt x="363879" y="2987088"/>
                  <a:pt x="363021" y="2983659"/>
                </a:cubicBezTo>
                <a:cubicBezTo>
                  <a:pt x="362164" y="2981944"/>
                  <a:pt x="357878" y="2972515"/>
                  <a:pt x="330446" y="2948512"/>
                </a:cubicBezTo>
                <a:cubicBezTo>
                  <a:pt x="267867" y="2894505"/>
                  <a:pt x="262723" y="2843070"/>
                  <a:pt x="270438" y="2809637"/>
                </a:cubicBezTo>
                <a:cubicBezTo>
                  <a:pt x="273867" y="2794207"/>
                  <a:pt x="279868" y="2780491"/>
                  <a:pt x="288441" y="2767632"/>
                </a:cubicBezTo>
                <a:cubicBezTo>
                  <a:pt x="262723" y="2752201"/>
                  <a:pt x="239577" y="2732485"/>
                  <a:pt x="225004" y="2707624"/>
                </a:cubicBezTo>
                <a:cubicBezTo>
                  <a:pt x="207002" y="2676763"/>
                  <a:pt x="203573" y="2640759"/>
                  <a:pt x="216432" y="2606469"/>
                </a:cubicBezTo>
                <a:cubicBezTo>
                  <a:pt x="219003" y="2597896"/>
                  <a:pt x="220718" y="2592753"/>
                  <a:pt x="220718" y="2589324"/>
                </a:cubicBezTo>
                <a:cubicBezTo>
                  <a:pt x="206145" y="2579037"/>
                  <a:pt x="154710" y="2566178"/>
                  <a:pt x="120420" y="2558463"/>
                </a:cubicBezTo>
                <a:cubicBezTo>
                  <a:pt x="81843" y="2549033"/>
                  <a:pt x="34695" y="2532745"/>
                  <a:pt x="14978" y="2485597"/>
                </a:cubicBezTo>
                <a:cubicBezTo>
                  <a:pt x="-10740" y="2425589"/>
                  <a:pt x="23550" y="2368153"/>
                  <a:pt x="91273" y="2252425"/>
                </a:cubicBezTo>
                <a:cubicBezTo>
                  <a:pt x="100703" y="2236137"/>
                  <a:pt x="110990" y="2218992"/>
                  <a:pt x="121277" y="2200990"/>
                </a:cubicBezTo>
                <a:cubicBezTo>
                  <a:pt x="142708" y="2163271"/>
                  <a:pt x="164997" y="2128123"/>
                  <a:pt x="186428" y="2094690"/>
                </a:cubicBezTo>
                <a:cubicBezTo>
                  <a:pt x="270438" y="1960102"/>
                  <a:pt x="336447" y="1853803"/>
                  <a:pt x="333018" y="1716643"/>
                </a:cubicBezTo>
                <a:cubicBezTo>
                  <a:pt x="333018" y="1702070"/>
                  <a:pt x="329589" y="1673781"/>
                  <a:pt x="325302" y="1640348"/>
                </a:cubicBezTo>
                <a:cubicBezTo>
                  <a:pt x="296156" y="1398603"/>
                  <a:pt x="229290" y="831961"/>
                  <a:pt x="591907" y="426482"/>
                </a:cubicBezTo>
                <a:cubicBezTo>
                  <a:pt x="842224" y="147018"/>
                  <a:pt x="1248561" y="6429"/>
                  <a:pt x="1799772" y="6429"/>
                </a:cubicBezTo>
                <a:cubicBezTo>
                  <a:pt x="1810060" y="6429"/>
                  <a:pt x="1820346" y="6429"/>
                  <a:pt x="1831491" y="6429"/>
                </a:cubicBezTo>
                <a:cubicBezTo>
                  <a:pt x="2237827" y="10716"/>
                  <a:pt x="2589300" y="102441"/>
                  <a:pt x="2875621" y="279892"/>
                </a:cubicBezTo>
                <a:cubicBezTo>
                  <a:pt x="3126795" y="435054"/>
                  <a:pt x="3319677" y="653653"/>
                  <a:pt x="3433691" y="910828"/>
                </a:cubicBezTo>
                <a:cubicBezTo>
                  <a:pt x="3525417" y="1117425"/>
                  <a:pt x="3561421" y="1339453"/>
                  <a:pt x="3539990" y="1552051"/>
                </a:cubicBezTo>
                <a:cubicBezTo>
                  <a:pt x="3517702" y="1766364"/>
                  <a:pt x="3437977" y="1956673"/>
                  <a:pt x="3308532" y="2102406"/>
                </a:cubicBezTo>
                <a:cubicBezTo>
                  <a:pt x="3284530" y="2128981"/>
                  <a:pt x="3260527" y="2154698"/>
                  <a:pt x="3234809" y="2179558"/>
                </a:cubicBezTo>
                <a:cubicBezTo>
                  <a:pt x="3188517" y="2343293"/>
                  <a:pt x="3125938" y="2516457"/>
                  <a:pt x="3047071" y="2699052"/>
                </a:cubicBezTo>
                <a:cubicBezTo>
                  <a:pt x="2813042" y="3239119"/>
                  <a:pt x="2809613" y="3690033"/>
                  <a:pt x="3038499" y="4037219"/>
                </a:cubicBezTo>
                <a:cubicBezTo>
                  <a:pt x="3325677" y="4476988"/>
                  <a:pt x="3898320" y="4614148"/>
                  <a:pt x="4074914" y="4614148"/>
                </a:cubicBezTo>
                <a:lnTo>
                  <a:pt x="4572119" y="4614148"/>
                </a:lnTo>
                <a:cubicBezTo>
                  <a:pt x="4607266" y="4614148"/>
                  <a:pt x="4636413" y="4643295"/>
                  <a:pt x="4636413" y="4678442"/>
                </a:cubicBezTo>
                <a:cubicBezTo>
                  <a:pt x="4636413" y="4713589"/>
                  <a:pt x="4607266" y="4742736"/>
                  <a:pt x="4572119" y="4742736"/>
                </a:cubicBezTo>
                <a:close/>
                <a:moveTo>
                  <a:pt x="1783485" y="325326"/>
                </a:moveTo>
                <a:cubicBezTo>
                  <a:pt x="1456015" y="325326"/>
                  <a:pt x="1146548" y="418767"/>
                  <a:pt x="937379" y="597075"/>
                </a:cubicBezTo>
                <a:cubicBezTo>
                  <a:pt x="707636" y="792528"/>
                  <a:pt x="620196" y="1068562"/>
                  <a:pt x="683633" y="1395174"/>
                </a:cubicBezTo>
                <a:cubicBezTo>
                  <a:pt x="770215" y="1840944"/>
                  <a:pt x="1198840" y="2242137"/>
                  <a:pt x="1750909" y="2393871"/>
                </a:cubicBezTo>
                <a:cubicBezTo>
                  <a:pt x="2268688" y="2536174"/>
                  <a:pt x="2770180" y="2429875"/>
                  <a:pt x="3119080" y="2109264"/>
                </a:cubicBezTo>
                <a:cubicBezTo>
                  <a:pt x="3233095" y="1686639"/>
                  <a:pt x="3230523" y="1333452"/>
                  <a:pt x="3111365" y="1054846"/>
                </a:cubicBezTo>
                <a:cubicBezTo>
                  <a:pt x="2990493" y="773668"/>
                  <a:pt x="2745319" y="562785"/>
                  <a:pt x="2381845" y="429911"/>
                </a:cubicBezTo>
                <a:cubicBezTo>
                  <a:pt x="2187250" y="360474"/>
                  <a:pt x="1981510" y="325326"/>
                  <a:pt x="1783485" y="325326"/>
                </a:cubicBezTo>
                <a:close/>
              </a:path>
            </a:pathLst>
          </a:custGeom>
          <a:solidFill>
            <a:srgbClr val="FEFDFA"/>
          </a:solidFill>
          <a:ln w="9525" cap="flat">
            <a:noFill/>
            <a:prstDash val="solid"/>
            <a:miter/>
          </a:ln>
        </p:spPr>
        <p:txBody>
          <a:bodyPr rtlCol="0" anchor="ctr"/>
          <a:lstStyle/>
          <a:p>
            <a:endParaRPr lang="zh-CN" altLang="en-US"/>
          </a:p>
        </p:txBody>
      </p:sp>
      <p:sp>
        <p:nvSpPr>
          <p:cNvPr id="115" name="任意多边形: 形状 114">
            <a:extLst>
              <a:ext uri="{FF2B5EF4-FFF2-40B4-BE49-F238E27FC236}">
                <a16:creationId xmlns:a16="http://schemas.microsoft.com/office/drawing/2014/main" id="{6BE5D726-5B11-4791-A3DF-4E49321311DA}"/>
              </a:ext>
            </a:extLst>
          </p:cNvPr>
          <p:cNvSpPr/>
          <p:nvPr userDrawn="1"/>
        </p:nvSpPr>
        <p:spPr>
          <a:xfrm>
            <a:off x="7405514" y="2053302"/>
            <a:ext cx="757411" cy="757411"/>
          </a:xfrm>
          <a:custGeom>
            <a:avLst/>
            <a:gdLst>
              <a:gd name="connsiteX0" fmla="*/ 386271 w 788670"/>
              <a:gd name="connsiteY0" fmla="*/ 782320 h 788670"/>
              <a:gd name="connsiteX1" fmla="*/ 782320 w 788670"/>
              <a:gd name="connsiteY1" fmla="*/ 402558 h 788670"/>
              <a:gd name="connsiteX2" fmla="*/ 402558 w 788670"/>
              <a:gd name="connsiteY2" fmla="*/ 6509 h 788670"/>
              <a:gd name="connsiteX3" fmla="*/ 6509 w 788670"/>
              <a:gd name="connsiteY3" fmla="*/ 386271 h 788670"/>
              <a:gd name="connsiteX4" fmla="*/ 386271 w 788670"/>
              <a:gd name="connsiteY4" fmla="*/ 782320 h 788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70" h="788670">
                <a:moveTo>
                  <a:pt x="386271" y="782320"/>
                </a:moveTo>
                <a:cubicBezTo>
                  <a:pt x="600583" y="786606"/>
                  <a:pt x="778034" y="616871"/>
                  <a:pt x="782320" y="402558"/>
                </a:cubicBezTo>
                <a:cubicBezTo>
                  <a:pt x="786606" y="188246"/>
                  <a:pt x="616871" y="10795"/>
                  <a:pt x="402558" y="6509"/>
                </a:cubicBezTo>
                <a:cubicBezTo>
                  <a:pt x="188246" y="2223"/>
                  <a:pt x="10795" y="171958"/>
                  <a:pt x="6509" y="386271"/>
                </a:cubicBezTo>
                <a:cubicBezTo>
                  <a:pt x="2223" y="600583"/>
                  <a:pt x="171958" y="777177"/>
                  <a:pt x="386271" y="782320"/>
                </a:cubicBezTo>
                <a:close/>
              </a:path>
            </a:pathLst>
          </a:custGeom>
          <a:solidFill>
            <a:srgbClr val="FFCF48"/>
          </a:solidFill>
          <a:ln w="9525" cap="flat">
            <a:noFill/>
            <a:prstDash val="solid"/>
            <a:miter/>
          </a:ln>
        </p:spPr>
        <p:txBody>
          <a:bodyPr rtlCol="0" anchor="ctr"/>
          <a:lstStyle/>
          <a:p>
            <a:endParaRPr lang="zh-CN" altLang="en-US"/>
          </a:p>
        </p:txBody>
      </p:sp>
      <p:sp>
        <p:nvSpPr>
          <p:cNvPr id="116" name="任意多边形: 形状 115">
            <a:extLst>
              <a:ext uri="{FF2B5EF4-FFF2-40B4-BE49-F238E27FC236}">
                <a16:creationId xmlns:a16="http://schemas.microsoft.com/office/drawing/2014/main" id="{856A18BC-D751-44F7-BDF0-E3A78D76E56A}"/>
              </a:ext>
            </a:extLst>
          </p:cNvPr>
          <p:cNvSpPr/>
          <p:nvPr userDrawn="1"/>
        </p:nvSpPr>
        <p:spPr>
          <a:xfrm>
            <a:off x="7156139" y="1787461"/>
            <a:ext cx="1259609" cy="1284306"/>
          </a:xfrm>
          <a:custGeom>
            <a:avLst/>
            <a:gdLst>
              <a:gd name="connsiteX0" fmla="*/ 501062 w 1311592"/>
              <a:gd name="connsiteY0" fmla="*/ 1183434 h 1337310"/>
              <a:gd name="connsiteX1" fmla="*/ 585073 w 1311592"/>
              <a:gd name="connsiteY1" fmla="*/ 1201436 h 1337310"/>
              <a:gd name="connsiteX2" fmla="*/ 585073 w 1311592"/>
              <a:gd name="connsiteY2" fmla="*/ 1204865 h 1337310"/>
              <a:gd name="connsiteX3" fmla="*/ 613362 w 1311592"/>
              <a:gd name="connsiteY3" fmla="*/ 1331738 h 1337310"/>
              <a:gd name="connsiteX4" fmla="*/ 747093 w 1311592"/>
              <a:gd name="connsiteY4" fmla="*/ 1325737 h 1337310"/>
              <a:gd name="connsiteX5" fmla="*/ 766810 w 1311592"/>
              <a:gd name="connsiteY5" fmla="*/ 1193721 h 1337310"/>
              <a:gd name="connsiteX6" fmla="*/ 849106 w 1311592"/>
              <a:gd name="connsiteY6" fmla="*/ 1168860 h 1337310"/>
              <a:gd name="connsiteX7" fmla="*/ 850821 w 1311592"/>
              <a:gd name="connsiteY7" fmla="*/ 1170575 h 1337310"/>
              <a:gd name="connsiteX8" fmla="*/ 936546 w 1311592"/>
              <a:gd name="connsiteY8" fmla="*/ 1268301 h 1337310"/>
              <a:gd name="connsiteX9" fmla="*/ 1050560 w 1311592"/>
              <a:gd name="connsiteY9" fmla="*/ 1198864 h 1337310"/>
              <a:gd name="connsiteX10" fmla="*/ 1004268 w 1311592"/>
              <a:gd name="connsiteY10" fmla="*/ 1073706 h 1337310"/>
              <a:gd name="connsiteX11" fmla="*/ 1065133 w 1311592"/>
              <a:gd name="connsiteY11" fmla="*/ 1011984 h 1337310"/>
              <a:gd name="connsiteX12" fmla="*/ 1066848 w 1311592"/>
              <a:gd name="connsiteY12" fmla="*/ 1012841 h 1337310"/>
              <a:gd name="connsiteX13" fmla="*/ 1188577 w 1311592"/>
              <a:gd name="connsiteY13" fmla="*/ 1057418 h 1337310"/>
              <a:gd name="connsiteX14" fmla="*/ 1255443 w 1311592"/>
              <a:gd name="connsiteY14" fmla="*/ 941689 h 1337310"/>
              <a:gd name="connsiteX15" fmla="*/ 1155144 w 1311592"/>
              <a:gd name="connsiteY15" fmla="*/ 854250 h 1337310"/>
              <a:gd name="connsiteX16" fmla="*/ 1178290 w 1311592"/>
              <a:gd name="connsiteY16" fmla="*/ 770239 h 1337310"/>
              <a:gd name="connsiteX17" fmla="*/ 1180862 w 1311592"/>
              <a:gd name="connsiteY17" fmla="*/ 770239 h 1337310"/>
              <a:gd name="connsiteX18" fmla="*/ 1310307 w 1311592"/>
              <a:gd name="connsiteY18" fmla="*/ 751380 h 1337310"/>
              <a:gd name="connsiteX19" fmla="*/ 1312878 w 1311592"/>
              <a:gd name="connsiteY19" fmla="*/ 617649 h 1337310"/>
              <a:gd name="connsiteX20" fmla="*/ 1182576 w 1311592"/>
              <a:gd name="connsiteY20" fmla="*/ 589359 h 1337310"/>
              <a:gd name="connsiteX21" fmla="*/ 1154287 w 1311592"/>
              <a:gd name="connsiteY21" fmla="*/ 479631 h 1337310"/>
              <a:gd name="connsiteX22" fmla="*/ 1156002 w 1311592"/>
              <a:gd name="connsiteY22" fmla="*/ 478774 h 1337310"/>
              <a:gd name="connsiteX23" fmla="*/ 1255443 w 1311592"/>
              <a:gd name="connsiteY23" fmla="*/ 394764 h 1337310"/>
              <a:gd name="connsiteX24" fmla="*/ 1187720 w 1311592"/>
              <a:gd name="connsiteY24" fmla="*/ 279892 h 1337310"/>
              <a:gd name="connsiteX25" fmla="*/ 1061704 w 1311592"/>
              <a:gd name="connsiteY25" fmla="*/ 323612 h 1337310"/>
              <a:gd name="connsiteX26" fmla="*/ 966549 w 1311592"/>
              <a:gd name="connsiteY26" fmla="*/ 235315 h 1337310"/>
              <a:gd name="connsiteX27" fmla="*/ 967407 w 1311592"/>
              <a:gd name="connsiteY27" fmla="*/ 232743 h 1337310"/>
              <a:gd name="connsiteX28" fmla="*/ 1004268 w 1311592"/>
              <a:gd name="connsiteY28" fmla="*/ 107585 h 1337310"/>
              <a:gd name="connsiteX29" fmla="*/ 884253 w 1311592"/>
              <a:gd name="connsiteY29" fmla="*/ 48435 h 1337310"/>
              <a:gd name="connsiteX30" fmla="*/ 802815 w 1311592"/>
              <a:gd name="connsiteY30" fmla="*/ 154734 h 1337310"/>
              <a:gd name="connsiteX31" fmla="*/ 802815 w 1311592"/>
              <a:gd name="connsiteY31" fmla="*/ 154734 h 1337310"/>
              <a:gd name="connsiteX32" fmla="*/ 718804 w 1311592"/>
              <a:gd name="connsiteY32" fmla="*/ 136731 h 1337310"/>
              <a:gd name="connsiteX33" fmla="*/ 718804 w 1311592"/>
              <a:gd name="connsiteY33" fmla="*/ 133302 h 1337310"/>
              <a:gd name="connsiteX34" fmla="*/ 690515 w 1311592"/>
              <a:gd name="connsiteY34" fmla="*/ 6429 h 1337310"/>
              <a:gd name="connsiteX35" fmla="*/ 556784 w 1311592"/>
              <a:gd name="connsiteY35" fmla="*/ 12430 h 1337310"/>
              <a:gd name="connsiteX36" fmla="*/ 537067 w 1311592"/>
              <a:gd name="connsiteY36" fmla="*/ 145304 h 1337310"/>
              <a:gd name="connsiteX37" fmla="*/ 537067 w 1311592"/>
              <a:gd name="connsiteY37" fmla="*/ 146161 h 1337310"/>
              <a:gd name="connsiteX38" fmla="*/ 454771 w 1311592"/>
              <a:gd name="connsiteY38" fmla="*/ 171021 h 1337310"/>
              <a:gd name="connsiteX39" fmla="*/ 453057 w 1311592"/>
              <a:gd name="connsiteY39" fmla="*/ 167592 h 1337310"/>
              <a:gd name="connsiteX40" fmla="*/ 367332 w 1311592"/>
              <a:gd name="connsiteY40" fmla="*/ 69866 h 1337310"/>
              <a:gd name="connsiteX41" fmla="*/ 253317 w 1311592"/>
              <a:gd name="connsiteY41" fmla="*/ 139303 h 1337310"/>
              <a:gd name="connsiteX42" fmla="*/ 299609 w 1311592"/>
              <a:gd name="connsiteY42" fmla="*/ 265319 h 1337310"/>
              <a:gd name="connsiteX43" fmla="*/ 300466 w 1311592"/>
              <a:gd name="connsiteY43" fmla="*/ 266176 h 1337310"/>
              <a:gd name="connsiteX44" fmla="*/ 240459 w 1311592"/>
              <a:gd name="connsiteY44" fmla="*/ 327041 h 1337310"/>
              <a:gd name="connsiteX45" fmla="*/ 236172 w 1311592"/>
              <a:gd name="connsiteY45" fmla="*/ 324469 h 1337310"/>
              <a:gd name="connsiteX46" fmla="*/ 114443 w 1311592"/>
              <a:gd name="connsiteY46" fmla="*/ 279892 h 1337310"/>
              <a:gd name="connsiteX47" fmla="*/ 47577 w 1311592"/>
              <a:gd name="connsiteY47" fmla="*/ 395621 h 1337310"/>
              <a:gd name="connsiteX48" fmla="*/ 148733 w 1311592"/>
              <a:gd name="connsiteY48" fmla="*/ 483918 h 1337310"/>
              <a:gd name="connsiteX49" fmla="*/ 149590 w 1311592"/>
              <a:gd name="connsiteY49" fmla="*/ 491633 h 1337310"/>
              <a:gd name="connsiteX50" fmla="*/ 126444 w 1311592"/>
              <a:gd name="connsiteY50" fmla="*/ 580787 h 1337310"/>
              <a:gd name="connsiteX51" fmla="*/ 121301 w 1311592"/>
              <a:gd name="connsiteY51" fmla="*/ 580787 h 1337310"/>
              <a:gd name="connsiteX52" fmla="*/ 9001 w 1311592"/>
              <a:gd name="connsiteY52" fmla="*/ 586788 h 1337310"/>
              <a:gd name="connsiteX53" fmla="*/ 6429 w 1311592"/>
              <a:gd name="connsiteY53" fmla="*/ 720519 h 1337310"/>
              <a:gd name="connsiteX54" fmla="*/ 129016 w 1311592"/>
              <a:gd name="connsiteY54" fmla="*/ 748808 h 1337310"/>
              <a:gd name="connsiteX55" fmla="*/ 126444 w 1311592"/>
              <a:gd name="connsiteY55" fmla="*/ 748808 h 1337310"/>
              <a:gd name="connsiteX56" fmla="*/ 152162 w 1311592"/>
              <a:gd name="connsiteY56" fmla="*/ 856821 h 1337310"/>
              <a:gd name="connsiteX57" fmla="*/ 147018 w 1311592"/>
              <a:gd name="connsiteY57" fmla="*/ 859393 h 1337310"/>
              <a:gd name="connsiteX58" fmla="*/ 47577 w 1311592"/>
              <a:gd name="connsiteY58" fmla="*/ 943404 h 1337310"/>
              <a:gd name="connsiteX59" fmla="*/ 117015 w 1311592"/>
              <a:gd name="connsiteY59" fmla="*/ 1059990 h 1337310"/>
              <a:gd name="connsiteX60" fmla="*/ 243030 w 1311592"/>
              <a:gd name="connsiteY60" fmla="*/ 1016270 h 1337310"/>
              <a:gd name="connsiteX61" fmla="*/ 243887 w 1311592"/>
              <a:gd name="connsiteY61" fmla="*/ 1015412 h 1337310"/>
              <a:gd name="connsiteX62" fmla="*/ 338185 w 1311592"/>
              <a:gd name="connsiteY62" fmla="*/ 1103709 h 1337310"/>
              <a:gd name="connsiteX63" fmla="*/ 336471 w 1311592"/>
              <a:gd name="connsiteY63" fmla="*/ 1107138 h 1337310"/>
              <a:gd name="connsiteX64" fmla="*/ 299609 w 1311592"/>
              <a:gd name="connsiteY64" fmla="*/ 1231440 h 1337310"/>
              <a:gd name="connsiteX65" fmla="*/ 419624 w 1311592"/>
              <a:gd name="connsiteY65" fmla="*/ 1290590 h 1337310"/>
              <a:gd name="connsiteX66" fmla="*/ 501062 w 1311592"/>
              <a:gd name="connsiteY66" fmla="*/ 1183434 h 1337310"/>
              <a:gd name="connsiteX67" fmla="*/ 501062 w 1311592"/>
              <a:gd name="connsiteY67" fmla="*/ 1183434 h 1337310"/>
              <a:gd name="connsiteX68" fmla="*/ 210455 w 1311592"/>
              <a:gd name="connsiteY68" fmla="*/ 661368 h 1337310"/>
              <a:gd name="connsiteX69" fmla="*/ 663940 w 1311592"/>
              <a:gd name="connsiteY69" fmla="*/ 226743 h 1337310"/>
              <a:gd name="connsiteX70" fmla="*/ 1098566 w 1311592"/>
              <a:gd name="connsiteY70" fmla="*/ 680228 h 1337310"/>
              <a:gd name="connsiteX71" fmla="*/ 645081 w 1311592"/>
              <a:gd name="connsiteY71" fmla="*/ 1114854 h 1337310"/>
              <a:gd name="connsiteX72" fmla="*/ 210455 w 1311592"/>
              <a:gd name="connsiteY72" fmla="*/ 661368 h 133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311592" h="1337310">
                <a:moveTo>
                  <a:pt x="501062" y="1183434"/>
                </a:moveTo>
                <a:cubicBezTo>
                  <a:pt x="528495" y="1191149"/>
                  <a:pt x="555927" y="1198007"/>
                  <a:pt x="585073" y="1201436"/>
                </a:cubicBezTo>
                <a:lnTo>
                  <a:pt x="585073" y="1204865"/>
                </a:lnTo>
                <a:lnTo>
                  <a:pt x="613362" y="1331738"/>
                </a:lnTo>
                <a:lnTo>
                  <a:pt x="747093" y="1325737"/>
                </a:lnTo>
                <a:lnTo>
                  <a:pt x="766810" y="1193721"/>
                </a:lnTo>
                <a:cubicBezTo>
                  <a:pt x="795099" y="1187720"/>
                  <a:pt x="822531" y="1180005"/>
                  <a:pt x="849106" y="1168860"/>
                </a:cubicBezTo>
                <a:lnTo>
                  <a:pt x="850821" y="1170575"/>
                </a:lnTo>
                <a:lnTo>
                  <a:pt x="936546" y="1268301"/>
                </a:lnTo>
                <a:lnTo>
                  <a:pt x="1050560" y="1198864"/>
                </a:lnTo>
                <a:lnTo>
                  <a:pt x="1004268" y="1073706"/>
                </a:lnTo>
                <a:cubicBezTo>
                  <a:pt x="1025700" y="1054846"/>
                  <a:pt x="1046274" y="1034272"/>
                  <a:pt x="1065133" y="1011984"/>
                </a:cubicBezTo>
                <a:lnTo>
                  <a:pt x="1066848" y="1012841"/>
                </a:lnTo>
                <a:lnTo>
                  <a:pt x="1188577" y="1057418"/>
                </a:lnTo>
                <a:lnTo>
                  <a:pt x="1255443" y="941689"/>
                </a:lnTo>
                <a:lnTo>
                  <a:pt x="1155144" y="854250"/>
                </a:lnTo>
                <a:cubicBezTo>
                  <a:pt x="1165431" y="827675"/>
                  <a:pt x="1172289" y="807958"/>
                  <a:pt x="1178290" y="770239"/>
                </a:cubicBezTo>
                <a:lnTo>
                  <a:pt x="1180862" y="770239"/>
                </a:lnTo>
                <a:lnTo>
                  <a:pt x="1310307" y="751380"/>
                </a:lnTo>
                <a:lnTo>
                  <a:pt x="1312878" y="617649"/>
                </a:lnTo>
                <a:lnTo>
                  <a:pt x="1182576" y="589359"/>
                </a:lnTo>
                <a:cubicBezTo>
                  <a:pt x="1176576" y="551640"/>
                  <a:pt x="1167146" y="514779"/>
                  <a:pt x="1154287" y="479631"/>
                </a:cubicBezTo>
                <a:lnTo>
                  <a:pt x="1156002" y="478774"/>
                </a:lnTo>
                <a:lnTo>
                  <a:pt x="1255443" y="394764"/>
                </a:lnTo>
                <a:lnTo>
                  <a:pt x="1187720" y="279892"/>
                </a:lnTo>
                <a:lnTo>
                  <a:pt x="1061704" y="323612"/>
                </a:lnTo>
                <a:cubicBezTo>
                  <a:pt x="1033415" y="290179"/>
                  <a:pt x="1001697" y="261033"/>
                  <a:pt x="966549" y="235315"/>
                </a:cubicBezTo>
                <a:lnTo>
                  <a:pt x="967407" y="232743"/>
                </a:lnTo>
                <a:lnTo>
                  <a:pt x="1004268" y="107585"/>
                </a:lnTo>
                <a:lnTo>
                  <a:pt x="884253" y="48435"/>
                </a:lnTo>
                <a:lnTo>
                  <a:pt x="802815" y="154734"/>
                </a:lnTo>
                <a:lnTo>
                  <a:pt x="802815" y="154734"/>
                </a:lnTo>
                <a:cubicBezTo>
                  <a:pt x="775382" y="147018"/>
                  <a:pt x="747951" y="140160"/>
                  <a:pt x="718804" y="136731"/>
                </a:cubicBezTo>
                <a:lnTo>
                  <a:pt x="718804" y="133302"/>
                </a:lnTo>
                <a:lnTo>
                  <a:pt x="690515" y="6429"/>
                </a:lnTo>
                <a:lnTo>
                  <a:pt x="556784" y="12430"/>
                </a:lnTo>
                <a:lnTo>
                  <a:pt x="537067" y="145304"/>
                </a:lnTo>
                <a:lnTo>
                  <a:pt x="537067" y="146161"/>
                </a:lnTo>
                <a:cubicBezTo>
                  <a:pt x="508778" y="152162"/>
                  <a:pt x="481346" y="159877"/>
                  <a:pt x="454771" y="171021"/>
                </a:cubicBezTo>
                <a:lnTo>
                  <a:pt x="453057" y="167592"/>
                </a:lnTo>
                <a:lnTo>
                  <a:pt x="367332" y="69866"/>
                </a:lnTo>
                <a:lnTo>
                  <a:pt x="253317" y="139303"/>
                </a:lnTo>
                <a:lnTo>
                  <a:pt x="299609" y="265319"/>
                </a:lnTo>
                <a:lnTo>
                  <a:pt x="300466" y="266176"/>
                </a:lnTo>
                <a:cubicBezTo>
                  <a:pt x="279035" y="285036"/>
                  <a:pt x="259318" y="304752"/>
                  <a:pt x="240459" y="327041"/>
                </a:cubicBezTo>
                <a:lnTo>
                  <a:pt x="236172" y="324469"/>
                </a:lnTo>
                <a:lnTo>
                  <a:pt x="114443" y="279892"/>
                </a:lnTo>
                <a:lnTo>
                  <a:pt x="47577" y="395621"/>
                </a:lnTo>
                <a:lnTo>
                  <a:pt x="148733" y="483918"/>
                </a:lnTo>
                <a:lnTo>
                  <a:pt x="149590" y="491633"/>
                </a:lnTo>
                <a:cubicBezTo>
                  <a:pt x="140160" y="518208"/>
                  <a:pt x="132445" y="542211"/>
                  <a:pt x="126444" y="580787"/>
                </a:cubicBezTo>
                <a:lnTo>
                  <a:pt x="121301" y="580787"/>
                </a:lnTo>
                <a:lnTo>
                  <a:pt x="9001" y="586788"/>
                </a:lnTo>
                <a:lnTo>
                  <a:pt x="6429" y="720519"/>
                </a:lnTo>
                <a:lnTo>
                  <a:pt x="129016" y="748808"/>
                </a:lnTo>
                <a:lnTo>
                  <a:pt x="126444" y="748808"/>
                </a:lnTo>
                <a:cubicBezTo>
                  <a:pt x="131588" y="786527"/>
                  <a:pt x="139303" y="822531"/>
                  <a:pt x="152162" y="856821"/>
                </a:cubicBezTo>
                <a:lnTo>
                  <a:pt x="147018" y="859393"/>
                </a:lnTo>
                <a:lnTo>
                  <a:pt x="47577" y="943404"/>
                </a:lnTo>
                <a:lnTo>
                  <a:pt x="117015" y="1059990"/>
                </a:lnTo>
                <a:lnTo>
                  <a:pt x="243030" y="1016270"/>
                </a:lnTo>
                <a:lnTo>
                  <a:pt x="243887" y="1015412"/>
                </a:lnTo>
                <a:cubicBezTo>
                  <a:pt x="271320" y="1047988"/>
                  <a:pt x="303038" y="1077992"/>
                  <a:pt x="338185" y="1103709"/>
                </a:cubicBezTo>
                <a:lnTo>
                  <a:pt x="336471" y="1107138"/>
                </a:lnTo>
                <a:lnTo>
                  <a:pt x="299609" y="1231440"/>
                </a:lnTo>
                <a:lnTo>
                  <a:pt x="419624" y="1290590"/>
                </a:lnTo>
                <a:lnTo>
                  <a:pt x="501062" y="1183434"/>
                </a:lnTo>
                <a:lnTo>
                  <a:pt x="501062" y="1183434"/>
                </a:lnTo>
                <a:close/>
                <a:moveTo>
                  <a:pt x="210455" y="661368"/>
                </a:moveTo>
                <a:cubicBezTo>
                  <a:pt x="215598" y="416195"/>
                  <a:pt x="418767" y="221599"/>
                  <a:pt x="663940" y="226743"/>
                </a:cubicBezTo>
                <a:cubicBezTo>
                  <a:pt x="909114" y="231886"/>
                  <a:pt x="1103709" y="435054"/>
                  <a:pt x="1098566" y="680228"/>
                </a:cubicBezTo>
                <a:cubicBezTo>
                  <a:pt x="1093422" y="925401"/>
                  <a:pt x="890254" y="1119997"/>
                  <a:pt x="645081" y="1114854"/>
                </a:cubicBezTo>
                <a:cubicBezTo>
                  <a:pt x="399050" y="1109710"/>
                  <a:pt x="205311" y="906542"/>
                  <a:pt x="210455" y="661368"/>
                </a:cubicBezTo>
                <a:close/>
              </a:path>
            </a:pathLst>
          </a:custGeom>
          <a:solidFill>
            <a:srgbClr val="FFCF48"/>
          </a:solidFill>
          <a:ln w="9525" cap="flat">
            <a:noFill/>
            <a:prstDash val="solid"/>
            <a:miter/>
          </a:ln>
        </p:spPr>
        <p:txBody>
          <a:bodyPr rtlCol="0" anchor="ctr"/>
          <a:lstStyle/>
          <a:p>
            <a:endParaRPr lang="zh-CN" altLang="en-US"/>
          </a:p>
        </p:txBody>
      </p:sp>
      <p:sp>
        <p:nvSpPr>
          <p:cNvPr id="117" name="任意多边形: 形状 116">
            <a:extLst>
              <a:ext uri="{FF2B5EF4-FFF2-40B4-BE49-F238E27FC236}">
                <a16:creationId xmlns:a16="http://schemas.microsoft.com/office/drawing/2014/main" id="{99228B9B-B1BB-42FF-9876-5A37C6463472}"/>
              </a:ext>
            </a:extLst>
          </p:cNvPr>
          <p:cNvSpPr/>
          <p:nvPr userDrawn="1"/>
        </p:nvSpPr>
        <p:spPr>
          <a:xfrm>
            <a:off x="8269876" y="2962943"/>
            <a:ext cx="493964" cy="493964"/>
          </a:xfrm>
          <a:custGeom>
            <a:avLst/>
            <a:gdLst>
              <a:gd name="connsiteX0" fmla="*/ 316911 w 514350"/>
              <a:gd name="connsiteY0" fmla="*/ 503792 h 514350"/>
              <a:gd name="connsiteX1" fmla="*/ 503792 w 514350"/>
              <a:gd name="connsiteY1" fmla="*/ 200325 h 514350"/>
              <a:gd name="connsiteX2" fmla="*/ 200325 w 514350"/>
              <a:gd name="connsiteY2" fmla="*/ 13445 h 514350"/>
              <a:gd name="connsiteX3" fmla="*/ 13445 w 514350"/>
              <a:gd name="connsiteY3" fmla="*/ 316911 h 514350"/>
              <a:gd name="connsiteX4" fmla="*/ 316911 w 514350"/>
              <a:gd name="connsiteY4" fmla="*/ 503792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316911" y="503792"/>
                </a:moveTo>
                <a:cubicBezTo>
                  <a:pt x="452357" y="472074"/>
                  <a:pt x="536367" y="335771"/>
                  <a:pt x="503792" y="200325"/>
                </a:cubicBezTo>
                <a:cubicBezTo>
                  <a:pt x="472074" y="64880"/>
                  <a:pt x="335771" y="-19131"/>
                  <a:pt x="200325" y="13445"/>
                </a:cubicBezTo>
                <a:cubicBezTo>
                  <a:pt x="64880" y="45163"/>
                  <a:pt x="-19131" y="181466"/>
                  <a:pt x="13445" y="316911"/>
                </a:cubicBezTo>
                <a:cubicBezTo>
                  <a:pt x="46020" y="452357"/>
                  <a:pt x="181466" y="536367"/>
                  <a:pt x="316911" y="503792"/>
                </a:cubicBezTo>
                <a:close/>
              </a:path>
            </a:pathLst>
          </a:custGeom>
          <a:solidFill>
            <a:srgbClr val="FF6969"/>
          </a:solidFill>
          <a:ln w="9525" cap="flat">
            <a:noFill/>
            <a:prstDash val="solid"/>
            <a:miter/>
          </a:ln>
        </p:spPr>
        <p:txBody>
          <a:bodyPr rtlCol="0" anchor="ctr"/>
          <a:lstStyle/>
          <a:p>
            <a:endParaRPr lang="zh-CN" altLang="en-US"/>
          </a:p>
        </p:txBody>
      </p:sp>
      <p:sp>
        <p:nvSpPr>
          <p:cNvPr id="118" name="任意多边形: 形状 117">
            <a:extLst>
              <a:ext uri="{FF2B5EF4-FFF2-40B4-BE49-F238E27FC236}">
                <a16:creationId xmlns:a16="http://schemas.microsoft.com/office/drawing/2014/main" id="{0A78041D-A2C5-42A3-B217-03A4B8953908}"/>
              </a:ext>
            </a:extLst>
          </p:cNvPr>
          <p:cNvSpPr/>
          <p:nvPr userDrawn="1"/>
        </p:nvSpPr>
        <p:spPr>
          <a:xfrm>
            <a:off x="8104549" y="2792677"/>
            <a:ext cx="823273" cy="831506"/>
          </a:xfrm>
          <a:custGeom>
            <a:avLst/>
            <a:gdLst>
              <a:gd name="connsiteX0" fmla="*/ 418767 w 857250"/>
              <a:gd name="connsiteY0" fmla="*/ 783098 h 865822"/>
              <a:gd name="connsiteX1" fmla="*/ 474488 w 857250"/>
              <a:gd name="connsiteY1" fmla="*/ 780526 h 865822"/>
              <a:gd name="connsiteX2" fmla="*/ 475345 w 857250"/>
              <a:gd name="connsiteY2" fmla="*/ 782241 h 865822"/>
              <a:gd name="connsiteX3" fmla="*/ 513921 w 857250"/>
              <a:gd name="connsiteY3" fmla="*/ 857679 h 865822"/>
              <a:gd name="connsiteX4" fmla="*/ 597075 w 857250"/>
              <a:gd name="connsiteY4" fmla="*/ 831961 h 865822"/>
              <a:gd name="connsiteX5" fmla="*/ 588502 w 857250"/>
              <a:gd name="connsiteY5" fmla="*/ 745379 h 865822"/>
              <a:gd name="connsiteX6" fmla="*/ 636508 w 857250"/>
              <a:gd name="connsiteY6" fmla="*/ 716232 h 865822"/>
              <a:gd name="connsiteX7" fmla="*/ 637366 w 857250"/>
              <a:gd name="connsiteY7" fmla="*/ 717090 h 865822"/>
              <a:gd name="connsiteX8" fmla="*/ 706803 w 857250"/>
              <a:gd name="connsiteY8" fmla="*/ 764238 h 865822"/>
              <a:gd name="connsiteX9" fmla="*/ 767667 w 857250"/>
              <a:gd name="connsiteY9" fmla="*/ 701659 h 865822"/>
              <a:gd name="connsiteX10" fmla="*/ 718804 w 857250"/>
              <a:gd name="connsiteY10" fmla="*/ 630507 h 865822"/>
              <a:gd name="connsiteX11" fmla="*/ 747094 w 857250"/>
              <a:gd name="connsiteY11" fmla="*/ 581644 h 865822"/>
              <a:gd name="connsiteX12" fmla="*/ 748808 w 857250"/>
              <a:gd name="connsiteY12" fmla="*/ 581644 h 865822"/>
              <a:gd name="connsiteX13" fmla="*/ 832819 w 857250"/>
              <a:gd name="connsiteY13" fmla="*/ 590216 h 865822"/>
              <a:gd name="connsiteX14" fmla="*/ 855964 w 857250"/>
              <a:gd name="connsiteY14" fmla="*/ 506206 h 865822"/>
              <a:gd name="connsiteX15" fmla="*/ 778812 w 857250"/>
              <a:gd name="connsiteY15" fmla="*/ 466772 h 865822"/>
              <a:gd name="connsiteX16" fmla="*/ 779669 w 857250"/>
              <a:gd name="connsiteY16" fmla="*/ 410194 h 865822"/>
              <a:gd name="connsiteX17" fmla="*/ 781384 w 857250"/>
              <a:gd name="connsiteY17" fmla="*/ 410194 h 865822"/>
              <a:gd name="connsiteX18" fmla="*/ 856822 w 857250"/>
              <a:gd name="connsiteY18" fmla="*/ 378476 h 865822"/>
              <a:gd name="connsiteX19" fmla="*/ 837105 w 857250"/>
              <a:gd name="connsiteY19" fmla="*/ 294465 h 865822"/>
              <a:gd name="connsiteX20" fmla="*/ 751380 w 857250"/>
              <a:gd name="connsiteY20" fmla="*/ 297894 h 865822"/>
              <a:gd name="connsiteX21" fmla="*/ 716232 w 857250"/>
              <a:gd name="connsiteY21" fmla="*/ 233601 h 865822"/>
              <a:gd name="connsiteX22" fmla="*/ 717947 w 857250"/>
              <a:gd name="connsiteY22" fmla="*/ 232743 h 865822"/>
              <a:gd name="connsiteX23" fmla="*/ 766810 w 857250"/>
              <a:gd name="connsiteY23" fmla="*/ 163306 h 865822"/>
              <a:gd name="connsiteX24" fmla="*/ 705946 w 857250"/>
              <a:gd name="connsiteY24" fmla="*/ 101584 h 865822"/>
              <a:gd name="connsiteX25" fmla="*/ 633937 w 857250"/>
              <a:gd name="connsiteY25" fmla="*/ 149590 h 865822"/>
              <a:gd name="connsiteX26" fmla="*/ 559356 w 857250"/>
              <a:gd name="connsiteY26" fmla="*/ 109299 h 865822"/>
              <a:gd name="connsiteX27" fmla="*/ 559356 w 857250"/>
              <a:gd name="connsiteY27" fmla="*/ 107585 h 865822"/>
              <a:gd name="connsiteX28" fmla="*/ 561927 w 857250"/>
              <a:gd name="connsiteY28" fmla="*/ 23574 h 865822"/>
              <a:gd name="connsiteX29" fmla="*/ 477060 w 857250"/>
              <a:gd name="connsiteY29" fmla="*/ 6429 h 865822"/>
              <a:gd name="connsiteX30" fmla="*/ 443627 w 857250"/>
              <a:gd name="connsiteY30" fmla="*/ 87011 h 865822"/>
              <a:gd name="connsiteX31" fmla="*/ 443627 w 857250"/>
              <a:gd name="connsiteY31" fmla="*/ 87011 h 865822"/>
              <a:gd name="connsiteX32" fmla="*/ 387906 w 857250"/>
              <a:gd name="connsiteY32" fmla="*/ 89582 h 865822"/>
              <a:gd name="connsiteX33" fmla="*/ 387049 w 857250"/>
              <a:gd name="connsiteY33" fmla="*/ 87868 h 865822"/>
              <a:gd name="connsiteX34" fmla="*/ 346758 w 857250"/>
              <a:gd name="connsiteY34" fmla="*/ 13287 h 865822"/>
              <a:gd name="connsiteX35" fmla="*/ 263604 w 857250"/>
              <a:gd name="connsiteY35" fmla="*/ 39005 h 865822"/>
              <a:gd name="connsiteX36" fmla="*/ 273034 w 857250"/>
              <a:gd name="connsiteY36" fmla="*/ 125587 h 865822"/>
              <a:gd name="connsiteX37" fmla="*/ 273034 w 857250"/>
              <a:gd name="connsiteY37" fmla="*/ 126444 h 865822"/>
              <a:gd name="connsiteX38" fmla="*/ 225885 w 857250"/>
              <a:gd name="connsiteY38" fmla="*/ 155591 h 865822"/>
              <a:gd name="connsiteX39" fmla="*/ 224171 w 857250"/>
              <a:gd name="connsiteY39" fmla="*/ 153876 h 865822"/>
              <a:gd name="connsiteX40" fmla="*/ 154734 w 857250"/>
              <a:gd name="connsiteY40" fmla="*/ 106727 h 865822"/>
              <a:gd name="connsiteX41" fmla="*/ 93869 w 857250"/>
              <a:gd name="connsiteY41" fmla="*/ 169307 h 865822"/>
              <a:gd name="connsiteX42" fmla="*/ 143589 w 857250"/>
              <a:gd name="connsiteY42" fmla="*/ 241316 h 865822"/>
              <a:gd name="connsiteX43" fmla="*/ 144447 w 857250"/>
              <a:gd name="connsiteY43" fmla="*/ 242173 h 865822"/>
              <a:gd name="connsiteX44" fmla="*/ 117015 w 857250"/>
              <a:gd name="connsiteY44" fmla="*/ 290179 h 865822"/>
              <a:gd name="connsiteX45" fmla="*/ 113586 w 857250"/>
              <a:gd name="connsiteY45" fmla="*/ 289322 h 865822"/>
              <a:gd name="connsiteX46" fmla="*/ 29575 w 857250"/>
              <a:gd name="connsiteY46" fmla="*/ 280749 h 865822"/>
              <a:gd name="connsiteX47" fmla="*/ 6429 w 857250"/>
              <a:gd name="connsiteY47" fmla="*/ 364760 h 865822"/>
              <a:gd name="connsiteX48" fmla="*/ 84439 w 857250"/>
              <a:gd name="connsiteY48" fmla="*/ 403336 h 865822"/>
              <a:gd name="connsiteX49" fmla="*/ 87011 w 857250"/>
              <a:gd name="connsiteY49" fmla="*/ 409337 h 865822"/>
              <a:gd name="connsiteX50" fmla="*/ 87868 w 857250"/>
              <a:gd name="connsiteY50" fmla="*/ 471059 h 865822"/>
              <a:gd name="connsiteX51" fmla="*/ 84439 w 857250"/>
              <a:gd name="connsiteY51" fmla="*/ 471916 h 865822"/>
              <a:gd name="connsiteX52" fmla="*/ 14145 w 857250"/>
              <a:gd name="connsiteY52" fmla="*/ 490776 h 865822"/>
              <a:gd name="connsiteX53" fmla="*/ 33861 w 857250"/>
              <a:gd name="connsiteY53" fmla="*/ 575643 h 865822"/>
              <a:gd name="connsiteX54" fmla="*/ 115300 w 857250"/>
              <a:gd name="connsiteY54" fmla="*/ 573929 h 865822"/>
              <a:gd name="connsiteX55" fmla="*/ 113586 w 857250"/>
              <a:gd name="connsiteY55" fmla="*/ 573929 h 865822"/>
              <a:gd name="connsiteX56" fmla="*/ 147019 w 857250"/>
              <a:gd name="connsiteY56" fmla="*/ 637365 h 865822"/>
              <a:gd name="connsiteX57" fmla="*/ 144447 w 857250"/>
              <a:gd name="connsiteY57" fmla="*/ 639937 h 865822"/>
              <a:gd name="connsiteX58" fmla="*/ 95584 w 857250"/>
              <a:gd name="connsiteY58" fmla="*/ 708517 h 865822"/>
              <a:gd name="connsiteX59" fmla="*/ 156448 w 857250"/>
              <a:gd name="connsiteY59" fmla="*/ 770239 h 865822"/>
              <a:gd name="connsiteX60" fmla="*/ 228457 w 857250"/>
              <a:gd name="connsiteY60" fmla="*/ 722233 h 865822"/>
              <a:gd name="connsiteX61" fmla="*/ 229314 w 857250"/>
              <a:gd name="connsiteY61" fmla="*/ 721376 h 865822"/>
              <a:gd name="connsiteX62" fmla="*/ 303038 w 857250"/>
              <a:gd name="connsiteY62" fmla="*/ 761666 h 865822"/>
              <a:gd name="connsiteX63" fmla="*/ 302181 w 857250"/>
              <a:gd name="connsiteY63" fmla="*/ 764238 h 865822"/>
              <a:gd name="connsiteX64" fmla="*/ 299609 w 857250"/>
              <a:gd name="connsiteY64" fmla="*/ 848249 h 865822"/>
              <a:gd name="connsiteX65" fmla="*/ 384477 w 857250"/>
              <a:gd name="connsiteY65" fmla="*/ 866251 h 865822"/>
              <a:gd name="connsiteX66" fmla="*/ 418767 w 857250"/>
              <a:gd name="connsiteY66" fmla="*/ 783098 h 865822"/>
              <a:gd name="connsiteX67" fmla="*/ 418767 w 857250"/>
              <a:gd name="connsiteY67" fmla="*/ 783098 h 865822"/>
              <a:gd name="connsiteX68" fmla="*/ 150448 w 857250"/>
              <a:gd name="connsiteY68" fmla="*/ 501920 h 865822"/>
              <a:gd name="connsiteX69" fmla="*/ 364760 w 857250"/>
              <a:gd name="connsiteY69" fmla="*/ 154734 h 865822"/>
              <a:gd name="connsiteX70" fmla="*/ 711946 w 857250"/>
              <a:gd name="connsiteY70" fmla="*/ 369046 h 865822"/>
              <a:gd name="connsiteX71" fmla="*/ 497634 w 857250"/>
              <a:gd name="connsiteY71" fmla="*/ 716232 h 865822"/>
              <a:gd name="connsiteX72" fmla="*/ 150448 w 857250"/>
              <a:gd name="connsiteY72" fmla="*/ 501920 h 865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7250" h="865822">
                <a:moveTo>
                  <a:pt x="418767" y="783098"/>
                </a:moveTo>
                <a:cubicBezTo>
                  <a:pt x="436769" y="783955"/>
                  <a:pt x="455629" y="783098"/>
                  <a:pt x="474488" y="780526"/>
                </a:cubicBezTo>
                <a:lnTo>
                  <a:pt x="475345" y="782241"/>
                </a:lnTo>
                <a:lnTo>
                  <a:pt x="513921" y="857679"/>
                </a:lnTo>
                <a:lnTo>
                  <a:pt x="597075" y="831961"/>
                </a:lnTo>
                <a:lnTo>
                  <a:pt x="588502" y="745379"/>
                </a:lnTo>
                <a:cubicBezTo>
                  <a:pt x="605647" y="736806"/>
                  <a:pt x="621078" y="727376"/>
                  <a:pt x="636508" y="716232"/>
                </a:cubicBezTo>
                <a:lnTo>
                  <a:pt x="637366" y="717090"/>
                </a:lnTo>
                <a:lnTo>
                  <a:pt x="706803" y="764238"/>
                </a:lnTo>
                <a:lnTo>
                  <a:pt x="767667" y="701659"/>
                </a:lnTo>
                <a:lnTo>
                  <a:pt x="718804" y="630507"/>
                </a:lnTo>
                <a:cubicBezTo>
                  <a:pt x="729091" y="615077"/>
                  <a:pt x="738521" y="598789"/>
                  <a:pt x="747094" y="581644"/>
                </a:cubicBezTo>
                <a:lnTo>
                  <a:pt x="748808" y="581644"/>
                </a:lnTo>
                <a:lnTo>
                  <a:pt x="832819" y="590216"/>
                </a:lnTo>
                <a:lnTo>
                  <a:pt x="855964" y="506206"/>
                </a:lnTo>
                <a:lnTo>
                  <a:pt x="778812" y="466772"/>
                </a:lnTo>
                <a:cubicBezTo>
                  <a:pt x="780526" y="447913"/>
                  <a:pt x="783098" y="437626"/>
                  <a:pt x="779669" y="410194"/>
                </a:cubicBezTo>
                <a:lnTo>
                  <a:pt x="781384" y="410194"/>
                </a:lnTo>
                <a:lnTo>
                  <a:pt x="856822" y="378476"/>
                </a:lnTo>
                <a:lnTo>
                  <a:pt x="837105" y="294465"/>
                </a:lnTo>
                <a:lnTo>
                  <a:pt x="751380" y="297894"/>
                </a:lnTo>
                <a:cubicBezTo>
                  <a:pt x="741950" y="274749"/>
                  <a:pt x="729949" y="253317"/>
                  <a:pt x="716232" y="233601"/>
                </a:cubicBezTo>
                <a:lnTo>
                  <a:pt x="717947" y="232743"/>
                </a:lnTo>
                <a:lnTo>
                  <a:pt x="766810" y="163306"/>
                </a:lnTo>
                <a:lnTo>
                  <a:pt x="705946" y="101584"/>
                </a:lnTo>
                <a:lnTo>
                  <a:pt x="633937" y="149590"/>
                </a:lnTo>
                <a:cubicBezTo>
                  <a:pt x="610791" y="133302"/>
                  <a:pt x="585931" y="119586"/>
                  <a:pt x="559356" y="109299"/>
                </a:cubicBezTo>
                <a:lnTo>
                  <a:pt x="559356" y="107585"/>
                </a:lnTo>
                <a:lnTo>
                  <a:pt x="561927" y="23574"/>
                </a:lnTo>
                <a:lnTo>
                  <a:pt x="477060" y="6429"/>
                </a:lnTo>
                <a:lnTo>
                  <a:pt x="443627" y="87011"/>
                </a:lnTo>
                <a:lnTo>
                  <a:pt x="443627" y="87011"/>
                </a:lnTo>
                <a:cubicBezTo>
                  <a:pt x="425625" y="86154"/>
                  <a:pt x="406765" y="87011"/>
                  <a:pt x="387906" y="89582"/>
                </a:cubicBezTo>
                <a:lnTo>
                  <a:pt x="387049" y="87868"/>
                </a:lnTo>
                <a:lnTo>
                  <a:pt x="346758" y="13287"/>
                </a:lnTo>
                <a:lnTo>
                  <a:pt x="263604" y="39005"/>
                </a:lnTo>
                <a:lnTo>
                  <a:pt x="273034" y="125587"/>
                </a:lnTo>
                <a:lnTo>
                  <a:pt x="273034" y="126444"/>
                </a:lnTo>
                <a:cubicBezTo>
                  <a:pt x="256746" y="135017"/>
                  <a:pt x="240459" y="144446"/>
                  <a:pt x="225885" y="155591"/>
                </a:cubicBezTo>
                <a:lnTo>
                  <a:pt x="224171" y="153876"/>
                </a:lnTo>
                <a:lnTo>
                  <a:pt x="154734" y="106727"/>
                </a:lnTo>
                <a:lnTo>
                  <a:pt x="93869" y="169307"/>
                </a:lnTo>
                <a:lnTo>
                  <a:pt x="143589" y="241316"/>
                </a:lnTo>
                <a:lnTo>
                  <a:pt x="144447" y="242173"/>
                </a:lnTo>
                <a:cubicBezTo>
                  <a:pt x="134160" y="257604"/>
                  <a:pt x="124730" y="273034"/>
                  <a:pt x="117015" y="290179"/>
                </a:cubicBezTo>
                <a:lnTo>
                  <a:pt x="113586" y="289322"/>
                </a:lnTo>
                <a:lnTo>
                  <a:pt x="29575" y="280749"/>
                </a:lnTo>
                <a:lnTo>
                  <a:pt x="6429" y="364760"/>
                </a:lnTo>
                <a:lnTo>
                  <a:pt x="84439" y="403336"/>
                </a:lnTo>
                <a:lnTo>
                  <a:pt x="87011" y="409337"/>
                </a:lnTo>
                <a:cubicBezTo>
                  <a:pt x="85296" y="427339"/>
                  <a:pt x="84439" y="442770"/>
                  <a:pt x="87868" y="471059"/>
                </a:cubicBezTo>
                <a:lnTo>
                  <a:pt x="84439" y="471916"/>
                </a:lnTo>
                <a:lnTo>
                  <a:pt x="14145" y="490776"/>
                </a:lnTo>
                <a:lnTo>
                  <a:pt x="33861" y="575643"/>
                </a:lnTo>
                <a:lnTo>
                  <a:pt x="115300" y="573929"/>
                </a:lnTo>
                <a:lnTo>
                  <a:pt x="113586" y="573929"/>
                </a:lnTo>
                <a:cubicBezTo>
                  <a:pt x="123015" y="596217"/>
                  <a:pt x="133303" y="617649"/>
                  <a:pt x="147019" y="637365"/>
                </a:cubicBezTo>
                <a:lnTo>
                  <a:pt x="144447" y="639937"/>
                </a:lnTo>
                <a:lnTo>
                  <a:pt x="95584" y="708517"/>
                </a:lnTo>
                <a:lnTo>
                  <a:pt x="156448" y="770239"/>
                </a:lnTo>
                <a:lnTo>
                  <a:pt x="228457" y="722233"/>
                </a:lnTo>
                <a:lnTo>
                  <a:pt x="229314" y="721376"/>
                </a:lnTo>
                <a:cubicBezTo>
                  <a:pt x="252460" y="737664"/>
                  <a:pt x="276463" y="751380"/>
                  <a:pt x="303038" y="761666"/>
                </a:cubicBezTo>
                <a:lnTo>
                  <a:pt x="302181" y="764238"/>
                </a:lnTo>
                <a:lnTo>
                  <a:pt x="299609" y="848249"/>
                </a:lnTo>
                <a:lnTo>
                  <a:pt x="384477" y="866251"/>
                </a:lnTo>
                <a:lnTo>
                  <a:pt x="418767" y="783098"/>
                </a:lnTo>
                <a:lnTo>
                  <a:pt x="418767" y="783098"/>
                </a:lnTo>
                <a:close/>
                <a:moveTo>
                  <a:pt x="150448" y="501920"/>
                </a:moveTo>
                <a:cubicBezTo>
                  <a:pt x="113586" y="346757"/>
                  <a:pt x="209598" y="191595"/>
                  <a:pt x="364760" y="154734"/>
                </a:cubicBezTo>
                <a:cubicBezTo>
                  <a:pt x="519922" y="117872"/>
                  <a:pt x="675084" y="213884"/>
                  <a:pt x="711946" y="369046"/>
                </a:cubicBezTo>
                <a:cubicBezTo>
                  <a:pt x="748808" y="524208"/>
                  <a:pt x="652796" y="679371"/>
                  <a:pt x="497634" y="716232"/>
                </a:cubicBezTo>
                <a:cubicBezTo>
                  <a:pt x="342471" y="753094"/>
                  <a:pt x="187309" y="657082"/>
                  <a:pt x="150448" y="501920"/>
                </a:cubicBezTo>
                <a:close/>
              </a:path>
            </a:pathLst>
          </a:custGeom>
          <a:solidFill>
            <a:srgbClr val="FF6969"/>
          </a:solidFill>
          <a:ln w="9525" cap="flat">
            <a:noFill/>
            <a:prstDash val="solid"/>
            <a:miter/>
          </a:ln>
        </p:spPr>
        <p:txBody>
          <a:bodyPr rtlCol="0" anchor="ctr"/>
          <a:lstStyle/>
          <a:p>
            <a:endParaRPr lang="zh-CN" altLang="en-US"/>
          </a:p>
        </p:txBody>
      </p:sp>
      <p:sp>
        <p:nvSpPr>
          <p:cNvPr id="119" name="任意多边形: 形状 118">
            <a:extLst>
              <a:ext uri="{FF2B5EF4-FFF2-40B4-BE49-F238E27FC236}">
                <a16:creationId xmlns:a16="http://schemas.microsoft.com/office/drawing/2014/main" id="{0E06B473-471F-47B6-B043-5730A03AA10E}"/>
              </a:ext>
            </a:extLst>
          </p:cNvPr>
          <p:cNvSpPr/>
          <p:nvPr userDrawn="1"/>
        </p:nvSpPr>
        <p:spPr>
          <a:xfrm>
            <a:off x="8669842" y="2195508"/>
            <a:ext cx="518663" cy="518663"/>
          </a:xfrm>
          <a:custGeom>
            <a:avLst/>
            <a:gdLst>
              <a:gd name="connsiteX0" fmla="*/ 381356 w 540067"/>
              <a:gd name="connsiteY0" fmla="*/ 518516 h 540067"/>
              <a:gd name="connsiteX1" fmla="*/ 518516 w 540067"/>
              <a:gd name="connsiteY1" fmla="*/ 166186 h 540067"/>
              <a:gd name="connsiteX2" fmla="*/ 166186 w 540067"/>
              <a:gd name="connsiteY2" fmla="*/ 29026 h 540067"/>
              <a:gd name="connsiteX3" fmla="*/ 29026 w 540067"/>
              <a:gd name="connsiteY3" fmla="*/ 381356 h 540067"/>
              <a:gd name="connsiteX4" fmla="*/ 381356 w 540067"/>
              <a:gd name="connsiteY4" fmla="*/ 518516 h 540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67" h="540067">
                <a:moveTo>
                  <a:pt x="381356" y="518516"/>
                </a:moveTo>
                <a:cubicBezTo>
                  <a:pt x="516802" y="459366"/>
                  <a:pt x="577666" y="300775"/>
                  <a:pt x="518516" y="166186"/>
                </a:cubicBezTo>
                <a:cubicBezTo>
                  <a:pt x="459366" y="30741"/>
                  <a:pt x="300775" y="-30124"/>
                  <a:pt x="166186" y="29026"/>
                </a:cubicBezTo>
                <a:cubicBezTo>
                  <a:pt x="30741" y="88177"/>
                  <a:pt x="-30124" y="246768"/>
                  <a:pt x="29026" y="381356"/>
                </a:cubicBezTo>
                <a:cubicBezTo>
                  <a:pt x="88177" y="515944"/>
                  <a:pt x="245911" y="577666"/>
                  <a:pt x="381356" y="518516"/>
                </a:cubicBezTo>
                <a:close/>
              </a:path>
            </a:pathLst>
          </a:custGeom>
          <a:solidFill>
            <a:srgbClr val="52FFEA"/>
          </a:solidFill>
          <a:ln w="9525" cap="flat">
            <a:noFill/>
            <a:prstDash val="solid"/>
            <a:miter/>
          </a:ln>
        </p:spPr>
        <p:txBody>
          <a:bodyPr rtlCol="0" anchor="ctr"/>
          <a:lstStyle/>
          <a:p>
            <a:endParaRPr lang="zh-CN" altLang="en-US"/>
          </a:p>
        </p:txBody>
      </p:sp>
      <p:sp>
        <p:nvSpPr>
          <p:cNvPr id="120" name="任意多边形: 形状 119">
            <a:extLst>
              <a:ext uri="{FF2B5EF4-FFF2-40B4-BE49-F238E27FC236}">
                <a16:creationId xmlns:a16="http://schemas.microsoft.com/office/drawing/2014/main" id="{84CC5E3F-44D7-457B-AEF5-1844167A40B0}"/>
              </a:ext>
            </a:extLst>
          </p:cNvPr>
          <p:cNvSpPr/>
          <p:nvPr userDrawn="1"/>
        </p:nvSpPr>
        <p:spPr>
          <a:xfrm>
            <a:off x="8485725" y="2016331"/>
            <a:ext cx="889135" cy="880903"/>
          </a:xfrm>
          <a:custGeom>
            <a:avLst/>
            <a:gdLst>
              <a:gd name="connsiteX0" fmla="*/ 519065 w 925830"/>
              <a:gd name="connsiteY0" fmla="*/ 825103 h 917257"/>
              <a:gd name="connsiteX1" fmla="*/ 576500 w 925830"/>
              <a:gd name="connsiteY1" fmla="*/ 812244 h 917257"/>
              <a:gd name="connsiteX2" fmla="*/ 577358 w 925830"/>
              <a:gd name="connsiteY2" fmla="*/ 813959 h 917257"/>
              <a:gd name="connsiteX3" fmla="*/ 631365 w 925830"/>
              <a:gd name="connsiteY3" fmla="*/ 885111 h 917257"/>
              <a:gd name="connsiteX4" fmla="*/ 712803 w 925830"/>
              <a:gd name="connsiteY4" fmla="*/ 842248 h 917257"/>
              <a:gd name="connsiteX5" fmla="*/ 687086 w 925830"/>
              <a:gd name="connsiteY5" fmla="*/ 753952 h 917257"/>
              <a:gd name="connsiteX6" fmla="*/ 731663 w 925830"/>
              <a:gd name="connsiteY6" fmla="*/ 714518 h 917257"/>
              <a:gd name="connsiteX7" fmla="*/ 733378 w 925830"/>
              <a:gd name="connsiteY7" fmla="*/ 715375 h 917257"/>
              <a:gd name="connsiteX8" fmla="*/ 815673 w 925830"/>
              <a:gd name="connsiteY8" fmla="*/ 751380 h 917257"/>
              <a:gd name="connsiteX9" fmla="*/ 867108 w 925830"/>
              <a:gd name="connsiteY9" fmla="*/ 675084 h 917257"/>
              <a:gd name="connsiteX10" fmla="*/ 801958 w 925830"/>
              <a:gd name="connsiteY10" fmla="*/ 609933 h 917257"/>
              <a:gd name="connsiteX11" fmla="*/ 821674 w 925830"/>
              <a:gd name="connsiteY11" fmla="*/ 553355 h 917257"/>
              <a:gd name="connsiteX12" fmla="*/ 823389 w 925830"/>
              <a:gd name="connsiteY12" fmla="*/ 553355 h 917257"/>
              <a:gd name="connsiteX13" fmla="*/ 912542 w 925830"/>
              <a:gd name="connsiteY13" fmla="*/ 545640 h 917257"/>
              <a:gd name="connsiteX14" fmla="*/ 920258 w 925830"/>
              <a:gd name="connsiteY14" fmla="*/ 453914 h 917257"/>
              <a:gd name="connsiteX15" fmla="*/ 831961 w 925830"/>
              <a:gd name="connsiteY15" fmla="*/ 428196 h 917257"/>
              <a:gd name="connsiteX16" fmla="*/ 821674 w 925830"/>
              <a:gd name="connsiteY16" fmla="*/ 369046 h 917257"/>
              <a:gd name="connsiteX17" fmla="*/ 823389 w 925830"/>
              <a:gd name="connsiteY17" fmla="*/ 368189 h 917257"/>
              <a:gd name="connsiteX18" fmla="*/ 896255 w 925830"/>
              <a:gd name="connsiteY18" fmla="*/ 321040 h 917257"/>
              <a:gd name="connsiteX19" fmla="*/ 859393 w 925830"/>
              <a:gd name="connsiteY19" fmla="*/ 237030 h 917257"/>
              <a:gd name="connsiteX20" fmla="*/ 771096 w 925830"/>
              <a:gd name="connsiteY20" fmla="*/ 256746 h 917257"/>
              <a:gd name="connsiteX21" fmla="*/ 722233 w 925830"/>
              <a:gd name="connsiteY21" fmla="*/ 196739 h 917257"/>
              <a:gd name="connsiteX22" fmla="*/ 723090 w 925830"/>
              <a:gd name="connsiteY22" fmla="*/ 195024 h 917257"/>
              <a:gd name="connsiteX23" fmla="*/ 760809 w 925830"/>
              <a:gd name="connsiteY23" fmla="*/ 113586 h 917257"/>
              <a:gd name="connsiteX24" fmla="*/ 685371 w 925830"/>
              <a:gd name="connsiteY24" fmla="*/ 61293 h 917257"/>
              <a:gd name="connsiteX25" fmla="*/ 619363 w 925830"/>
              <a:gd name="connsiteY25" fmla="*/ 125587 h 917257"/>
              <a:gd name="connsiteX26" fmla="*/ 534495 w 925830"/>
              <a:gd name="connsiteY26" fmla="*/ 98155 h 917257"/>
              <a:gd name="connsiteX27" fmla="*/ 534495 w 925830"/>
              <a:gd name="connsiteY27" fmla="*/ 96441 h 917257"/>
              <a:gd name="connsiteX28" fmla="*/ 520779 w 925830"/>
              <a:gd name="connsiteY28" fmla="*/ 8144 h 917257"/>
              <a:gd name="connsiteX29" fmla="*/ 429054 w 925830"/>
              <a:gd name="connsiteY29" fmla="*/ 6429 h 917257"/>
              <a:gd name="connsiteX30" fmla="*/ 409337 w 925830"/>
              <a:gd name="connsiteY30" fmla="*/ 96441 h 917257"/>
              <a:gd name="connsiteX31" fmla="*/ 409337 w 925830"/>
              <a:gd name="connsiteY31" fmla="*/ 96441 h 917257"/>
              <a:gd name="connsiteX32" fmla="*/ 351901 w 925830"/>
              <a:gd name="connsiteY32" fmla="*/ 109299 h 917257"/>
              <a:gd name="connsiteX33" fmla="*/ 351044 w 925830"/>
              <a:gd name="connsiteY33" fmla="*/ 107585 h 917257"/>
              <a:gd name="connsiteX34" fmla="*/ 296180 w 925830"/>
              <a:gd name="connsiteY34" fmla="*/ 36433 h 917257"/>
              <a:gd name="connsiteX35" fmla="*/ 214741 w 925830"/>
              <a:gd name="connsiteY35" fmla="*/ 79296 h 917257"/>
              <a:gd name="connsiteX36" fmla="*/ 240459 w 925830"/>
              <a:gd name="connsiteY36" fmla="*/ 167592 h 917257"/>
              <a:gd name="connsiteX37" fmla="*/ 240459 w 925830"/>
              <a:gd name="connsiteY37" fmla="*/ 168450 h 917257"/>
              <a:gd name="connsiteX38" fmla="*/ 196739 w 925830"/>
              <a:gd name="connsiteY38" fmla="*/ 207883 h 917257"/>
              <a:gd name="connsiteX39" fmla="*/ 194167 w 925830"/>
              <a:gd name="connsiteY39" fmla="*/ 206169 h 917257"/>
              <a:gd name="connsiteX40" fmla="*/ 111871 w 925830"/>
              <a:gd name="connsiteY40" fmla="*/ 170164 h 917257"/>
              <a:gd name="connsiteX41" fmla="*/ 60436 w 925830"/>
              <a:gd name="connsiteY41" fmla="*/ 246459 h 917257"/>
              <a:gd name="connsiteX42" fmla="*/ 125587 w 925830"/>
              <a:gd name="connsiteY42" fmla="*/ 311610 h 917257"/>
              <a:gd name="connsiteX43" fmla="*/ 126444 w 925830"/>
              <a:gd name="connsiteY43" fmla="*/ 312468 h 917257"/>
              <a:gd name="connsiteX44" fmla="*/ 106727 w 925830"/>
              <a:gd name="connsiteY44" fmla="*/ 368189 h 917257"/>
              <a:gd name="connsiteX45" fmla="*/ 103299 w 925830"/>
              <a:gd name="connsiteY45" fmla="*/ 368189 h 917257"/>
              <a:gd name="connsiteX46" fmla="*/ 14145 w 925830"/>
              <a:gd name="connsiteY46" fmla="*/ 375904 h 917257"/>
              <a:gd name="connsiteX47" fmla="*/ 6429 w 925830"/>
              <a:gd name="connsiteY47" fmla="*/ 467630 h 917257"/>
              <a:gd name="connsiteX48" fmla="*/ 95583 w 925830"/>
              <a:gd name="connsiteY48" fmla="*/ 493348 h 917257"/>
              <a:gd name="connsiteX49" fmla="*/ 99013 w 925830"/>
              <a:gd name="connsiteY49" fmla="*/ 499348 h 917257"/>
              <a:gd name="connsiteX50" fmla="*/ 111014 w 925830"/>
              <a:gd name="connsiteY50" fmla="*/ 563642 h 917257"/>
              <a:gd name="connsiteX51" fmla="*/ 107585 w 925830"/>
              <a:gd name="connsiteY51" fmla="*/ 565357 h 917257"/>
              <a:gd name="connsiteX52" fmla="*/ 38147 w 925830"/>
              <a:gd name="connsiteY52" fmla="*/ 598789 h 917257"/>
              <a:gd name="connsiteX53" fmla="*/ 75009 w 925830"/>
              <a:gd name="connsiteY53" fmla="*/ 682800 h 917257"/>
              <a:gd name="connsiteX54" fmla="*/ 159877 w 925830"/>
              <a:gd name="connsiteY54" fmla="*/ 664798 h 917257"/>
              <a:gd name="connsiteX55" fmla="*/ 158162 w 925830"/>
              <a:gd name="connsiteY55" fmla="*/ 665655 h 917257"/>
              <a:gd name="connsiteX56" fmla="*/ 205311 w 925830"/>
              <a:gd name="connsiteY56" fmla="*/ 725662 h 917257"/>
              <a:gd name="connsiteX57" fmla="*/ 202740 w 925830"/>
              <a:gd name="connsiteY57" fmla="*/ 729091 h 917257"/>
              <a:gd name="connsiteX58" fmla="*/ 165020 w 925830"/>
              <a:gd name="connsiteY58" fmla="*/ 810530 h 917257"/>
              <a:gd name="connsiteX59" fmla="*/ 240459 w 925830"/>
              <a:gd name="connsiteY59" fmla="*/ 862822 h 917257"/>
              <a:gd name="connsiteX60" fmla="*/ 306467 w 925830"/>
              <a:gd name="connsiteY60" fmla="*/ 798528 h 917257"/>
              <a:gd name="connsiteX61" fmla="*/ 306467 w 925830"/>
              <a:gd name="connsiteY61" fmla="*/ 797671 h 917257"/>
              <a:gd name="connsiteX62" fmla="*/ 391335 w 925830"/>
              <a:gd name="connsiteY62" fmla="*/ 825103 h 917257"/>
              <a:gd name="connsiteX63" fmla="*/ 391335 w 925830"/>
              <a:gd name="connsiteY63" fmla="*/ 827675 h 917257"/>
              <a:gd name="connsiteX64" fmla="*/ 405050 w 925830"/>
              <a:gd name="connsiteY64" fmla="*/ 915972 h 917257"/>
              <a:gd name="connsiteX65" fmla="*/ 496776 w 925830"/>
              <a:gd name="connsiteY65" fmla="*/ 917686 h 917257"/>
              <a:gd name="connsiteX66" fmla="*/ 519065 w 925830"/>
              <a:gd name="connsiteY66" fmla="*/ 825103 h 917257"/>
              <a:gd name="connsiteX67" fmla="*/ 519065 w 925830"/>
              <a:gd name="connsiteY67" fmla="*/ 825103 h 917257"/>
              <a:gd name="connsiteX68" fmla="*/ 184738 w 925830"/>
              <a:gd name="connsiteY68" fmla="*/ 583359 h 917257"/>
              <a:gd name="connsiteX69" fmla="*/ 341614 w 925830"/>
              <a:gd name="connsiteY69" fmla="*/ 179594 h 917257"/>
              <a:gd name="connsiteX70" fmla="*/ 745379 w 925830"/>
              <a:gd name="connsiteY70" fmla="*/ 336471 h 917257"/>
              <a:gd name="connsiteX71" fmla="*/ 588502 w 925830"/>
              <a:gd name="connsiteY71" fmla="*/ 740235 h 917257"/>
              <a:gd name="connsiteX72" fmla="*/ 184738 w 925830"/>
              <a:gd name="connsiteY72" fmla="*/ 583359 h 91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25830" h="917257">
                <a:moveTo>
                  <a:pt x="519065" y="825103"/>
                </a:moveTo>
                <a:cubicBezTo>
                  <a:pt x="538782" y="822532"/>
                  <a:pt x="557641" y="818245"/>
                  <a:pt x="576500" y="812244"/>
                </a:cubicBezTo>
                <a:lnTo>
                  <a:pt x="577358" y="813959"/>
                </a:lnTo>
                <a:lnTo>
                  <a:pt x="631365" y="885111"/>
                </a:lnTo>
                <a:lnTo>
                  <a:pt x="712803" y="842248"/>
                </a:lnTo>
                <a:lnTo>
                  <a:pt x="687086" y="753952"/>
                </a:lnTo>
                <a:cubicBezTo>
                  <a:pt x="703374" y="741950"/>
                  <a:pt x="717947" y="729091"/>
                  <a:pt x="731663" y="714518"/>
                </a:cubicBezTo>
                <a:lnTo>
                  <a:pt x="733378" y="715375"/>
                </a:lnTo>
                <a:lnTo>
                  <a:pt x="815673" y="751380"/>
                </a:lnTo>
                <a:lnTo>
                  <a:pt x="867108" y="675084"/>
                </a:lnTo>
                <a:lnTo>
                  <a:pt x="801958" y="609933"/>
                </a:lnTo>
                <a:cubicBezTo>
                  <a:pt x="809672" y="591931"/>
                  <a:pt x="816530" y="573072"/>
                  <a:pt x="821674" y="553355"/>
                </a:cubicBezTo>
                <a:lnTo>
                  <a:pt x="823389" y="553355"/>
                </a:lnTo>
                <a:lnTo>
                  <a:pt x="912542" y="545640"/>
                </a:lnTo>
                <a:lnTo>
                  <a:pt x="920258" y="453914"/>
                </a:lnTo>
                <a:lnTo>
                  <a:pt x="831961" y="428196"/>
                </a:lnTo>
                <a:cubicBezTo>
                  <a:pt x="830247" y="408480"/>
                  <a:pt x="831104" y="397335"/>
                  <a:pt x="821674" y="369046"/>
                </a:cubicBezTo>
                <a:lnTo>
                  <a:pt x="823389" y="368189"/>
                </a:lnTo>
                <a:lnTo>
                  <a:pt x="896255" y="321040"/>
                </a:lnTo>
                <a:lnTo>
                  <a:pt x="859393" y="237030"/>
                </a:lnTo>
                <a:lnTo>
                  <a:pt x="771096" y="256746"/>
                </a:lnTo>
                <a:cubicBezTo>
                  <a:pt x="756523" y="234458"/>
                  <a:pt x="740235" y="214741"/>
                  <a:pt x="722233" y="196739"/>
                </a:cubicBezTo>
                <a:lnTo>
                  <a:pt x="723090" y="195024"/>
                </a:lnTo>
                <a:lnTo>
                  <a:pt x="760809" y="113586"/>
                </a:lnTo>
                <a:lnTo>
                  <a:pt x="685371" y="61293"/>
                </a:lnTo>
                <a:lnTo>
                  <a:pt x="619363" y="125587"/>
                </a:lnTo>
                <a:cubicBezTo>
                  <a:pt x="591931" y="112728"/>
                  <a:pt x="563642" y="103299"/>
                  <a:pt x="534495" y="98155"/>
                </a:cubicBezTo>
                <a:lnTo>
                  <a:pt x="534495" y="96441"/>
                </a:lnTo>
                <a:lnTo>
                  <a:pt x="520779" y="8144"/>
                </a:lnTo>
                <a:lnTo>
                  <a:pt x="429054" y="6429"/>
                </a:lnTo>
                <a:lnTo>
                  <a:pt x="409337" y="96441"/>
                </a:lnTo>
                <a:lnTo>
                  <a:pt x="409337" y="96441"/>
                </a:lnTo>
                <a:cubicBezTo>
                  <a:pt x="389620" y="99012"/>
                  <a:pt x="370760" y="103299"/>
                  <a:pt x="351901" y="109299"/>
                </a:cubicBezTo>
                <a:lnTo>
                  <a:pt x="351044" y="107585"/>
                </a:lnTo>
                <a:lnTo>
                  <a:pt x="296180" y="36433"/>
                </a:lnTo>
                <a:lnTo>
                  <a:pt x="214741" y="79296"/>
                </a:lnTo>
                <a:lnTo>
                  <a:pt x="240459" y="167592"/>
                </a:lnTo>
                <a:lnTo>
                  <a:pt x="240459" y="168450"/>
                </a:lnTo>
                <a:cubicBezTo>
                  <a:pt x="225028" y="180451"/>
                  <a:pt x="209597" y="193310"/>
                  <a:pt x="196739" y="207883"/>
                </a:cubicBezTo>
                <a:lnTo>
                  <a:pt x="194167" y="206169"/>
                </a:lnTo>
                <a:lnTo>
                  <a:pt x="111871" y="170164"/>
                </a:lnTo>
                <a:lnTo>
                  <a:pt x="60436" y="246459"/>
                </a:lnTo>
                <a:lnTo>
                  <a:pt x="125587" y="311610"/>
                </a:lnTo>
                <a:lnTo>
                  <a:pt x="126444" y="312468"/>
                </a:lnTo>
                <a:cubicBezTo>
                  <a:pt x="118729" y="330470"/>
                  <a:pt x="111871" y="348472"/>
                  <a:pt x="106727" y="368189"/>
                </a:cubicBezTo>
                <a:lnTo>
                  <a:pt x="103299" y="368189"/>
                </a:lnTo>
                <a:lnTo>
                  <a:pt x="14145" y="375904"/>
                </a:lnTo>
                <a:lnTo>
                  <a:pt x="6429" y="467630"/>
                </a:lnTo>
                <a:lnTo>
                  <a:pt x="95583" y="493348"/>
                </a:lnTo>
                <a:lnTo>
                  <a:pt x="99013" y="499348"/>
                </a:lnTo>
                <a:cubicBezTo>
                  <a:pt x="100727" y="519065"/>
                  <a:pt x="102441" y="534495"/>
                  <a:pt x="111014" y="563642"/>
                </a:cubicBezTo>
                <a:lnTo>
                  <a:pt x="107585" y="565357"/>
                </a:lnTo>
                <a:lnTo>
                  <a:pt x="38147" y="598789"/>
                </a:lnTo>
                <a:lnTo>
                  <a:pt x="75009" y="682800"/>
                </a:lnTo>
                <a:lnTo>
                  <a:pt x="159877" y="664798"/>
                </a:lnTo>
                <a:lnTo>
                  <a:pt x="158162" y="665655"/>
                </a:lnTo>
                <a:cubicBezTo>
                  <a:pt x="172736" y="687086"/>
                  <a:pt x="187309" y="707660"/>
                  <a:pt x="205311" y="725662"/>
                </a:cubicBezTo>
                <a:lnTo>
                  <a:pt x="202740" y="729091"/>
                </a:lnTo>
                <a:lnTo>
                  <a:pt x="165020" y="810530"/>
                </a:lnTo>
                <a:lnTo>
                  <a:pt x="240459" y="862822"/>
                </a:lnTo>
                <a:lnTo>
                  <a:pt x="306467" y="798528"/>
                </a:lnTo>
                <a:lnTo>
                  <a:pt x="306467" y="797671"/>
                </a:lnTo>
                <a:cubicBezTo>
                  <a:pt x="333042" y="810530"/>
                  <a:pt x="361331" y="819960"/>
                  <a:pt x="391335" y="825103"/>
                </a:cubicBezTo>
                <a:lnTo>
                  <a:pt x="391335" y="827675"/>
                </a:lnTo>
                <a:lnTo>
                  <a:pt x="405050" y="915972"/>
                </a:lnTo>
                <a:lnTo>
                  <a:pt x="496776" y="917686"/>
                </a:lnTo>
                <a:lnTo>
                  <a:pt x="519065" y="825103"/>
                </a:lnTo>
                <a:lnTo>
                  <a:pt x="519065" y="825103"/>
                </a:lnTo>
                <a:close/>
                <a:moveTo>
                  <a:pt x="184738" y="583359"/>
                </a:moveTo>
                <a:cubicBezTo>
                  <a:pt x="117015" y="428196"/>
                  <a:pt x="187309" y="248174"/>
                  <a:pt x="341614" y="179594"/>
                </a:cubicBezTo>
                <a:cubicBezTo>
                  <a:pt x="496776" y="111871"/>
                  <a:pt x="676799" y="182166"/>
                  <a:pt x="745379" y="336471"/>
                </a:cubicBezTo>
                <a:cubicBezTo>
                  <a:pt x="813102" y="491633"/>
                  <a:pt x="742807" y="671655"/>
                  <a:pt x="588502" y="740235"/>
                </a:cubicBezTo>
                <a:cubicBezTo>
                  <a:pt x="433340" y="807958"/>
                  <a:pt x="252460" y="737664"/>
                  <a:pt x="184738" y="583359"/>
                </a:cubicBezTo>
                <a:close/>
              </a:path>
            </a:pathLst>
          </a:custGeom>
          <a:solidFill>
            <a:srgbClr val="52FFEA"/>
          </a:solidFill>
          <a:ln w="9525" cap="flat">
            <a:noFill/>
            <a:prstDash val="solid"/>
            <a:miter/>
          </a:ln>
        </p:spPr>
        <p:txBody>
          <a:bodyPr rtlCol="0" anchor="ctr"/>
          <a:lstStyle/>
          <a:p>
            <a:endParaRPr lang="zh-CN" altLang="en-US"/>
          </a:p>
        </p:txBody>
      </p:sp>
      <p:sp>
        <p:nvSpPr>
          <p:cNvPr id="121" name="任意多边形: 形状 120">
            <a:extLst>
              <a:ext uri="{FF2B5EF4-FFF2-40B4-BE49-F238E27FC236}">
                <a16:creationId xmlns:a16="http://schemas.microsoft.com/office/drawing/2014/main" id="{0F215CAB-47F6-4ADF-8672-34E112CEB5C5}"/>
              </a:ext>
            </a:extLst>
          </p:cNvPr>
          <p:cNvSpPr/>
          <p:nvPr userDrawn="1"/>
        </p:nvSpPr>
        <p:spPr>
          <a:xfrm>
            <a:off x="7584241" y="2150524"/>
            <a:ext cx="370473" cy="444568"/>
          </a:xfrm>
          <a:custGeom>
            <a:avLst/>
            <a:gdLst>
              <a:gd name="connsiteX0" fmla="*/ 196739 w 385762"/>
              <a:gd name="connsiteY0" fmla="*/ 6429 h 462915"/>
              <a:gd name="connsiteX1" fmla="*/ 6429 w 385762"/>
              <a:gd name="connsiteY1" fmla="*/ 196739 h 462915"/>
              <a:gd name="connsiteX2" fmla="*/ 55292 w 385762"/>
              <a:gd name="connsiteY2" fmla="*/ 323612 h 462915"/>
              <a:gd name="connsiteX3" fmla="*/ 55292 w 385762"/>
              <a:gd name="connsiteY3" fmla="*/ 323612 h 462915"/>
              <a:gd name="connsiteX4" fmla="*/ 56150 w 385762"/>
              <a:gd name="connsiteY4" fmla="*/ 324469 h 462915"/>
              <a:gd name="connsiteX5" fmla="*/ 64722 w 385762"/>
              <a:gd name="connsiteY5" fmla="*/ 333042 h 462915"/>
              <a:gd name="connsiteX6" fmla="*/ 108442 w 385762"/>
              <a:gd name="connsiteY6" fmla="*/ 387906 h 462915"/>
              <a:gd name="connsiteX7" fmla="*/ 163306 w 385762"/>
              <a:gd name="connsiteY7" fmla="*/ 463344 h 462915"/>
              <a:gd name="connsiteX8" fmla="*/ 191595 w 385762"/>
              <a:gd name="connsiteY8" fmla="*/ 463344 h 462915"/>
              <a:gd name="connsiteX9" fmla="*/ 201025 w 385762"/>
              <a:gd name="connsiteY9" fmla="*/ 463344 h 462915"/>
              <a:gd name="connsiteX10" fmla="*/ 229314 w 385762"/>
              <a:gd name="connsiteY10" fmla="*/ 463344 h 462915"/>
              <a:gd name="connsiteX11" fmla="*/ 284178 w 385762"/>
              <a:gd name="connsiteY11" fmla="*/ 387906 h 462915"/>
              <a:gd name="connsiteX12" fmla="*/ 327041 w 385762"/>
              <a:gd name="connsiteY12" fmla="*/ 334756 h 462915"/>
              <a:gd name="connsiteX13" fmla="*/ 386191 w 385762"/>
              <a:gd name="connsiteY13" fmla="*/ 196739 h 462915"/>
              <a:gd name="connsiteX14" fmla="*/ 196739 w 385762"/>
              <a:gd name="connsiteY14" fmla="*/ 6429 h 462915"/>
              <a:gd name="connsiteX15" fmla="*/ 267033 w 385762"/>
              <a:gd name="connsiteY15" fmla="*/ 281607 h 462915"/>
              <a:gd name="connsiteX16" fmla="*/ 243887 w 385762"/>
              <a:gd name="connsiteY16" fmla="*/ 312468 h 462915"/>
              <a:gd name="connsiteX17" fmla="*/ 213884 w 385762"/>
              <a:gd name="connsiteY17" fmla="*/ 356187 h 462915"/>
              <a:gd name="connsiteX18" fmla="*/ 198453 w 385762"/>
              <a:gd name="connsiteY18" fmla="*/ 356187 h 462915"/>
              <a:gd name="connsiteX19" fmla="*/ 194167 w 385762"/>
              <a:gd name="connsiteY19" fmla="*/ 356187 h 462915"/>
              <a:gd name="connsiteX20" fmla="*/ 178737 w 385762"/>
              <a:gd name="connsiteY20" fmla="*/ 356187 h 462915"/>
              <a:gd name="connsiteX21" fmla="*/ 148733 w 385762"/>
              <a:gd name="connsiteY21" fmla="*/ 312468 h 462915"/>
              <a:gd name="connsiteX22" fmla="*/ 124730 w 385762"/>
              <a:gd name="connsiteY22" fmla="*/ 280750 h 462915"/>
              <a:gd name="connsiteX23" fmla="*/ 120444 w 385762"/>
              <a:gd name="connsiteY23" fmla="*/ 275606 h 462915"/>
              <a:gd name="connsiteX24" fmla="*/ 120444 w 385762"/>
              <a:gd name="connsiteY24" fmla="*/ 275606 h 462915"/>
              <a:gd name="connsiteX25" fmla="*/ 120444 w 385762"/>
              <a:gd name="connsiteY25" fmla="*/ 275606 h 462915"/>
              <a:gd name="connsiteX26" fmla="*/ 93869 w 385762"/>
              <a:gd name="connsiteY26" fmla="*/ 202740 h 462915"/>
              <a:gd name="connsiteX27" fmla="*/ 196739 w 385762"/>
              <a:gd name="connsiteY27" fmla="*/ 93012 h 462915"/>
              <a:gd name="connsiteX28" fmla="*/ 299609 w 385762"/>
              <a:gd name="connsiteY28" fmla="*/ 202740 h 462915"/>
              <a:gd name="connsiteX29" fmla="*/ 267033 w 385762"/>
              <a:gd name="connsiteY29" fmla="*/ 281607 h 46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5762" h="462915">
                <a:moveTo>
                  <a:pt x="196739" y="6429"/>
                </a:moveTo>
                <a:cubicBezTo>
                  <a:pt x="92154" y="6429"/>
                  <a:pt x="6429" y="91297"/>
                  <a:pt x="6429" y="196739"/>
                </a:cubicBezTo>
                <a:cubicBezTo>
                  <a:pt x="6429" y="245602"/>
                  <a:pt x="24432" y="290179"/>
                  <a:pt x="55292" y="323612"/>
                </a:cubicBezTo>
                <a:lnTo>
                  <a:pt x="55292" y="323612"/>
                </a:lnTo>
                <a:cubicBezTo>
                  <a:pt x="55292" y="323612"/>
                  <a:pt x="55292" y="323612"/>
                  <a:pt x="56150" y="324469"/>
                </a:cubicBezTo>
                <a:cubicBezTo>
                  <a:pt x="58722" y="327041"/>
                  <a:pt x="61293" y="330470"/>
                  <a:pt x="64722" y="333042"/>
                </a:cubicBezTo>
                <a:cubicBezTo>
                  <a:pt x="75867" y="345043"/>
                  <a:pt x="95583" y="366475"/>
                  <a:pt x="108442" y="387906"/>
                </a:cubicBezTo>
                <a:cubicBezTo>
                  <a:pt x="128159" y="419624"/>
                  <a:pt x="117872" y="463344"/>
                  <a:pt x="163306" y="463344"/>
                </a:cubicBezTo>
                <a:lnTo>
                  <a:pt x="191595" y="463344"/>
                </a:lnTo>
                <a:lnTo>
                  <a:pt x="201025" y="463344"/>
                </a:lnTo>
                <a:lnTo>
                  <a:pt x="229314" y="463344"/>
                </a:lnTo>
                <a:cubicBezTo>
                  <a:pt x="274749" y="463344"/>
                  <a:pt x="264462" y="418767"/>
                  <a:pt x="284178" y="387906"/>
                </a:cubicBezTo>
                <a:cubicBezTo>
                  <a:pt x="297037" y="367332"/>
                  <a:pt x="315039" y="346758"/>
                  <a:pt x="327041" y="334756"/>
                </a:cubicBezTo>
                <a:cubicBezTo>
                  <a:pt x="363045" y="300466"/>
                  <a:pt x="386191" y="251603"/>
                  <a:pt x="386191" y="196739"/>
                </a:cubicBezTo>
                <a:cubicBezTo>
                  <a:pt x="386191" y="92154"/>
                  <a:pt x="301323" y="6429"/>
                  <a:pt x="196739" y="6429"/>
                </a:cubicBezTo>
                <a:close/>
                <a:moveTo>
                  <a:pt x="267033" y="281607"/>
                </a:moveTo>
                <a:cubicBezTo>
                  <a:pt x="261032" y="288465"/>
                  <a:pt x="250746" y="300466"/>
                  <a:pt x="243887" y="312468"/>
                </a:cubicBezTo>
                <a:cubicBezTo>
                  <a:pt x="233601" y="330470"/>
                  <a:pt x="238744" y="356187"/>
                  <a:pt x="213884" y="356187"/>
                </a:cubicBezTo>
                <a:lnTo>
                  <a:pt x="198453" y="356187"/>
                </a:lnTo>
                <a:lnTo>
                  <a:pt x="194167" y="356187"/>
                </a:lnTo>
                <a:lnTo>
                  <a:pt x="178737" y="356187"/>
                </a:lnTo>
                <a:cubicBezTo>
                  <a:pt x="153876" y="356187"/>
                  <a:pt x="159877" y="330470"/>
                  <a:pt x="148733" y="312468"/>
                </a:cubicBezTo>
                <a:cubicBezTo>
                  <a:pt x="141875" y="300466"/>
                  <a:pt x="130731" y="287607"/>
                  <a:pt x="124730" y="280750"/>
                </a:cubicBezTo>
                <a:cubicBezTo>
                  <a:pt x="123015" y="279035"/>
                  <a:pt x="121301" y="277320"/>
                  <a:pt x="120444" y="275606"/>
                </a:cubicBezTo>
                <a:cubicBezTo>
                  <a:pt x="120444" y="275606"/>
                  <a:pt x="120444" y="275606"/>
                  <a:pt x="120444" y="275606"/>
                </a:cubicBezTo>
                <a:lnTo>
                  <a:pt x="120444" y="275606"/>
                </a:lnTo>
                <a:cubicBezTo>
                  <a:pt x="104156" y="255889"/>
                  <a:pt x="93869" y="231029"/>
                  <a:pt x="93869" y="202740"/>
                </a:cubicBezTo>
                <a:cubicBezTo>
                  <a:pt x="93869" y="142732"/>
                  <a:pt x="140160" y="93012"/>
                  <a:pt x="196739" y="93012"/>
                </a:cubicBezTo>
                <a:cubicBezTo>
                  <a:pt x="253317" y="93012"/>
                  <a:pt x="299609" y="141875"/>
                  <a:pt x="299609" y="202740"/>
                </a:cubicBezTo>
                <a:cubicBezTo>
                  <a:pt x="299609" y="233601"/>
                  <a:pt x="286750" y="261890"/>
                  <a:pt x="267033" y="281607"/>
                </a:cubicBezTo>
                <a:close/>
              </a:path>
            </a:pathLst>
          </a:custGeom>
          <a:solidFill>
            <a:srgbClr val="FEFDFA"/>
          </a:solidFill>
          <a:ln w="9525" cap="flat">
            <a:noFill/>
            <a:prstDash val="solid"/>
            <a:miter/>
          </a:ln>
        </p:spPr>
        <p:txBody>
          <a:bodyPr rtlCol="0" anchor="ctr"/>
          <a:lstStyle/>
          <a:p>
            <a:endParaRPr lang="zh-CN" altLang="en-US"/>
          </a:p>
        </p:txBody>
      </p:sp>
      <p:sp>
        <p:nvSpPr>
          <p:cNvPr id="122" name="任意多边形: 形状 121">
            <a:extLst>
              <a:ext uri="{FF2B5EF4-FFF2-40B4-BE49-F238E27FC236}">
                <a16:creationId xmlns:a16="http://schemas.microsoft.com/office/drawing/2014/main" id="{C75F7153-4455-44C8-A99C-508B9D5F93DB}"/>
              </a:ext>
            </a:extLst>
          </p:cNvPr>
          <p:cNvSpPr/>
          <p:nvPr userDrawn="1"/>
        </p:nvSpPr>
        <p:spPr>
          <a:xfrm>
            <a:off x="7705262" y="2592622"/>
            <a:ext cx="131724" cy="41164"/>
          </a:xfrm>
          <a:custGeom>
            <a:avLst/>
            <a:gdLst>
              <a:gd name="connsiteX0" fmla="*/ 134160 w 137160"/>
              <a:gd name="connsiteY0" fmla="*/ 22717 h 42862"/>
              <a:gd name="connsiteX1" fmla="*/ 119586 w 137160"/>
              <a:gd name="connsiteY1" fmla="*/ 37290 h 42862"/>
              <a:gd name="connsiteX2" fmla="*/ 20145 w 137160"/>
              <a:gd name="connsiteY2" fmla="*/ 37290 h 42862"/>
              <a:gd name="connsiteX3" fmla="*/ 6429 w 137160"/>
              <a:gd name="connsiteY3" fmla="*/ 22717 h 42862"/>
              <a:gd name="connsiteX4" fmla="*/ 6429 w 137160"/>
              <a:gd name="connsiteY4" fmla="*/ 21860 h 42862"/>
              <a:gd name="connsiteX5" fmla="*/ 20145 w 137160"/>
              <a:gd name="connsiteY5" fmla="*/ 6429 h 42862"/>
              <a:gd name="connsiteX6" fmla="*/ 119586 w 137160"/>
              <a:gd name="connsiteY6" fmla="*/ 6429 h 42862"/>
              <a:gd name="connsiteX7" fmla="*/ 134160 w 137160"/>
              <a:gd name="connsiteY7" fmla="*/ 22717 h 42862"/>
              <a:gd name="connsiteX8" fmla="*/ 134160 w 137160"/>
              <a:gd name="connsiteY8" fmla="*/ 22717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42862">
                <a:moveTo>
                  <a:pt x="134160" y="22717"/>
                </a:moveTo>
                <a:cubicBezTo>
                  <a:pt x="134160" y="30433"/>
                  <a:pt x="127302" y="37290"/>
                  <a:pt x="119586" y="37290"/>
                </a:cubicBezTo>
                <a:lnTo>
                  <a:pt x="20145" y="37290"/>
                </a:lnTo>
                <a:cubicBezTo>
                  <a:pt x="12430" y="37290"/>
                  <a:pt x="6429" y="29575"/>
                  <a:pt x="6429" y="22717"/>
                </a:cubicBezTo>
                <a:lnTo>
                  <a:pt x="6429" y="21860"/>
                </a:lnTo>
                <a:cubicBezTo>
                  <a:pt x="6429" y="14145"/>
                  <a:pt x="11573" y="6429"/>
                  <a:pt x="20145" y="6429"/>
                </a:cubicBezTo>
                <a:lnTo>
                  <a:pt x="119586" y="6429"/>
                </a:lnTo>
                <a:cubicBezTo>
                  <a:pt x="127302" y="7287"/>
                  <a:pt x="134160" y="15002"/>
                  <a:pt x="134160" y="22717"/>
                </a:cubicBezTo>
                <a:lnTo>
                  <a:pt x="134160" y="22717"/>
                </a:lnTo>
                <a:close/>
              </a:path>
            </a:pathLst>
          </a:custGeom>
          <a:solidFill>
            <a:srgbClr val="FEFDFA"/>
          </a:solidFill>
          <a:ln w="9525" cap="flat">
            <a:noFill/>
            <a:prstDash val="solid"/>
            <a:miter/>
          </a:ln>
        </p:spPr>
        <p:txBody>
          <a:bodyPr rtlCol="0" anchor="ctr"/>
          <a:lstStyle/>
          <a:p>
            <a:endParaRPr lang="zh-CN" altLang="en-US"/>
          </a:p>
        </p:txBody>
      </p:sp>
      <p:sp>
        <p:nvSpPr>
          <p:cNvPr id="123" name="任意多边形: 形状 122">
            <a:extLst>
              <a:ext uri="{FF2B5EF4-FFF2-40B4-BE49-F238E27FC236}">
                <a16:creationId xmlns:a16="http://schemas.microsoft.com/office/drawing/2014/main" id="{8C75F02F-0BC1-4FF4-A85B-2D4289A655D9}"/>
              </a:ext>
            </a:extLst>
          </p:cNvPr>
          <p:cNvSpPr/>
          <p:nvPr userDrawn="1"/>
        </p:nvSpPr>
        <p:spPr>
          <a:xfrm>
            <a:off x="7705262" y="2627200"/>
            <a:ext cx="131724" cy="32931"/>
          </a:xfrm>
          <a:custGeom>
            <a:avLst/>
            <a:gdLst>
              <a:gd name="connsiteX0" fmla="*/ 134160 w 137160"/>
              <a:gd name="connsiteY0" fmla="*/ 21860 h 34290"/>
              <a:gd name="connsiteX1" fmla="*/ 119586 w 137160"/>
              <a:gd name="connsiteY1" fmla="*/ 34719 h 34290"/>
              <a:gd name="connsiteX2" fmla="*/ 20145 w 137160"/>
              <a:gd name="connsiteY2" fmla="*/ 34719 h 34290"/>
              <a:gd name="connsiteX3" fmla="*/ 6429 w 137160"/>
              <a:gd name="connsiteY3" fmla="*/ 21860 h 34290"/>
              <a:gd name="connsiteX4" fmla="*/ 6429 w 137160"/>
              <a:gd name="connsiteY4" fmla="*/ 21002 h 34290"/>
              <a:gd name="connsiteX5" fmla="*/ 20145 w 137160"/>
              <a:gd name="connsiteY5" fmla="*/ 6429 h 34290"/>
              <a:gd name="connsiteX6" fmla="*/ 119586 w 137160"/>
              <a:gd name="connsiteY6" fmla="*/ 6429 h 34290"/>
              <a:gd name="connsiteX7" fmla="*/ 134160 w 137160"/>
              <a:gd name="connsiteY7" fmla="*/ 21860 h 34290"/>
              <a:gd name="connsiteX8" fmla="*/ 134160 w 137160"/>
              <a:gd name="connsiteY8" fmla="*/ 21860 h 3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34290">
                <a:moveTo>
                  <a:pt x="134160" y="21860"/>
                </a:moveTo>
                <a:cubicBezTo>
                  <a:pt x="134160" y="29575"/>
                  <a:pt x="127302" y="34719"/>
                  <a:pt x="119586" y="34719"/>
                </a:cubicBezTo>
                <a:lnTo>
                  <a:pt x="20145" y="34719"/>
                </a:lnTo>
                <a:cubicBezTo>
                  <a:pt x="12430" y="34719"/>
                  <a:pt x="6429" y="29575"/>
                  <a:pt x="6429" y="21860"/>
                </a:cubicBezTo>
                <a:lnTo>
                  <a:pt x="6429" y="21002"/>
                </a:lnTo>
                <a:cubicBezTo>
                  <a:pt x="6429" y="13287"/>
                  <a:pt x="11573" y="6429"/>
                  <a:pt x="20145" y="6429"/>
                </a:cubicBezTo>
                <a:lnTo>
                  <a:pt x="119586" y="6429"/>
                </a:lnTo>
                <a:cubicBezTo>
                  <a:pt x="127302" y="7287"/>
                  <a:pt x="134160" y="14145"/>
                  <a:pt x="134160" y="21860"/>
                </a:cubicBezTo>
                <a:lnTo>
                  <a:pt x="134160" y="21860"/>
                </a:lnTo>
                <a:close/>
              </a:path>
            </a:pathLst>
          </a:custGeom>
          <a:solidFill>
            <a:srgbClr val="FEFDFA"/>
          </a:solidFill>
          <a:ln w="9525" cap="flat">
            <a:noFill/>
            <a:prstDash val="solid"/>
            <a:miter/>
          </a:ln>
        </p:spPr>
        <p:txBody>
          <a:bodyPr rtlCol="0" anchor="ctr"/>
          <a:lstStyle/>
          <a:p>
            <a:endParaRPr lang="zh-CN" altLang="en-US"/>
          </a:p>
        </p:txBody>
      </p:sp>
      <p:sp>
        <p:nvSpPr>
          <p:cNvPr id="124" name="任意多边形: 形状 123">
            <a:extLst>
              <a:ext uri="{FF2B5EF4-FFF2-40B4-BE49-F238E27FC236}">
                <a16:creationId xmlns:a16="http://schemas.microsoft.com/office/drawing/2014/main" id="{B2CD330E-8447-4EF0-A8FA-4B87D5B9CD8F}"/>
              </a:ext>
            </a:extLst>
          </p:cNvPr>
          <p:cNvSpPr/>
          <p:nvPr userDrawn="1"/>
        </p:nvSpPr>
        <p:spPr>
          <a:xfrm>
            <a:off x="7736546" y="2632139"/>
            <a:ext cx="65862" cy="57630"/>
          </a:xfrm>
          <a:custGeom>
            <a:avLst/>
            <a:gdLst>
              <a:gd name="connsiteX0" fmla="*/ 68151 w 68580"/>
              <a:gd name="connsiteY0" fmla="*/ 32147 h 60007"/>
              <a:gd name="connsiteX1" fmla="*/ 37290 w 68580"/>
              <a:gd name="connsiteY1" fmla="*/ 57864 h 60007"/>
              <a:gd name="connsiteX2" fmla="*/ 6429 w 68580"/>
              <a:gd name="connsiteY2" fmla="*/ 32147 h 60007"/>
              <a:gd name="connsiteX3" fmla="*/ 37290 w 68580"/>
              <a:gd name="connsiteY3" fmla="*/ 6429 h 60007"/>
              <a:gd name="connsiteX4" fmla="*/ 68151 w 68580"/>
              <a:gd name="connsiteY4" fmla="*/ 32147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60007">
                <a:moveTo>
                  <a:pt x="68151" y="32147"/>
                </a:moveTo>
                <a:cubicBezTo>
                  <a:pt x="68151" y="46720"/>
                  <a:pt x="54435" y="57864"/>
                  <a:pt x="37290" y="57864"/>
                </a:cubicBezTo>
                <a:cubicBezTo>
                  <a:pt x="20145" y="57864"/>
                  <a:pt x="6429" y="45863"/>
                  <a:pt x="6429" y="32147"/>
                </a:cubicBezTo>
                <a:cubicBezTo>
                  <a:pt x="6429" y="17574"/>
                  <a:pt x="20145" y="6429"/>
                  <a:pt x="37290" y="6429"/>
                </a:cubicBezTo>
                <a:cubicBezTo>
                  <a:pt x="54435" y="6429"/>
                  <a:pt x="68151" y="17574"/>
                  <a:pt x="68151" y="32147"/>
                </a:cubicBezTo>
                <a:close/>
              </a:path>
            </a:pathLst>
          </a:custGeom>
          <a:solidFill>
            <a:srgbClr val="FEFDFA"/>
          </a:solidFill>
          <a:ln w="9525" cap="flat">
            <a:noFill/>
            <a:prstDash val="solid"/>
            <a:miter/>
          </a:ln>
        </p:spPr>
        <p:txBody>
          <a:bodyPr rtlCol="0" anchor="ctr"/>
          <a:lstStyle/>
          <a:p>
            <a:endParaRPr lang="zh-CN" altLang="en-US"/>
          </a:p>
        </p:txBody>
      </p:sp>
      <p:sp>
        <p:nvSpPr>
          <p:cNvPr id="125" name="任意多边形: 形状 124">
            <a:extLst>
              <a:ext uri="{FF2B5EF4-FFF2-40B4-BE49-F238E27FC236}">
                <a16:creationId xmlns:a16="http://schemas.microsoft.com/office/drawing/2014/main" id="{817CBE9D-7143-4A6F-8044-302080303ADC}"/>
              </a:ext>
            </a:extLst>
          </p:cNvPr>
          <p:cNvSpPr/>
          <p:nvPr userDrawn="1"/>
        </p:nvSpPr>
        <p:spPr>
          <a:xfrm>
            <a:off x="8791983" y="2326705"/>
            <a:ext cx="304612" cy="139957"/>
          </a:xfrm>
          <a:custGeom>
            <a:avLst/>
            <a:gdLst>
              <a:gd name="connsiteX0" fmla="*/ 160734 w 317182"/>
              <a:gd name="connsiteY0" fmla="*/ 147018 h 145732"/>
              <a:gd name="connsiteX1" fmla="*/ 6429 w 317182"/>
              <a:gd name="connsiteY1" fmla="*/ 76724 h 145732"/>
              <a:gd name="connsiteX2" fmla="*/ 165021 w 317182"/>
              <a:gd name="connsiteY2" fmla="*/ 6429 h 145732"/>
              <a:gd name="connsiteX3" fmla="*/ 318469 w 317182"/>
              <a:gd name="connsiteY3" fmla="*/ 75009 h 145732"/>
            </a:gdLst>
            <a:ahLst/>
            <a:cxnLst>
              <a:cxn ang="0">
                <a:pos x="connsiteX0" y="connsiteY0"/>
              </a:cxn>
              <a:cxn ang="0">
                <a:pos x="connsiteX1" y="connsiteY1"/>
              </a:cxn>
              <a:cxn ang="0">
                <a:pos x="connsiteX2" y="connsiteY2"/>
              </a:cxn>
              <a:cxn ang="0">
                <a:pos x="connsiteX3" y="connsiteY3"/>
              </a:cxn>
            </a:cxnLst>
            <a:rect l="l" t="t" r="r" b="b"/>
            <a:pathLst>
              <a:path w="317182" h="145732">
                <a:moveTo>
                  <a:pt x="160734" y="147018"/>
                </a:moveTo>
                <a:lnTo>
                  <a:pt x="6429" y="76724"/>
                </a:lnTo>
                <a:lnTo>
                  <a:pt x="165021" y="6429"/>
                </a:lnTo>
                <a:lnTo>
                  <a:pt x="318469" y="75009"/>
                </a:lnTo>
                <a:close/>
              </a:path>
            </a:pathLst>
          </a:custGeom>
          <a:solidFill>
            <a:srgbClr val="FEFDFA"/>
          </a:solidFill>
          <a:ln w="9525" cap="flat">
            <a:noFill/>
            <a:prstDash val="solid"/>
            <a:miter/>
          </a:ln>
        </p:spPr>
        <p:txBody>
          <a:bodyPr rtlCol="0" anchor="ctr"/>
          <a:lstStyle/>
          <a:p>
            <a:endParaRPr lang="zh-CN" altLang="en-US"/>
          </a:p>
        </p:txBody>
      </p:sp>
      <p:sp>
        <p:nvSpPr>
          <p:cNvPr id="126" name="任意多边形: 形状 125">
            <a:extLst>
              <a:ext uri="{FF2B5EF4-FFF2-40B4-BE49-F238E27FC236}">
                <a16:creationId xmlns:a16="http://schemas.microsoft.com/office/drawing/2014/main" id="{00A35334-27BE-4ED5-9AE8-F3B7D02AB894}"/>
              </a:ext>
            </a:extLst>
          </p:cNvPr>
          <p:cNvSpPr/>
          <p:nvPr userDrawn="1"/>
        </p:nvSpPr>
        <p:spPr>
          <a:xfrm>
            <a:off x="9079305" y="2390097"/>
            <a:ext cx="16465" cy="107026"/>
          </a:xfrm>
          <a:custGeom>
            <a:avLst/>
            <a:gdLst>
              <a:gd name="connsiteX0" fmla="*/ 6429 w 17145"/>
              <a:gd name="connsiteY0" fmla="*/ 6429 h 111442"/>
              <a:gd name="connsiteX1" fmla="*/ 15859 w 17145"/>
              <a:gd name="connsiteY1" fmla="*/ 6429 h 111442"/>
              <a:gd name="connsiteX2" fmla="*/ 15859 w 17145"/>
              <a:gd name="connsiteY2" fmla="*/ 109299 h 111442"/>
              <a:gd name="connsiteX3" fmla="*/ 6429 w 17145"/>
              <a:gd name="connsiteY3" fmla="*/ 109299 h 111442"/>
            </a:gdLst>
            <a:ahLst/>
            <a:cxnLst>
              <a:cxn ang="0">
                <a:pos x="connsiteX0" y="connsiteY0"/>
              </a:cxn>
              <a:cxn ang="0">
                <a:pos x="connsiteX1" y="connsiteY1"/>
              </a:cxn>
              <a:cxn ang="0">
                <a:pos x="connsiteX2" y="connsiteY2"/>
              </a:cxn>
              <a:cxn ang="0">
                <a:pos x="connsiteX3" y="connsiteY3"/>
              </a:cxn>
            </a:cxnLst>
            <a:rect l="l" t="t" r="r" b="b"/>
            <a:pathLst>
              <a:path w="17145" h="111442">
                <a:moveTo>
                  <a:pt x="6429" y="6429"/>
                </a:moveTo>
                <a:lnTo>
                  <a:pt x="15859" y="6429"/>
                </a:lnTo>
                <a:lnTo>
                  <a:pt x="15859" y="109299"/>
                </a:lnTo>
                <a:lnTo>
                  <a:pt x="6429" y="109299"/>
                </a:lnTo>
                <a:close/>
              </a:path>
            </a:pathLst>
          </a:custGeom>
          <a:solidFill>
            <a:srgbClr val="FEFDFA"/>
          </a:solidFill>
          <a:ln w="9525" cap="flat">
            <a:noFill/>
            <a:prstDash val="solid"/>
            <a:miter/>
          </a:ln>
        </p:spPr>
        <p:txBody>
          <a:bodyPr rtlCol="0" anchor="ctr"/>
          <a:lstStyle/>
          <a:p>
            <a:endParaRPr lang="zh-CN" altLang="en-US"/>
          </a:p>
        </p:txBody>
      </p:sp>
      <p:sp>
        <p:nvSpPr>
          <p:cNvPr id="127" name="任意多边形: 形状 126">
            <a:extLst>
              <a:ext uri="{FF2B5EF4-FFF2-40B4-BE49-F238E27FC236}">
                <a16:creationId xmlns:a16="http://schemas.microsoft.com/office/drawing/2014/main" id="{3410BACB-FDDA-451F-B5BF-18C8812978AB}"/>
              </a:ext>
            </a:extLst>
          </p:cNvPr>
          <p:cNvSpPr/>
          <p:nvPr userDrawn="1"/>
        </p:nvSpPr>
        <p:spPr>
          <a:xfrm>
            <a:off x="9068603" y="2477364"/>
            <a:ext cx="41164" cy="41164"/>
          </a:xfrm>
          <a:custGeom>
            <a:avLst/>
            <a:gdLst>
              <a:gd name="connsiteX0" fmla="*/ 37290 w 42862"/>
              <a:gd name="connsiteY0" fmla="*/ 21860 h 42862"/>
              <a:gd name="connsiteX1" fmla="*/ 21860 w 42862"/>
              <a:gd name="connsiteY1" fmla="*/ 6429 h 42862"/>
              <a:gd name="connsiteX2" fmla="*/ 6429 w 42862"/>
              <a:gd name="connsiteY2" fmla="*/ 21860 h 42862"/>
              <a:gd name="connsiteX3" fmla="*/ 21860 w 42862"/>
              <a:gd name="connsiteY3" fmla="*/ 37290 h 42862"/>
              <a:gd name="connsiteX4" fmla="*/ 37290 w 42862"/>
              <a:gd name="connsiteY4" fmla="*/ 21860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2862">
                <a:moveTo>
                  <a:pt x="37290" y="21860"/>
                </a:moveTo>
                <a:cubicBezTo>
                  <a:pt x="37290" y="13288"/>
                  <a:pt x="30432" y="6429"/>
                  <a:pt x="21860" y="6429"/>
                </a:cubicBezTo>
                <a:cubicBezTo>
                  <a:pt x="13287" y="6429"/>
                  <a:pt x="6429" y="13288"/>
                  <a:pt x="6429" y="21860"/>
                </a:cubicBezTo>
                <a:cubicBezTo>
                  <a:pt x="6429" y="30433"/>
                  <a:pt x="13287" y="37290"/>
                  <a:pt x="21860" y="37290"/>
                </a:cubicBezTo>
                <a:cubicBezTo>
                  <a:pt x="30432" y="37290"/>
                  <a:pt x="37290" y="30433"/>
                  <a:pt x="37290" y="21860"/>
                </a:cubicBezTo>
                <a:close/>
              </a:path>
            </a:pathLst>
          </a:custGeom>
          <a:solidFill>
            <a:srgbClr val="FEFDFA"/>
          </a:solidFill>
          <a:ln w="9525" cap="flat">
            <a:noFill/>
            <a:prstDash val="solid"/>
            <a:miter/>
          </a:ln>
        </p:spPr>
        <p:txBody>
          <a:bodyPr rtlCol="0" anchor="ctr"/>
          <a:lstStyle/>
          <a:p>
            <a:endParaRPr lang="zh-CN" altLang="en-US"/>
          </a:p>
        </p:txBody>
      </p:sp>
      <p:sp>
        <p:nvSpPr>
          <p:cNvPr id="128" name="任意多边形: 形状 127">
            <a:extLst>
              <a:ext uri="{FF2B5EF4-FFF2-40B4-BE49-F238E27FC236}">
                <a16:creationId xmlns:a16="http://schemas.microsoft.com/office/drawing/2014/main" id="{6C3D22A5-BFA9-4CE0-B391-E00FC5B10F1A}"/>
              </a:ext>
            </a:extLst>
          </p:cNvPr>
          <p:cNvSpPr/>
          <p:nvPr userDrawn="1"/>
        </p:nvSpPr>
        <p:spPr>
          <a:xfrm>
            <a:off x="9069018" y="2493829"/>
            <a:ext cx="24699" cy="74095"/>
          </a:xfrm>
          <a:custGeom>
            <a:avLst/>
            <a:gdLst>
              <a:gd name="connsiteX0" fmla="*/ 14569 w 25717"/>
              <a:gd name="connsiteY0" fmla="*/ 9858 h 77152"/>
              <a:gd name="connsiteX1" fmla="*/ 7711 w 25717"/>
              <a:gd name="connsiteY1" fmla="*/ 75009 h 77152"/>
              <a:gd name="connsiteX2" fmla="*/ 24856 w 25717"/>
              <a:gd name="connsiteY2" fmla="*/ 75009 h 77152"/>
              <a:gd name="connsiteX3" fmla="*/ 24856 w 25717"/>
              <a:gd name="connsiteY3" fmla="*/ 6429 h 77152"/>
              <a:gd name="connsiteX4" fmla="*/ 14569 w 25717"/>
              <a:gd name="connsiteY4" fmla="*/ 9858 h 77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 h="77152">
                <a:moveTo>
                  <a:pt x="14569" y="9858"/>
                </a:moveTo>
                <a:cubicBezTo>
                  <a:pt x="14569" y="9858"/>
                  <a:pt x="2567" y="35576"/>
                  <a:pt x="7711" y="75009"/>
                </a:cubicBezTo>
                <a:lnTo>
                  <a:pt x="24856" y="75009"/>
                </a:lnTo>
                <a:lnTo>
                  <a:pt x="24856" y="6429"/>
                </a:lnTo>
                <a:cubicBezTo>
                  <a:pt x="24856" y="6429"/>
                  <a:pt x="14569" y="11573"/>
                  <a:pt x="14569" y="9858"/>
                </a:cubicBezTo>
                <a:close/>
              </a:path>
            </a:pathLst>
          </a:custGeom>
          <a:solidFill>
            <a:srgbClr val="FEFDFA"/>
          </a:solidFill>
          <a:ln w="9525" cap="flat">
            <a:noFill/>
            <a:prstDash val="solid"/>
            <a:miter/>
          </a:ln>
        </p:spPr>
        <p:txBody>
          <a:bodyPr rtlCol="0" anchor="ctr"/>
          <a:lstStyle/>
          <a:p>
            <a:endParaRPr lang="zh-CN" altLang="en-US"/>
          </a:p>
        </p:txBody>
      </p:sp>
      <p:sp>
        <p:nvSpPr>
          <p:cNvPr id="129" name="任意多边形: 形状 128">
            <a:extLst>
              <a:ext uri="{FF2B5EF4-FFF2-40B4-BE49-F238E27FC236}">
                <a16:creationId xmlns:a16="http://schemas.microsoft.com/office/drawing/2014/main" id="{B6287184-6707-4D6C-946C-2169E3C46C42}"/>
              </a:ext>
            </a:extLst>
          </p:cNvPr>
          <p:cNvSpPr/>
          <p:nvPr userDrawn="1"/>
        </p:nvSpPr>
        <p:spPr>
          <a:xfrm>
            <a:off x="9081775" y="2493829"/>
            <a:ext cx="24699" cy="74095"/>
          </a:xfrm>
          <a:custGeom>
            <a:avLst/>
            <a:gdLst>
              <a:gd name="connsiteX0" fmla="*/ 16716 w 25717"/>
              <a:gd name="connsiteY0" fmla="*/ 9858 h 77152"/>
              <a:gd name="connsiteX1" fmla="*/ 24431 w 25717"/>
              <a:gd name="connsiteY1" fmla="*/ 75009 h 77152"/>
              <a:gd name="connsiteX2" fmla="*/ 6429 w 25717"/>
              <a:gd name="connsiteY2" fmla="*/ 75009 h 77152"/>
              <a:gd name="connsiteX3" fmla="*/ 6429 w 25717"/>
              <a:gd name="connsiteY3" fmla="*/ 6429 h 77152"/>
              <a:gd name="connsiteX4" fmla="*/ 16716 w 25717"/>
              <a:gd name="connsiteY4" fmla="*/ 9858 h 77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 h="77152">
                <a:moveTo>
                  <a:pt x="16716" y="9858"/>
                </a:moveTo>
                <a:cubicBezTo>
                  <a:pt x="16716" y="9858"/>
                  <a:pt x="28718" y="35576"/>
                  <a:pt x="24431" y="75009"/>
                </a:cubicBezTo>
                <a:lnTo>
                  <a:pt x="6429" y="75009"/>
                </a:lnTo>
                <a:lnTo>
                  <a:pt x="6429" y="6429"/>
                </a:lnTo>
                <a:cubicBezTo>
                  <a:pt x="6429" y="6429"/>
                  <a:pt x="16716" y="11573"/>
                  <a:pt x="16716" y="9858"/>
                </a:cubicBezTo>
                <a:close/>
              </a:path>
            </a:pathLst>
          </a:custGeom>
          <a:solidFill>
            <a:srgbClr val="FEFDFA"/>
          </a:solidFill>
          <a:ln w="9525" cap="flat">
            <a:noFill/>
            <a:prstDash val="solid"/>
            <a:miter/>
          </a:ln>
        </p:spPr>
        <p:txBody>
          <a:bodyPr rtlCol="0" anchor="ctr"/>
          <a:lstStyle/>
          <a:p>
            <a:endParaRPr lang="zh-CN" altLang="en-US"/>
          </a:p>
        </p:txBody>
      </p:sp>
      <p:sp>
        <p:nvSpPr>
          <p:cNvPr id="130" name="任意多边形: 形状 129">
            <a:extLst>
              <a:ext uri="{FF2B5EF4-FFF2-40B4-BE49-F238E27FC236}">
                <a16:creationId xmlns:a16="http://schemas.microsoft.com/office/drawing/2014/main" id="{FBD3A84A-A3F0-49D9-9E0A-0CD584E9C29E}"/>
              </a:ext>
            </a:extLst>
          </p:cNvPr>
          <p:cNvSpPr/>
          <p:nvPr userDrawn="1"/>
        </p:nvSpPr>
        <p:spPr>
          <a:xfrm>
            <a:off x="8852081" y="2434553"/>
            <a:ext cx="181120" cy="139957"/>
          </a:xfrm>
          <a:custGeom>
            <a:avLst/>
            <a:gdLst>
              <a:gd name="connsiteX0" fmla="*/ 186452 w 188595"/>
              <a:gd name="connsiteY0" fmla="*/ 6429 h 145732"/>
              <a:gd name="connsiteX1" fmla="*/ 96441 w 188595"/>
              <a:gd name="connsiteY1" fmla="*/ 49292 h 145732"/>
              <a:gd name="connsiteX2" fmla="*/ 6429 w 188595"/>
              <a:gd name="connsiteY2" fmla="*/ 6429 h 145732"/>
              <a:gd name="connsiteX3" fmla="*/ 6429 w 188595"/>
              <a:gd name="connsiteY3" fmla="*/ 110156 h 145732"/>
              <a:gd name="connsiteX4" fmla="*/ 94727 w 188595"/>
              <a:gd name="connsiteY4" fmla="*/ 141017 h 145732"/>
              <a:gd name="connsiteX5" fmla="*/ 94727 w 188595"/>
              <a:gd name="connsiteY5" fmla="*/ 141017 h 145732"/>
              <a:gd name="connsiteX6" fmla="*/ 97298 w 188595"/>
              <a:gd name="connsiteY6" fmla="*/ 141017 h 145732"/>
              <a:gd name="connsiteX7" fmla="*/ 99870 w 188595"/>
              <a:gd name="connsiteY7" fmla="*/ 141017 h 145732"/>
              <a:gd name="connsiteX8" fmla="*/ 99870 w 188595"/>
              <a:gd name="connsiteY8" fmla="*/ 141017 h 145732"/>
              <a:gd name="connsiteX9" fmla="*/ 188166 w 188595"/>
              <a:gd name="connsiteY9" fmla="*/ 110156 h 145732"/>
              <a:gd name="connsiteX10" fmla="*/ 188166 w 188595"/>
              <a:gd name="connsiteY10" fmla="*/ 6429 h 14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595" h="145732">
                <a:moveTo>
                  <a:pt x="186452" y="6429"/>
                </a:moveTo>
                <a:cubicBezTo>
                  <a:pt x="186452" y="7286"/>
                  <a:pt x="111014" y="42434"/>
                  <a:pt x="96441" y="49292"/>
                </a:cubicBezTo>
                <a:cubicBezTo>
                  <a:pt x="81868" y="42434"/>
                  <a:pt x="6429" y="7286"/>
                  <a:pt x="6429" y="6429"/>
                </a:cubicBezTo>
                <a:lnTo>
                  <a:pt x="6429" y="110156"/>
                </a:lnTo>
                <a:cubicBezTo>
                  <a:pt x="30433" y="135874"/>
                  <a:pt x="79296" y="140160"/>
                  <a:pt x="94727" y="141017"/>
                </a:cubicBezTo>
                <a:lnTo>
                  <a:pt x="94727" y="141017"/>
                </a:lnTo>
                <a:cubicBezTo>
                  <a:pt x="94727" y="141017"/>
                  <a:pt x="95584" y="141017"/>
                  <a:pt x="97298" y="141017"/>
                </a:cubicBezTo>
                <a:cubicBezTo>
                  <a:pt x="99013" y="141017"/>
                  <a:pt x="99870" y="141017"/>
                  <a:pt x="99870" y="141017"/>
                </a:cubicBezTo>
                <a:lnTo>
                  <a:pt x="99870" y="141017"/>
                </a:lnTo>
                <a:cubicBezTo>
                  <a:pt x="115300" y="140160"/>
                  <a:pt x="163307" y="135874"/>
                  <a:pt x="188166" y="110156"/>
                </a:cubicBezTo>
                <a:lnTo>
                  <a:pt x="188166" y="6429"/>
                </a:lnTo>
                <a:close/>
              </a:path>
            </a:pathLst>
          </a:custGeom>
          <a:solidFill>
            <a:srgbClr val="FEFDFA"/>
          </a:solidFill>
          <a:ln w="9525" cap="flat">
            <a:noFill/>
            <a:prstDash val="solid"/>
            <a:miter/>
          </a:ln>
        </p:spPr>
        <p:txBody>
          <a:bodyPr rtlCol="0" anchor="ctr"/>
          <a:lstStyle/>
          <a:p>
            <a:endParaRPr lang="zh-CN" altLang="en-US"/>
          </a:p>
        </p:txBody>
      </p:sp>
      <p:sp>
        <p:nvSpPr>
          <p:cNvPr id="131" name="任意多边形: 形状 130">
            <a:extLst>
              <a:ext uri="{FF2B5EF4-FFF2-40B4-BE49-F238E27FC236}">
                <a16:creationId xmlns:a16="http://schemas.microsoft.com/office/drawing/2014/main" id="{80272EF8-8B85-4394-905F-017D5528957B}"/>
              </a:ext>
            </a:extLst>
          </p:cNvPr>
          <p:cNvSpPr/>
          <p:nvPr userDrawn="1"/>
        </p:nvSpPr>
        <p:spPr>
          <a:xfrm>
            <a:off x="8390225" y="3076615"/>
            <a:ext cx="238750" cy="197586"/>
          </a:xfrm>
          <a:custGeom>
            <a:avLst/>
            <a:gdLst>
              <a:gd name="connsiteX0" fmla="*/ 124730 w 248602"/>
              <a:gd name="connsiteY0" fmla="*/ 205407 h 205740"/>
              <a:gd name="connsiteX1" fmla="*/ 6429 w 248602"/>
              <a:gd name="connsiteY1" fmla="*/ 203692 h 205740"/>
              <a:gd name="connsiteX2" fmla="*/ 6429 w 248602"/>
              <a:gd name="connsiteY2" fmla="*/ 26241 h 205740"/>
              <a:gd name="connsiteX3" fmla="*/ 128159 w 248602"/>
              <a:gd name="connsiteY3" fmla="*/ 26241 h 205740"/>
              <a:gd name="connsiteX4" fmla="*/ 249889 w 248602"/>
              <a:gd name="connsiteY4" fmla="*/ 26241 h 205740"/>
              <a:gd name="connsiteX5" fmla="*/ 249889 w 248602"/>
              <a:gd name="connsiteY5" fmla="*/ 204549 h 205740"/>
              <a:gd name="connsiteX6" fmla="*/ 124730 w 248602"/>
              <a:gd name="connsiteY6" fmla="*/ 205407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602" h="205740">
                <a:moveTo>
                  <a:pt x="124730" y="205407"/>
                </a:moveTo>
                <a:cubicBezTo>
                  <a:pt x="124730" y="205407"/>
                  <a:pt x="82725" y="163401"/>
                  <a:pt x="6429" y="203692"/>
                </a:cubicBezTo>
                <a:lnTo>
                  <a:pt x="6429" y="26241"/>
                </a:lnTo>
                <a:cubicBezTo>
                  <a:pt x="6429" y="26241"/>
                  <a:pt x="85296" y="-18336"/>
                  <a:pt x="128159" y="26241"/>
                </a:cubicBezTo>
                <a:lnTo>
                  <a:pt x="249889" y="26241"/>
                </a:lnTo>
                <a:lnTo>
                  <a:pt x="249889" y="204549"/>
                </a:lnTo>
                <a:lnTo>
                  <a:pt x="124730" y="205407"/>
                </a:lnTo>
                <a:close/>
              </a:path>
            </a:pathLst>
          </a:custGeom>
          <a:solidFill>
            <a:srgbClr val="FEFDFA"/>
          </a:solidFill>
          <a:ln w="9525" cap="flat">
            <a:noFill/>
            <a:prstDash val="solid"/>
            <a:miter/>
          </a:ln>
        </p:spPr>
        <p:txBody>
          <a:bodyPr rtlCol="0" anchor="ctr"/>
          <a:lstStyle/>
          <a:p>
            <a:endParaRPr lang="zh-CN" altLang="en-US"/>
          </a:p>
        </p:txBody>
      </p:sp>
      <p:sp>
        <p:nvSpPr>
          <p:cNvPr id="132" name="任意多边形: 形状 131">
            <a:extLst>
              <a:ext uri="{FF2B5EF4-FFF2-40B4-BE49-F238E27FC236}">
                <a16:creationId xmlns:a16="http://schemas.microsoft.com/office/drawing/2014/main" id="{C0150766-3997-4D67-B54B-6F07DD218F6C}"/>
              </a:ext>
            </a:extLst>
          </p:cNvPr>
          <p:cNvSpPr/>
          <p:nvPr userDrawn="1"/>
        </p:nvSpPr>
        <p:spPr>
          <a:xfrm>
            <a:off x="10621373" y="5302014"/>
            <a:ext cx="510429" cy="650386"/>
          </a:xfrm>
          <a:custGeom>
            <a:avLst/>
            <a:gdLst>
              <a:gd name="connsiteX0" fmla="*/ 362107 w 531495"/>
              <a:gd name="connsiteY0" fmla="*/ 329613 h 677227"/>
              <a:gd name="connsiteX1" fmla="*/ 347534 w 531495"/>
              <a:gd name="connsiteY1" fmla="*/ 291036 h 677227"/>
              <a:gd name="connsiteX2" fmla="*/ 347534 w 531495"/>
              <a:gd name="connsiteY2" fmla="*/ 135017 h 677227"/>
              <a:gd name="connsiteX3" fmla="*/ 363822 w 531495"/>
              <a:gd name="connsiteY3" fmla="*/ 114443 h 677227"/>
              <a:gd name="connsiteX4" fmla="*/ 367250 w 531495"/>
              <a:gd name="connsiteY4" fmla="*/ 114443 h 677227"/>
              <a:gd name="connsiteX5" fmla="*/ 367250 w 531495"/>
              <a:gd name="connsiteY5" fmla="*/ 45863 h 677227"/>
              <a:gd name="connsiteX6" fmla="*/ 363822 w 531495"/>
              <a:gd name="connsiteY6" fmla="*/ 45863 h 677227"/>
              <a:gd name="connsiteX7" fmla="*/ 363822 w 531495"/>
              <a:gd name="connsiteY7" fmla="*/ 43291 h 677227"/>
              <a:gd name="connsiteX8" fmla="*/ 268667 w 531495"/>
              <a:gd name="connsiteY8" fmla="*/ 6429 h 677227"/>
              <a:gd name="connsiteX9" fmla="*/ 173512 w 531495"/>
              <a:gd name="connsiteY9" fmla="*/ 43291 h 677227"/>
              <a:gd name="connsiteX10" fmla="*/ 173512 w 531495"/>
              <a:gd name="connsiteY10" fmla="*/ 45863 h 677227"/>
              <a:gd name="connsiteX11" fmla="*/ 171797 w 531495"/>
              <a:gd name="connsiteY11" fmla="*/ 45863 h 677227"/>
              <a:gd name="connsiteX12" fmla="*/ 171797 w 531495"/>
              <a:gd name="connsiteY12" fmla="*/ 114443 h 677227"/>
              <a:gd name="connsiteX13" fmla="*/ 173512 w 531495"/>
              <a:gd name="connsiteY13" fmla="*/ 114443 h 677227"/>
              <a:gd name="connsiteX14" fmla="*/ 200944 w 531495"/>
              <a:gd name="connsiteY14" fmla="*/ 135874 h 677227"/>
              <a:gd name="connsiteX15" fmla="*/ 200944 w 531495"/>
              <a:gd name="connsiteY15" fmla="*/ 291036 h 677227"/>
              <a:gd name="connsiteX16" fmla="*/ 180370 w 531495"/>
              <a:gd name="connsiteY16" fmla="*/ 329613 h 677227"/>
              <a:gd name="connsiteX17" fmla="*/ 28637 w 531495"/>
              <a:gd name="connsiteY17" fmla="*/ 619363 h 677227"/>
              <a:gd name="connsiteX18" fmla="*/ 270381 w 531495"/>
              <a:gd name="connsiteY18" fmla="*/ 672513 h 677227"/>
              <a:gd name="connsiteX19" fmla="*/ 511269 w 531495"/>
              <a:gd name="connsiteY19" fmla="*/ 619363 h 677227"/>
              <a:gd name="connsiteX20" fmla="*/ 362107 w 531495"/>
              <a:gd name="connsiteY20" fmla="*/ 329613 h 677227"/>
              <a:gd name="connsiteX21" fmla="*/ 356964 w 531495"/>
              <a:gd name="connsiteY21" fmla="*/ 621935 h 677227"/>
              <a:gd name="connsiteX22" fmla="*/ 463262 w 531495"/>
              <a:gd name="connsiteY22" fmla="*/ 548212 h 677227"/>
              <a:gd name="connsiteX23" fmla="*/ 371537 w 531495"/>
              <a:gd name="connsiteY23" fmla="*/ 393049 h 677227"/>
              <a:gd name="connsiteX24" fmla="*/ 496695 w 531495"/>
              <a:gd name="connsiteY24" fmla="*/ 555926 h 677227"/>
              <a:gd name="connsiteX25" fmla="*/ 356964 w 531495"/>
              <a:gd name="connsiteY25" fmla="*/ 621935 h 67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31495" h="677227">
                <a:moveTo>
                  <a:pt x="362107" y="329613"/>
                </a:moveTo>
                <a:cubicBezTo>
                  <a:pt x="362107" y="329613"/>
                  <a:pt x="347534" y="321897"/>
                  <a:pt x="347534" y="291036"/>
                </a:cubicBezTo>
                <a:cubicBezTo>
                  <a:pt x="347534" y="265319"/>
                  <a:pt x="347534" y="167592"/>
                  <a:pt x="347534" y="135017"/>
                </a:cubicBezTo>
                <a:cubicBezTo>
                  <a:pt x="356964" y="129016"/>
                  <a:pt x="362107" y="122158"/>
                  <a:pt x="363822" y="114443"/>
                </a:cubicBezTo>
                <a:lnTo>
                  <a:pt x="367250" y="114443"/>
                </a:lnTo>
                <a:lnTo>
                  <a:pt x="367250" y="45863"/>
                </a:lnTo>
                <a:lnTo>
                  <a:pt x="363822" y="45863"/>
                </a:lnTo>
                <a:cubicBezTo>
                  <a:pt x="363822" y="45006"/>
                  <a:pt x="363822" y="44149"/>
                  <a:pt x="363822" y="43291"/>
                </a:cubicBezTo>
                <a:cubicBezTo>
                  <a:pt x="363822" y="22717"/>
                  <a:pt x="320959" y="6429"/>
                  <a:pt x="268667" y="6429"/>
                </a:cubicBezTo>
                <a:cubicBezTo>
                  <a:pt x="215517" y="6429"/>
                  <a:pt x="173512" y="22717"/>
                  <a:pt x="173512" y="43291"/>
                </a:cubicBezTo>
                <a:cubicBezTo>
                  <a:pt x="173512" y="44149"/>
                  <a:pt x="173512" y="45006"/>
                  <a:pt x="173512" y="45863"/>
                </a:cubicBezTo>
                <a:lnTo>
                  <a:pt x="171797" y="45863"/>
                </a:lnTo>
                <a:lnTo>
                  <a:pt x="171797" y="114443"/>
                </a:lnTo>
                <a:lnTo>
                  <a:pt x="173512" y="114443"/>
                </a:lnTo>
                <a:cubicBezTo>
                  <a:pt x="175227" y="123015"/>
                  <a:pt x="181227" y="129874"/>
                  <a:pt x="200944" y="135874"/>
                </a:cubicBezTo>
                <a:cubicBezTo>
                  <a:pt x="200944" y="169307"/>
                  <a:pt x="200944" y="266176"/>
                  <a:pt x="200944" y="291036"/>
                </a:cubicBezTo>
                <a:cubicBezTo>
                  <a:pt x="200944" y="321897"/>
                  <a:pt x="180370" y="329613"/>
                  <a:pt x="180370" y="329613"/>
                </a:cubicBezTo>
                <a:cubicBezTo>
                  <a:pt x="145223" y="350186"/>
                  <a:pt x="-60517" y="557641"/>
                  <a:pt x="28637" y="619363"/>
                </a:cubicBezTo>
                <a:cubicBezTo>
                  <a:pt x="108361" y="675084"/>
                  <a:pt x="242949" y="673370"/>
                  <a:pt x="270381" y="672513"/>
                </a:cubicBezTo>
                <a:cubicBezTo>
                  <a:pt x="296956" y="673370"/>
                  <a:pt x="431544" y="675941"/>
                  <a:pt x="511269" y="619363"/>
                </a:cubicBezTo>
                <a:cubicBezTo>
                  <a:pt x="599565" y="556784"/>
                  <a:pt x="397254" y="350186"/>
                  <a:pt x="362107" y="329613"/>
                </a:cubicBezTo>
                <a:close/>
                <a:moveTo>
                  <a:pt x="356964" y="621935"/>
                </a:moveTo>
                <a:cubicBezTo>
                  <a:pt x="356964" y="621935"/>
                  <a:pt x="458976" y="602218"/>
                  <a:pt x="463262" y="548212"/>
                </a:cubicBezTo>
                <a:cubicBezTo>
                  <a:pt x="468406" y="494205"/>
                  <a:pt x="371537" y="393049"/>
                  <a:pt x="371537" y="393049"/>
                </a:cubicBezTo>
                <a:cubicBezTo>
                  <a:pt x="371537" y="393049"/>
                  <a:pt x="497552" y="489919"/>
                  <a:pt x="496695" y="555926"/>
                </a:cubicBezTo>
                <a:cubicBezTo>
                  <a:pt x="494981" y="621935"/>
                  <a:pt x="356964" y="621935"/>
                  <a:pt x="356964" y="621935"/>
                </a:cubicBezTo>
                <a:close/>
              </a:path>
            </a:pathLst>
          </a:custGeom>
          <a:solidFill>
            <a:srgbClr val="FFFFFF"/>
          </a:solidFill>
          <a:ln w="9525" cap="flat">
            <a:noFill/>
            <a:prstDash val="solid"/>
            <a:miter/>
          </a:ln>
        </p:spPr>
        <p:txBody>
          <a:bodyPr rtlCol="0" anchor="ctr"/>
          <a:lstStyle/>
          <a:p>
            <a:endParaRPr lang="zh-CN" altLang="en-US"/>
          </a:p>
        </p:txBody>
      </p:sp>
      <p:sp>
        <p:nvSpPr>
          <p:cNvPr id="133" name="任意多边形: 形状 132">
            <a:extLst>
              <a:ext uri="{FF2B5EF4-FFF2-40B4-BE49-F238E27FC236}">
                <a16:creationId xmlns:a16="http://schemas.microsoft.com/office/drawing/2014/main" id="{0B1588D1-C2D8-4F3A-B355-7AC94387C278}"/>
              </a:ext>
            </a:extLst>
          </p:cNvPr>
          <p:cNvSpPr/>
          <p:nvPr userDrawn="1"/>
        </p:nvSpPr>
        <p:spPr>
          <a:xfrm>
            <a:off x="10323270" y="1211170"/>
            <a:ext cx="82327" cy="131724"/>
          </a:xfrm>
          <a:custGeom>
            <a:avLst/>
            <a:gdLst>
              <a:gd name="connsiteX0" fmla="*/ 84439 w 85725"/>
              <a:gd name="connsiteY0" fmla="*/ 136731 h 137160"/>
              <a:gd name="connsiteX1" fmla="*/ 6429 w 85725"/>
              <a:gd name="connsiteY1" fmla="*/ 136731 h 137160"/>
              <a:gd name="connsiteX2" fmla="*/ 6429 w 85725"/>
              <a:gd name="connsiteY2" fmla="*/ 6429 h 137160"/>
              <a:gd name="connsiteX3" fmla="*/ 81867 w 85725"/>
              <a:gd name="connsiteY3" fmla="*/ 6429 h 137160"/>
              <a:gd name="connsiteX4" fmla="*/ 81867 w 85725"/>
              <a:gd name="connsiteY4" fmla="*/ 30432 h 137160"/>
              <a:gd name="connsiteX5" fmla="*/ 35576 w 85725"/>
              <a:gd name="connsiteY5" fmla="*/ 30432 h 137160"/>
              <a:gd name="connsiteX6" fmla="*/ 35576 w 85725"/>
              <a:gd name="connsiteY6" fmla="*/ 59579 h 137160"/>
              <a:gd name="connsiteX7" fmla="*/ 78439 w 85725"/>
              <a:gd name="connsiteY7" fmla="*/ 59579 h 137160"/>
              <a:gd name="connsiteX8" fmla="*/ 78439 w 85725"/>
              <a:gd name="connsiteY8" fmla="*/ 83582 h 137160"/>
              <a:gd name="connsiteX9" fmla="*/ 35576 w 85725"/>
              <a:gd name="connsiteY9" fmla="*/ 83582 h 137160"/>
              <a:gd name="connsiteX10" fmla="*/ 35576 w 85725"/>
              <a:gd name="connsiteY10" fmla="*/ 113586 h 137160"/>
              <a:gd name="connsiteX11" fmla="*/ 84439 w 85725"/>
              <a:gd name="connsiteY11" fmla="*/ 113586 h 137160"/>
              <a:gd name="connsiteX12" fmla="*/ 84439 w 85725"/>
              <a:gd name="connsiteY12" fmla="*/ 136731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25" h="137160">
                <a:moveTo>
                  <a:pt x="84439" y="136731"/>
                </a:moveTo>
                <a:lnTo>
                  <a:pt x="6429" y="136731"/>
                </a:lnTo>
                <a:lnTo>
                  <a:pt x="6429" y="6429"/>
                </a:lnTo>
                <a:lnTo>
                  <a:pt x="81867" y="6429"/>
                </a:lnTo>
                <a:lnTo>
                  <a:pt x="81867" y="30432"/>
                </a:lnTo>
                <a:lnTo>
                  <a:pt x="35576" y="30432"/>
                </a:lnTo>
                <a:lnTo>
                  <a:pt x="35576" y="59579"/>
                </a:lnTo>
                <a:lnTo>
                  <a:pt x="78439" y="59579"/>
                </a:lnTo>
                <a:lnTo>
                  <a:pt x="78439" y="83582"/>
                </a:lnTo>
                <a:lnTo>
                  <a:pt x="35576" y="83582"/>
                </a:lnTo>
                <a:lnTo>
                  <a:pt x="35576" y="113586"/>
                </a:lnTo>
                <a:lnTo>
                  <a:pt x="84439" y="113586"/>
                </a:lnTo>
                <a:lnTo>
                  <a:pt x="84439" y="136731"/>
                </a:lnTo>
                <a:close/>
              </a:path>
            </a:pathLst>
          </a:custGeom>
          <a:solidFill>
            <a:schemeClr val="accent3"/>
          </a:solidFill>
          <a:ln w="9525" cap="flat">
            <a:noFill/>
            <a:prstDash val="solid"/>
            <a:miter/>
          </a:ln>
        </p:spPr>
        <p:txBody>
          <a:bodyPr rtlCol="0" anchor="ctr"/>
          <a:lstStyle/>
          <a:p>
            <a:endParaRPr lang="zh-CN" altLang="en-US"/>
          </a:p>
        </p:txBody>
      </p:sp>
      <p:sp>
        <p:nvSpPr>
          <p:cNvPr id="134" name="任意多边形: 形状 133">
            <a:extLst>
              <a:ext uri="{FF2B5EF4-FFF2-40B4-BE49-F238E27FC236}">
                <a16:creationId xmlns:a16="http://schemas.microsoft.com/office/drawing/2014/main" id="{583B4B32-A7E9-4973-B3A1-A04396E43508}"/>
              </a:ext>
            </a:extLst>
          </p:cNvPr>
          <p:cNvSpPr/>
          <p:nvPr userDrawn="1"/>
        </p:nvSpPr>
        <p:spPr>
          <a:xfrm>
            <a:off x="10417946" y="1211170"/>
            <a:ext cx="123491" cy="131724"/>
          </a:xfrm>
          <a:custGeom>
            <a:avLst/>
            <a:gdLst>
              <a:gd name="connsiteX0" fmla="*/ 6429 w 128587"/>
              <a:gd name="connsiteY0" fmla="*/ 136731 h 137160"/>
              <a:gd name="connsiteX1" fmla="*/ 6429 w 128587"/>
              <a:gd name="connsiteY1" fmla="*/ 6429 h 137160"/>
              <a:gd name="connsiteX2" fmla="*/ 52721 w 128587"/>
              <a:gd name="connsiteY2" fmla="*/ 6429 h 137160"/>
              <a:gd name="connsiteX3" fmla="*/ 122158 w 128587"/>
              <a:gd name="connsiteY3" fmla="*/ 69866 h 137160"/>
              <a:gd name="connsiteX4" fmla="*/ 103299 w 128587"/>
              <a:gd name="connsiteY4" fmla="*/ 118729 h 137160"/>
              <a:gd name="connsiteX5" fmla="*/ 52721 w 128587"/>
              <a:gd name="connsiteY5" fmla="*/ 136731 h 137160"/>
              <a:gd name="connsiteX6" fmla="*/ 6429 w 128587"/>
              <a:gd name="connsiteY6" fmla="*/ 136731 h 137160"/>
              <a:gd name="connsiteX7" fmla="*/ 36433 w 128587"/>
              <a:gd name="connsiteY7" fmla="*/ 30432 h 137160"/>
              <a:gd name="connsiteX8" fmla="*/ 36433 w 128587"/>
              <a:gd name="connsiteY8" fmla="*/ 113586 h 137160"/>
              <a:gd name="connsiteX9" fmla="*/ 51006 w 128587"/>
              <a:gd name="connsiteY9" fmla="*/ 113586 h 137160"/>
              <a:gd name="connsiteX10" fmla="*/ 81010 w 128587"/>
              <a:gd name="connsiteY10" fmla="*/ 102441 h 137160"/>
              <a:gd name="connsiteX11" fmla="*/ 92154 w 128587"/>
              <a:gd name="connsiteY11" fmla="*/ 71580 h 137160"/>
              <a:gd name="connsiteX12" fmla="*/ 81010 w 128587"/>
              <a:gd name="connsiteY12" fmla="*/ 42434 h 137160"/>
              <a:gd name="connsiteX13" fmla="*/ 51006 w 128587"/>
              <a:gd name="connsiteY13" fmla="*/ 32147 h 137160"/>
              <a:gd name="connsiteX14" fmla="*/ 36433 w 128587"/>
              <a:gd name="connsiteY14" fmla="*/ 32147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587" h="137160">
                <a:moveTo>
                  <a:pt x="6429" y="136731"/>
                </a:moveTo>
                <a:lnTo>
                  <a:pt x="6429" y="6429"/>
                </a:lnTo>
                <a:lnTo>
                  <a:pt x="52721" y="6429"/>
                </a:lnTo>
                <a:cubicBezTo>
                  <a:pt x="99012" y="6429"/>
                  <a:pt x="122158" y="27861"/>
                  <a:pt x="122158" y="69866"/>
                </a:cubicBezTo>
                <a:cubicBezTo>
                  <a:pt x="122158" y="90440"/>
                  <a:pt x="116157" y="106728"/>
                  <a:pt x="103299" y="118729"/>
                </a:cubicBezTo>
                <a:cubicBezTo>
                  <a:pt x="90440" y="130731"/>
                  <a:pt x="74152" y="136731"/>
                  <a:pt x="52721" y="136731"/>
                </a:cubicBezTo>
                <a:lnTo>
                  <a:pt x="6429" y="136731"/>
                </a:lnTo>
                <a:close/>
                <a:moveTo>
                  <a:pt x="36433" y="30432"/>
                </a:moveTo>
                <a:lnTo>
                  <a:pt x="36433" y="113586"/>
                </a:lnTo>
                <a:lnTo>
                  <a:pt x="51006" y="113586"/>
                </a:lnTo>
                <a:cubicBezTo>
                  <a:pt x="63865" y="113586"/>
                  <a:pt x="74152" y="110157"/>
                  <a:pt x="81010" y="102441"/>
                </a:cubicBezTo>
                <a:cubicBezTo>
                  <a:pt x="87868" y="94726"/>
                  <a:pt x="92154" y="84439"/>
                  <a:pt x="92154" y="71580"/>
                </a:cubicBezTo>
                <a:cubicBezTo>
                  <a:pt x="92154" y="58722"/>
                  <a:pt x="88726" y="49292"/>
                  <a:pt x="81010" y="42434"/>
                </a:cubicBezTo>
                <a:cubicBezTo>
                  <a:pt x="74152" y="35576"/>
                  <a:pt x="63865" y="32147"/>
                  <a:pt x="51006" y="32147"/>
                </a:cubicBezTo>
                <a:lnTo>
                  <a:pt x="36433" y="32147"/>
                </a:lnTo>
                <a:close/>
              </a:path>
            </a:pathLst>
          </a:custGeom>
          <a:solidFill>
            <a:schemeClr val="accent3"/>
          </a:solidFill>
          <a:ln w="9525" cap="flat">
            <a:noFill/>
            <a:prstDash val="solid"/>
            <a:miter/>
          </a:ln>
        </p:spPr>
        <p:txBody>
          <a:bodyPr rtlCol="0" anchor="ctr"/>
          <a:lstStyle/>
          <a:p>
            <a:endParaRPr lang="zh-CN" altLang="en-US"/>
          </a:p>
        </p:txBody>
      </p:sp>
      <p:sp>
        <p:nvSpPr>
          <p:cNvPr id="135" name="任意多边形: 形状 134">
            <a:extLst>
              <a:ext uri="{FF2B5EF4-FFF2-40B4-BE49-F238E27FC236}">
                <a16:creationId xmlns:a16="http://schemas.microsoft.com/office/drawing/2014/main" id="{3815D5F8-ADC4-4346-BA58-7A9C31912347}"/>
              </a:ext>
            </a:extLst>
          </p:cNvPr>
          <p:cNvSpPr/>
          <p:nvPr userDrawn="1"/>
        </p:nvSpPr>
        <p:spPr>
          <a:xfrm>
            <a:off x="10548847" y="1210347"/>
            <a:ext cx="115258" cy="139957"/>
          </a:xfrm>
          <a:custGeom>
            <a:avLst/>
            <a:gdLst>
              <a:gd name="connsiteX0" fmla="*/ 114443 w 120015"/>
              <a:gd name="connsiteY0" fmla="*/ 81010 h 145732"/>
              <a:gd name="connsiteX1" fmla="*/ 59579 w 120015"/>
              <a:gd name="connsiteY1" fmla="*/ 140160 h 145732"/>
              <a:gd name="connsiteX2" fmla="*/ 6429 w 120015"/>
              <a:gd name="connsiteY2" fmla="*/ 82725 h 145732"/>
              <a:gd name="connsiteX3" fmla="*/ 6429 w 120015"/>
              <a:gd name="connsiteY3" fmla="*/ 7287 h 145732"/>
              <a:gd name="connsiteX4" fmla="*/ 35576 w 120015"/>
              <a:gd name="connsiteY4" fmla="*/ 7287 h 145732"/>
              <a:gd name="connsiteX5" fmla="*/ 35576 w 120015"/>
              <a:gd name="connsiteY5" fmla="*/ 82725 h 145732"/>
              <a:gd name="connsiteX6" fmla="*/ 60436 w 120015"/>
              <a:gd name="connsiteY6" fmla="*/ 114443 h 145732"/>
              <a:gd name="connsiteX7" fmla="*/ 84439 w 120015"/>
              <a:gd name="connsiteY7" fmla="*/ 83582 h 145732"/>
              <a:gd name="connsiteX8" fmla="*/ 84439 w 120015"/>
              <a:gd name="connsiteY8" fmla="*/ 6429 h 145732"/>
              <a:gd name="connsiteX9" fmla="*/ 113586 w 120015"/>
              <a:gd name="connsiteY9" fmla="*/ 6429 h 145732"/>
              <a:gd name="connsiteX10" fmla="*/ 113586 w 120015"/>
              <a:gd name="connsiteY10" fmla="*/ 81010 h 14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015" h="145732">
                <a:moveTo>
                  <a:pt x="114443" y="81010"/>
                </a:moveTo>
                <a:cubicBezTo>
                  <a:pt x="114443" y="120444"/>
                  <a:pt x="96441" y="140160"/>
                  <a:pt x="59579" y="140160"/>
                </a:cubicBezTo>
                <a:cubicBezTo>
                  <a:pt x="24431" y="140160"/>
                  <a:pt x="6429" y="121301"/>
                  <a:pt x="6429" y="82725"/>
                </a:cubicBezTo>
                <a:lnTo>
                  <a:pt x="6429" y="7287"/>
                </a:lnTo>
                <a:lnTo>
                  <a:pt x="35576" y="7287"/>
                </a:lnTo>
                <a:lnTo>
                  <a:pt x="35576" y="82725"/>
                </a:lnTo>
                <a:cubicBezTo>
                  <a:pt x="35576" y="104156"/>
                  <a:pt x="44148" y="114443"/>
                  <a:pt x="60436" y="114443"/>
                </a:cubicBezTo>
                <a:cubicBezTo>
                  <a:pt x="76724" y="114443"/>
                  <a:pt x="84439" y="104156"/>
                  <a:pt x="84439" y="83582"/>
                </a:cubicBezTo>
                <a:lnTo>
                  <a:pt x="84439" y="6429"/>
                </a:lnTo>
                <a:lnTo>
                  <a:pt x="113586" y="6429"/>
                </a:lnTo>
                <a:lnTo>
                  <a:pt x="113586" y="81010"/>
                </a:lnTo>
                <a:close/>
              </a:path>
            </a:pathLst>
          </a:custGeom>
          <a:solidFill>
            <a:schemeClr val="accent3"/>
          </a:solidFill>
          <a:ln w="9525" cap="flat">
            <a:noFill/>
            <a:prstDash val="solid"/>
            <a:miter/>
          </a:ln>
        </p:spPr>
        <p:txBody>
          <a:bodyPr rtlCol="0" anchor="ctr"/>
          <a:lstStyle/>
          <a:p>
            <a:endParaRPr lang="zh-CN" altLang="en-US"/>
          </a:p>
        </p:txBody>
      </p:sp>
      <p:sp>
        <p:nvSpPr>
          <p:cNvPr id="136" name="任意多边形: 形状 135">
            <a:extLst>
              <a:ext uri="{FF2B5EF4-FFF2-40B4-BE49-F238E27FC236}">
                <a16:creationId xmlns:a16="http://schemas.microsoft.com/office/drawing/2014/main" id="{895CE28B-345A-45EE-B7CC-13C8607F8D6E}"/>
              </a:ext>
            </a:extLst>
          </p:cNvPr>
          <p:cNvSpPr/>
          <p:nvPr userDrawn="1"/>
        </p:nvSpPr>
        <p:spPr>
          <a:xfrm>
            <a:off x="10672338" y="1208700"/>
            <a:ext cx="107026" cy="139957"/>
          </a:xfrm>
          <a:custGeom>
            <a:avLst/>
            <a:gdLst>
              <a:gd name="connsiteX0" fmla="*/ 108442 w 111442"/>
              <a:gd name="connsiteY0" fmla="*/ 135017 h 145732"/>
              <a:gd name="connsiteX1" fmla="*/ 70723 w 111442"/>
              <a:gd name="connsiteY1" fmla="*/ 141875 h 145732"/>
              <a:gd name="connsiteX2" fmla="*/ 23574 w 111442"/>
              <a:gd name="connsiteY2" fmla="*/ 123873 h 145732"/>
              <a:gd name="connsiteX3" fmla="*/ 6429 w 111442"/>
              <a:gd name="connsiteY3" fmla="*/ 76724 h 145732"/>
              <a:gd name="connsiteX4" fmla="*/ 26146 w 111442"/>
              <a:gd name="connsiteY4" fmla="*/ 26146 h 145732"/>
              <a:gd name="connsiteX5" fmla="*/ 76724 w 111442"/>
              <a:gd name="connsiteY5" fmla="*/ 6429 h 145732"/>
              <a:gd name="connsiteX6" fmla="*/ 109299 w 111442"/>
              <a:gd name="connsiteY6" fmla="*/ 11573 h 145732"/>
              <a:gd name="connsiteX7" fmla="*/ 109299 w 111442"/>
              <a:gd name="connsiteY7" fmla="*/ 39862 h 145732"/>
              <a:gd name="connsiteX8" fmla="*/ 79296 w 111442"/>
              <a:gd name="connsiteY8" fmla="*/ 32147 h 145732"/>
              <a:gd name="connsiteX9" fmla="*/ 49292 w 111442"/>
              <a:gd name="connsiteY9" fmla="*/ 44148 h 145732"/>
              <a:gd name="connsiteX10" fmla="*/ 38148 w 111442"/>
              <a:gd name="connsiteY10" fmla="*/ 75867 h 145732"/>
              <a:gd name="connsiteX11" fmla="*/ 48434 w 111442"/>
              <a:gd name="connsiteY11" fmla="*/ 105870 h 145732"/>
              <a:gd name="connsiteX12" fmla="*/ 76724 w 111442"/>
              <a:gd name="connsiteY12" fmla="*/ 117015 h 145732"/>
              <a:gd name="connsiteX13" fmla="*/ 108442 w 111442"/>
              <a:gd name="connsiteY13" fmla="*/ 108442 h 145732"/>
              <a:gd name="connsiteX14" fmla="*/ 108442 w 111442"/>
              <a:gd name="connsiteY14" fmla="*/ 135017 h 14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442" h="145732">
                <a:moveTo>
                  <a:pt x="108442" y="135017"/>
                </a:moveTo>
                <a:cubicBezTo>
                  <a:pt x="99012" y="139303"/>
                  <a:pt x="86154" y="141875"/>
                  <a:pt x="70723" y="141875"/>
                </a:cubicBezTo>
                <a:cubicBezTo>
                  <a:pt x="51006" y="141875"/>
                  <a:pt x="34719" y="135874"/>
                  <a:pt x="23574" y="123873"/>
                </a:cubicBezTo>
                <a:cubicBezTo>
                  <a:pt x="12430" y="111871"/>
                  <a:pt x="6429" y="96441"/>
                  <a:pt x="6429" y="76724"/>
                </a:cubicBezTo>
                <a:cubicBezTo>
                  <a:pt x="6429" y="56150"/>
                  <a:pt x="13287" y="39005"/>
                  <a:pt x="26146" y="26146"/>
                </a:cubicBezTo>
                <a:cubicBezTo>
                  <a:pt x="39005" y="13287"/>
                  <a:pt x="56150" y="6429"/>
                  <a:pt x="76724" y="6429"/>
                </a:cubicBezTo>
                <a:cubicBezTo>
                  <a:pt x="89583" y="6429"/>
                  <a:pt x="99869" y="8144"/>
                  <a:pt x="109299" y="11573"/>
                </a:cubicBezTo>
                <a:lnTo>
                  <a:pt x="109299" y="39862"/>
                </a:lnTo>
                <a:cubicBezTo>
                  <a:pt x="100727" y="34719"/>
                  <a:pt x="90440" y="32147"/>
                  <a:pt x="79296" y="32147"/>
                </a:cubicBezTo>
                <a:cubicBezTo>
                  <a:pt x="67294" y="32147"/>
                  <a:pt x="57007" y="35576"/>
                  <a:pt x="49292" y="44148"/>
                </a:cubicBezTo>
                <a:cubicBezTo>
                  <a:pt x="41576" y="51864"/>
                  <a:pt x="38148" y="62151"/>
                  <a:pt x="38148" y="75867"/>
                </a:cubicBezTo>
                <a:cubicBezTo>
                  <a:pt x="38148" y="88725"/>
                  <a:pt x="41576" y="98155"/>
                  <a:pt x="48434" y="105870"/>
                </a:cubicBezTo>
                <a:cubicBezTo>
                  <a:pt x="55293" y="113586"/>
                  <a:pt x="64722" y="117015"/>
                  <a:pt x="76724" y="117015"/>
                </a:cubicBezTo>
                <a:cubicBezTo>
                  <a:pt x="87868" y="117015"/>
                  <a:pt x="99012" y="114443"/>
                  <a:pt x="108442" y="108442"/>
                </a:cubicBezTo>
                <a:lnTo>
                  <a:pt x="108442" y="135017"/>
                </a:lnTo>
                <a:close/>
              </a:path>
            </a:pathLst>
          </a:custGeom>
          <a:solidFill>
            <a:schemeClr val="accent3"/>
          </a:solidFill>
          <a:ln w="9525" cap="flat">
            <a:noFill/>
            <a:prstDash val="solid"/>
            <a:miter/>
          </a:ln>
        </p:spPr>
        <p:txBody>
          <a:bodyPr rtlCol="0" anchor="ctr"/>
          <a:lstStyle/>
          <a:p>
            <a:endParaRPr lang="zh-CN" altLang="en-US"/>
          </a:p>
        </p:txBody>
      </p:sp>
      <p:sp>
        <p:nvSpPr>
          <p:cNvPr id="137" name="任意多边形: 形状 136">
            <a:extLst>
              <a:ext uri="{FF2B5EF4-FFF2-40B4-BE49-F238E27FC236}">
                <a16:creationId xmlns:a16="http://schemas.microsoft.com/office/drawing/2014/main" id="{135D8172-60D4-4CAF-BBD5-314C52538DD5}"/>
              </a:ext>
            </a:extLst>
          </p:cNvPr>
          <p:cNvSpPr/>
          <p:nvPr userDrawn="1"/>
        </p:nvSpPr>
        <p:spPr>
          <a:xfrm>
            <a:off x="10778540" y="1211170"/>
            <a:ext cx="131724" cy="131724"/>
          </a:xfrm>
          <a:custGeom>
            <a:avLst/>
            <a:gdLst>
              <a:gd name="connsiteX0" fmla="*/ 135017 w 137160"/>
              <a:gd name="connsiteY0" fmla="*/ 136731 h 137160"/>
              <a:gd name="connsiteX1" fmla="*/ 103299 w 137160"/>
              <a:gd name="connsiteY1" fmla="*/ 136731 h 137160"/>
              <a:gd name="connsiteX2" fmla="*/ 93869 w 137160"/>
              <a:gd name="connsiteY2" fmla="*/ 107585 h 137160"/>
              <a:gd name="connsiteX3" fmla="*/ 47578 w 137160"/>
              <a:gd name="connsiteY3" fmla="*/ 107585 h 137160"/>
              <a:gd name="connsiteX4" fmla="*/ 38148 w 137160"/>
              <a:gd name="connsiteY4" fmla="*/ 136731 h 137160"/>
              <a:gd name="connsiteX5" fmla="*/ 6429 w 137160"/>
              <a:gd name="connsiteY5" fmla="*/ 136731 h 137160"/>
              <a:gd name="connsiteX6" fmla="*/ 53578 w 137160"/>
              <a:gd name="connsiteY6" fmla="*/ 6429 h 137160"/>
              <a:gd name="connsiteX7" fmla="*/ 88726 w 137160"/>
              <a:gd name="connsiteY7" fmla="*/ 6429 h 137160"/>
              <a:gd name="connsiteX8" fmla="*/ 135017 w 137160"/>
              <a:gd name="connsiteY8" fmla="*/ 136731 h 137160"/>
              <a:gd name="connsiteX9" fmla="*/ 87011 w 137160"/>
              <a:gd name="connsiteY9" fmla="*/ 85296 h 137160"/>
              <a:gd name="connsiteX10" fmla="*/ 73295 w 137160"/>
              <a:gd name="connsiteY10" fmla="*/ 41577 h 137160"/>
              <a:gd name="connsiteX11" fmla="*/ 70723 w 137160"/>
              <a:gd name="connsiteY11" fmla="*/ 29575 h 137160"/>
              <a:gd name="connsiteX12" fmla="*/ 69866 w 137160"/>
              <a:gd name="connsiteY12" fmla="*/ 29575 h 137160"/>
              <a:gd name="connsiteX13" fmla="*/ 67294 w 137160"/>
              <a:gd name="connsiteY13" fmla="*/ 40719 h 137160"/>
              <a:gd name="connsiteX14" fmla="*/ 52721 w 137160"/>
              <a:gd name="connsiteY14" fmla="*/ 85296 h 137160"/>
              <a:gd name="connsiteX15" fmla="*/ 87011 w 137160"/>
              <a:gd name="connsiteY15" fmla="*/ 85296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7160" h="137160">
                <a:moveTo>
                  <a:pt x="135017" y="136731"/>
                </a:moveTo>
                <a:lnTo>
                  <a:pt x="103299" y="136731"/>
                </a:lnTo>
                <a:lnTo>
                  <a:pt x="93869" y="107585"/>
                </a:lnTo>
                <a:lnTo>
                  <a:pt x="47578" y="107585"/>
                </a:lnTo>
                <a:lnTo>
                  <a:pt x="38148" y="136731"/>
                </a:lnTo>
                <a:lnTo>
                  <a:pt x="6429" y="136731"/>
                </a:lnTo>
                <a:lnTo>
                  <a:pt x="53578" y="6429"/>
                </a:lnTo>
                <a:lnTo>
                  <a:pt x="88726" y="6429"/>
                </a:lnTo>
                <a:lnTo>
                  <a:pt x="135017" y="136731"/>
                </a:lnTo>
                <a:close/>
                <a:moveTo>
                  <a:pt x="87011" y="85296"/>
                </a:moveTo>
                <a:lnTo>
                  <a:pt x="73295" y="41577"/>
                </a:lnTo>
                <a:cubicBezTo>
                  <a:pt x="72438" y="38148"/>
                  <a:pt x="71581" y="34719"/>
                  <a:pt x="70723" y="29575"/>
                </a:cubicBezTo>
                <a:lnTo>
                  <a:pt x="69866" y="29575"/>
                </a:lnTo>
                <a:cubicBezTo>
                  <a:pt x="69866" y="33004"/>
                  <a:pt x="69009" y="37290"/>
                  <a:pt x="67294" y="40719"/>
                </a:cubicBezTo>
                <a:lnTo>
                  <a:pt x="52721" y="85296"/>
                </a:lnTo>
                <a:lnTo>
                  <a:pt x="87011" y="85296"/>
                </a:lnTo>
                <a:close/>
              </a:path>
            </a:pathLst>
          </a:custGeom>
          <a:solidFill>
            <a:schemeClr val="accent3"/>
          </a:solidFill>
          <a:ln w="9525" cap="flat">
            <a:noFill/>
            <a:prstDash val="solid"/>
            <a:miter/>
          </a:ln>
        </p:spPr>
        <p:txBody>
          <a:bodyPr rtlCol="0" anchor="ctr"/>
          <a:lstStyle/>
          <a:p>
            <a:endParaRPr lang="zh-CN" altLang="en-US"/>
          </a:p>
        </p:txBody>
      </p:sp>
      <p:sp>
        <p:nvSpPr>
          <p:cNvPr id="138" name="任意多边形: 形状 137">
            <a:extLst>
              <a:ext uri="{FF2B5EF4-FFF2-40B4-BE49-F238E27FC236}">
                <a16:creationId xmlns:a16="http://schemas.microsoft.com/office/drawing/2014/main" id="{D1689074-C583-4A91-9F9A-681586696598}"/>
              </a:ext>
            </a:extLst>
          </p:cNvPr>
          <p:cNvSpPr/>
          <p:nvPr userDrawn="1"/>
        </p:nvSpPr>
        <p:spPr>
          <a:xfrm>
            <a:off x="10906971" y="1211170"/>
            <a:ext cx="107026" cy="131724"/>
          </a:xfrm>
          <a:custGeom>
            <a:avLst/>
            <a:gdLst>
              <a:gd name="connsiteX0" fmla="*/ 109299 w 111442"/>
              <a:gd name="connsiteY0" fmla="*/ 30432 h 137160"/>
              <a:gd name="connsiteX1" fmla="*/ 72438 w 111442"/>
              <a:gd name="connsiteY1" fmla="*/ 30432 h 137160"/>
              <a:gd name="connsiteX2" fmla="*/ 72438 w 111442"/>
              <a:gd name="connsiteY2" fmla="*/ 136731 h 137160"/>
              <a:gd name="connsiteX3" fmla="*/ 43291 w 111442"/>
              <a:gd name="connsiteY3" fmla="*/ 136731 h 137160"/>
              <a:gd name="connsiteX4" fmla="*/ 43291 w 111442"/>
              <a:gd name="connsiteY4" fmla="*/ 30432 h 137160"/>
              <a:gd name="connsiteX5" fmla="*/ 6429 w 111442"/>
              <a:gd name="connsiteY5" fmla="*/ 30432 h 137160"/>
              <a:gd name="connsiteX6" fmla="*/ 6429 w 111442"/>
              <a:gd name="connsiteY6" fmla="*/ 6429 h 137160"/>
              <a:gd name="connsiteX7" fmla="*/ 110156 w 111442"/>
              <a:gd name="connsiteY7" fmla="*/ 6429 h 137160"/>
              <a:gd name="connsiteX8" fmla="*/ 110156 w 111442"/>
              <a:gd name="connsiteY8" fmla="*/ 30432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442" h="137160">
                <a:moveTo>
                  <a:pt x="109299" y="30432"/>
                </a:moveTo>
                <a:lnTo>
                  <a:pt x="72438" y="30432"/>
                </a:lnTo>
                <a:lnTo>
                  <a:pt x="72438" y="136731"/>
                </a:lnTo>
                <a:lnTo>
                  <a:pt x="43291" y="136731"/>
                </a:lnTo>
                <a:lnTo>
                  <a:pt x="43291" y="30432"/>
                </a:lnTo>
                <a:lnTo>
                  <a:pt x="6429" y="30432"/>
                </a:lnTo>
                <a:lnTo>
                  <a:pt x="6429" y="6429"/>
                </a:lnTo>
                <a:lnTo>
                  <a:pt x="110156" y="6429"/>
                </a:lnTo>
                <a:lnTo>
                  <a:pt x="110156" y="30432"/>
                </a:lnTo>
                <a:close/>
              </a:path>
            </a:pathLst>
          </a:custGeom>
          <a:solidFill>
            <a:schemeClr val="accent3"/>
          </a:solidFill>
          <a:ln w="9525" cap="flat">
            <a:noFill/>
            <a:prstDash val="solid"/>
            <a:miter/>
          </a:ln>
        </p:spPr>
        <p:txBody>
          <a:bodyPr rtlCol="0" anchor="ctr"/>
          <a:lstStyle/>
          <a:p>
            <a:endParaRPr lang="zh-CN" altLang="en-US"/>
          </a:p>
        </p:txBody>
      </p:sp>
      <p:sp>
        <p:nvSpPr>
          <p:cNvPr id="139" name="任意多边形: 形状 138">
            <a:extLst>
              <a:ext uri="{FF2B5EF4-FFF2-40B4-BE49-F238E27FC236}">
                <a16:creationId xmlns:a16="http://schemas.microsoft.com/office/drawing/2014/main" id="{B6949EFA-BBA4-45DE-B62B-52ACE8FF9D22}"/>
              </a:ext>
            </a:extLst>
          </p:cNvPr>
          <p:cNvSpPr/>
          <p:nvPr userDrawn="1"/>
        </p:nvSpPr>
        <p:spPr>
          <a:xfrm>
            <a:off x="11012350" y="1211170"/>
            <a:ext cx="57630" cy="131724"/>
          </a:xfrm>
          <a:custGeom>
            <a:avLst/>
            <a:gdLst>
              <a:gd name="connsiteX0" fmla="*/ 57864 w 60007"/>
              <a:gd name="connsiteY0" fmla="*/ 6429 h 137160"/>
              <a:gd name="connsiteX1" fmla="*/ 57864 w 60007"/>
              <a:gd name="connsiteY1" fmla="*/ 29575 h 137160"/>
              <a:gd name="connsiteX2" fmla="*/ 46720 w 60007"/>
              <a:gd name="connsiteY2" fmla="*/ 29575 h 137160"/>
              <a:gd name="connsiteX3" fmla="*/ 46720 w 60007"/>
              <a:gd name="connsiteY3" fmla="*/ 114443 h 137160"/>
              <a:gd name="connsiteX4" fmla="*/ 57864 w 60007"/>
              <a:gd name="connsiteY4" fmla="*/ 114443 h 137160"/>
              <a:gd name="connsiteX5" fmla="*/ 57864 w 60007"/>
              <a:gd name="connsiteY5" fmla="*/ 137589 h 137160"/>
              <a:gd name="connsiteX6" fmla="*/ 6429 w 60007"/>
              <a:gd name="connsiteY6" fmla="*/ 137589 h 137160"/>
              <a:gd name="connsiteX7" fmla="*/ 6429 w 60007"/>
              <a:gd name="connsiteY7" fmla="*/ 114443 h 137160"/>
              <a:gd name="connsiteX8" fmla="*/ 17574 w 60007"/>
              <a:gd name="connsiteY8" fmla="*/ 114443 h 137160"/>
              <a:gd name="connsiteX9" fmla="*/ 17574 w 60007"/>
              <a:gd name="connsiteY9" fmla="*/ 29575 h 137160"/>
              <a:gd name="connsiteX10" fmla="*/ 6429 w 60007"/>
              <a:gd name="connsiteY10" fmla="*/ 29575 h 137160"/>
              <a:gd name="connsiteX11" fmla="*/ 6429 w 60007"/>
              <a:gd name="connsiteY11" fmla="*/ 6429 h 137160"/>
              <a:gd name="connsiteX12" fmla="*/ 57864 w 60007"/>
              <a:gd name="connsiteY12" fmla="*/ 6429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007" h="137160">
                <a:moveTo>
                  <a:pt x="57864" y="6429"/>
                </a:moveTo>
                <a:lnTo>
                  <a:pt x="57864" y="29575"/>
                </a:lnTo>
                <a:lnTo>
                  <a:pt x="46720" y="29575"/>
                </a:lnTo>
                <a:lnTo>
                  <a:pt x="46720" y="114443"/>
                </a:lnTo>
                <a:lnTo>
                  <a:pt x="57864" y="114443"/>
                </a:lnTo>
                <a:lnTo>
                  <a:pt x="57864" y="137589"/>
                </a:lnTo>
                <a:lnTo>
                  <a:pt x="6429" y="137589"/>
                </a:lnTo>
                <a:lnTo>
                  <a:pt x="6429" y="114443"/>
                </a:lnTo>
                <a:lnTo>
                  <a:pt x="17574" y="114443"/>
                </a:lnTo>
                <a:lnTo>
                  <a:pt x="17574" y="29575"/>
                </a:lnTo>
                <a:lnTo>
                  <a:pt x="6429" y="29575"/>
                </a:lnTo>
                <a:lnTo>
                  <a:pt x="6429" y="6429"/>
                </a:lnTo>
                <a:lnTo>
                  <a:pt x="57864" y="6429"/>
                </a:lnTo>
                <a:close/>
              </a:path>
            </a:pathLst>
          </a:custGeom>
          <a:solidFill>
            <a:schemeClr val="accent3"/>
          </a:solidFill>
          <a:ln w="9525" cap="flat">
            <a:noFill/>
            <a:prstDash val="solid"/>
            <a:miter/>
          </a:ln>
        </p:spPr>
        <p:txBody>
          <a:bodyPr rtlCol="0" anchor="ctr"/>
          <a:lstStyle/>
          <a:p>
            <a:endParaRPr lang="zh-CN" altLang="en-US"/>
          </a:p>
        </p:txBody>
      </p:sp>
      <p:sp>
        <p:nvSpPr>
          <p:cNvPr id="140" name="任意多边形: 形状 139">
            <a:extLst>
              <a:ext uri="{FF2B5EF4-FFF2-40B4-BE49-F238E27FC236}">
                <a16:creationId xmlns:a16="http://schemas.microsoft.com/office/drawing/2014/main" id="{B50D7E62-C1FD-4050-9005-7D7D12C6AAE8}"/>
              </a:ext>
            </a:extLst>
          </p:cNvPr>
          <p:cNvSpPr/>
          <p:nvPr userDrawn="1"/>
        </p:nvSpPr>
        <p:spPr>
          <a:xfrm>
            <a:off x="11071625" y="1209523"/>
            <a:ext cx="131724" cy="139957"/>
          </a:xfrm>
          <a:custGeom>
            <a:avLst/>
            <a:gdLst>
              <a:gd name="connsiteX0" fmla="*/ 69866 w 137160"/>
              <a:gd name="connsiteY0" fmla="*/ 141018 h 145732"/>
              <a:gd name="connsiteX1" fmla="*/ 24431 w 137160"/>
              <a:gd name="connsiteY1" fmla="*/ 123015 h 145732"/>
              <a:gd name="connsiteX2" fmla="*/ 6429 w 137160"/>
              <a:gd name="connsiteY2" fmla="*/ 75009 h 145732"/>
              <a:gd name="connsiteX3" fmla="*/ 24431 w 137160"/>
              <a:gd name="connsiteY3" fmla="*/ 25289 h 145732"/>
              <a:gd name="connsiteX4" fmla="*/ 71580 w 137160"/>
              <a:gd name="connsiteY4" fmla="*/ 6429 h 145732"/>
              <a:gd name="connsiteX5" fmla="*/ 117014 w 137160"/>
              <a:gd name="connsiteY5" fmla="*/ 24432 h 145732"/>
              <a:gd name="connsiteX6" fmla="*/ 134159 w 137160"/>
              <a:gd name="connsiteY6" fmla="*/ 72438 h 145732"/>
              <a:gd name="connsiteX7" fmla="*/ 116157 w 137160"/>
              <a:gd name="connsiteY7" fmla="*/ 122158 h 145732"/>
              <a:gd name="connsiteX8" fmla="*/ 69866 w 137160"/>
              <a:gd name="connsiteY8" fmla="*/ 141018 h 145732"/>
              <a:gd name="connsiteX9" fmla="*/ 71580 w 137160"/>
              <a:gd name="connsiteY9" fmla="*/ 31290 h 145732"/>
              <a:gd name="connsiteX10" fmla="*/ 46720 w 137160"/>
              <a:gd name="connsiteY10" fmla="*/ 43291 h 145732"/>
              <a:gd name="connsiteX11" fmla="*/ 37290 w 137160"/>
              <a:gd name="connsiteY11" fmla="*/ 74152 h 145732"/>
              <a:gd name="connsiteX12" fmla="*/ 46720 w 137160"/>
              <a:gd name="connsiteY12" fmla="*/ 105013 h 145732"/>
              <a:gd name="connsiteX13" fmla="*/ 70723 w 137160"/>
              <a:gd name="connsiteY13" fmla="*/ 116157 h 145732"/>
              <a:gd name="connsiteX14" fmla="*/ 94726 w 137160"/>
              <a:gd name="connsiteY14" fmla="*/ 105013 h 145732"/>
              <a:gd name="connsiteX15" fmla="*/ 103299 w 137160"/>
              <a:gd name="connsiteY15" fmla="*/ 74152 h 145732"/>
              <a:gd name="connsiteX16" fmla="*/ 94726 w 137160"/>
              <a:gd name="connsiteY16" fmla="*/ 42434 h 145732"/>
              <a:gd name="connsiteX17" fmla="*/ 71580 w 137160"/>
              <a:gd name="connsiteY17" fmla="*/ 31290 h 14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0" h="145732">
                <a:moveTo>
                  <a:pt x="69866" y="141018"/>
                </a:moveTo>
                <a:cubicBezTo>
                  <a:pt x="51006" y="141018"/>
                  <a:pt x="35576" y="135017"/>
                  <a:pt x="24431" y="123015"/>
                </a:cubicBezTo>
                <a:cubicBezTo>
                  <a:pt x="12430" y="111014"/>
                  <a:pt x="6429" y="94726"/>
                  <a:pt x="6429" y="75009"/>
                </a:cubicBezTo>
                <a:cubicBezTo>
                  <a:pt x="6429" y="54435"/>
                  <a:pt x="12430" y="37290"/>
                  <a:pt x="24431" y="25289"/>
                </a:cubicBezTo>
                <a:cubicBezTo>
                  <a:pt x="36433" y="12430"/>
                  <a:pt x="51864" y="6429"/>
                  <a:pt x="71580" y="6429"/>
                </a:cubicBezTo>
                <a:cubicBezTo>
                  <a:pt x="90440" y="6429"/>
                  <a:pt x="105013" y="12430"/>
                  <a:pt x="117014" y="24432"/>
                </a:cubicBezTo>
                <a:cubicBezTo>
                  <a:pt x="128159" y="36433"/>
                  <a:pt x="134159" y="52721"/>
                  <a:pt x="134159" y="72438"/>
                </a:cubicBezTo>
                <a:cubicBezTo>
                  <a:pt x="134159" y="93012"/>
                  <a:pt x="128159" y="109299"/>
                  <a:pt x="116157" y="122158"/>
                </a:cubicBezTo>
                <a:cubicBezTo>
                  <a:pt x="105013" y="134160"/>
                  <a:pt x="89583" y="141018"/>
                  <a:pt x="69866" y="141018"/>
                </a:cubicBezTo>
                <a:close/>
                <a:moveTo>
                  <a:pt x="71580" y="31290"/>
                </a:moveTo>
                <a:cubicBezTo>
                  <a:pt x="61293" y="31290"/>
                  <a:pt x="52721" y="35576"/>
                  <a:pt x="46720" y="43291"/>
                </a:cubicBezTo>
                <a:cubicBezTo>
                  <a:pt x="40719" y="51006"/>
                  <a:pt x="37290" y="61293"/>
                  <a:pt x="37290" y="74152"/>
                </a:cubicBezTo>
                <a:cubicBezTo>
                  <a:pt x="37290" y="87011"/>
                  <a:pt x="40719" y="97298"/>
                  <a:pt x="46720" y="105013"/>
                </a:cubicBezTo>
                <a:cubicBezTo>
                  <a:pt x="52721" y="112728"/>
                  <a:pt x="60436" y="116157"/>
                  <a:pt x="70723" y="116157"/>
                </a:cubicBezTo>
                <a:cubicBezTo>
                  <a:pt x="81010" y="116157"/>
                  <a:pt x="88725" y="112728"/>
                  <a:pt x="94726" y="105013"/>
                </a:cubicBezTo>
                <a:cubicBezTo>
                  <a:pt x="100727" y="97298"/>
                  <a:pt x="103299" y="87868"/>
                  <a:pt x="103299" y="74152"/>
                </a:cubicBezTo>
                <a:cubicBezTo>
                  <a:pt x="103299" y="60436"/>
                  <a:pt x="100727" y="50149"/>
                  <a:pt x="94726" y="42434"/>
                </a:cubicBezTo>
                <a:cubicBezTo>
                  <a:pt x="89583" y="34719"/>
                  <a:pt x="81010" y="31290"/>
                  <a:pt x="71580" y="31290"/>
                </a:cubicBezTo>
                <a:close/>
              </a:path>
            </a:pathLst>
          </a:custGeom>
          <a:solidFill>
            <a:schemeClr val="accent3"/>
          </a:solidFill>
          <a:ln w="9525" cap="flat">
            <a:noFill/>
            <a:prstDash val="solid"/>
            <a:miter/>
          </a:ln>
        </p:spPr>
        <p:txBody>
          <a:bodyPr rtlCol="0" anchor="ctr"/>
          <a:lstStyle/>
          <a:p>
            <a:endParaRPr lang="zh-CN" altLang="en-US"/>
          </a:p>
        </p:txBody>
      </p:sp>
      <p:sp>
        <p:nvSpPr>
          <p:cNvPr id="141" name="任意多边形: 形状 140">
            <a:extLst>
              <a:ext uri="{FF2B5EF4-FFF2-40B4-BE49-F238E27FC236}">
                <a16:creationId xmlns:a16="http://schemas.microsoft.com/office/drawing/2014/main" id="{98DD4349-F375-41E7-B4BF-5688C1AF5EAB}"/>
              </a:ext>
            </a:extLst>
          </p:cNvPr>
          <p:cNvSpPr/>
          <p:nvPr userDrawn="1"/>
        </p:nvSpPr>
        <p:spPr>
          <a:xfrm>
            <a:off x="11215698" y="1211170"/>
            <a:ext cx="123491" cy="131724"/>
          </a:xfrm>
          <a:custGeom>
            <a:avLst/>
            <a:gdLst>
              <a:gd name="connsiteX0" fmla="*/ 123873 w 128587"/>
              <a:gd name="connsiteY0" fmla="*/ 136731 h 137160"/>
              <a:gd name="connsiteX1" fmla="*/ 93869 w 128587"/>
              <a:gd name="connsiteY1" fmla="*/ 136731 h 137160"/>
              <a:gd name="connsiteX2" fmla="*/ 39862 w 128587"/>
              <a:gd name="connsiteY2" fmla="*/ 54435 h 137160"/>
              <a:gd name="connsiteX3" fmla="*/ 33004 w 128587"/>
              <a:gd name="connsiteY3" fmla="*/ 43291 h 137160"/>
              <a:gd name="connsiteX4" fmla="*/ 33004 w 128587"/>
              <a:gd name="connsiteY4" fmla="*/ 43291 h 137160"/>
              <a:gd name="connsiteX5" fmla="*/ 33861 w 128587"/>
              <a:gd name="connsiteY5" fmla="*/ 64722 h 137160"/>
              <a:gd name="connsiteX6" fmla="*/ 33861 w 128587"/>
              <a:gd name="connsiteY6" fmla="*/ 136731 h 137160"/>
              <a:gd name="connsiteX7" fmla="*/ 6429 w 128587"/>
              <a:gd name="connsiteY7" fmla="*/ 136731 h 137160"/>
              <a:gd name="connsiteX8" fmla="*/ 6429 w 128587"/>
              <a:gd name="connsiteY8" fmla="*/ 6429 h 137160"/>
              <a:gd name="connsiteX9" fmla="*/ 38148 w 128587"/>
              <a:gd name="connsiteY9" fmla="*/ 6429 h 137160"/>
              <a:gd name="connsiteX10" fmla="*/ 89583 w 128587"/>
              <a:gd name="connsiteY10" fmla="*/ 86154 h 137160"/>
              <a:gd name="connsiteX11" fmla="*/ 96441 w 128587"/>
              <a:gd name="connsiteY11" fmla="*/ 96441 h 137160"/>
              <a:gd name="connsiteX12" fmla="*/ 96441 w 128587"/>
              <a:gd name="connsiteY12" fmla="*/ 96441 h 137160"/>
              <a:gd name="connsiteX13" fmla="*/ 95583 w 128587"/>
              <a:gd name="connsiteY13" fmla="*/ 78438 h 137160"/>
              <a:gd name="connsiteX14" fmla="*/ 95583 w 128587"/>
              <a:gd name="connsiteY14" fmla="*/ 6429 h 137160"/>
              <a:gd name="connsiteX15" fmla="*/ 123015 w 128587"/>
              <a:gd name="connsiteY15" fmla="*/ 6429 h 137160"/>
              <a:gd name="connsiteX16" fmla="*/ 123015 w 128587"/>
              <a:gd name="connsiteY16" fmla="*/ 136731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587" h="137160">
                <a:moveTo>
                  <a:pt x="123873" y="136731"/>
                </a:moveTo>
                <a:lnTo>
                  <a:pt x="93869" y="136731"/>
                </a:lnTo>
                <a:lnTo>
                  <a:pt x="39862" y="54435"/>
                </a:lnTo>
                <a:cubicBezTo>
                  <a:pt x="36433" y="49292"/>
                  <a:pt x="34719" y="45863"/>
                  <a:pt x="33004" y="43291"/>
                </a:cubicBezTo>
                <a:lnTo>
                  <a:pt x="33004" y="43291"/>
                </a:lnTo>
                <a:cubicBezTo>
                  <a:pt x="33861" y="47577"/>
                  <a:pt x="33861" y="55293"/>
                  <a:pt x="33861" y="64722"/>
                </a:cubicBezTo>
                <a:lnTo>
                  <a:pt x="33861" y="136731"/>
                </a:lnTo>
                <a:lnTo>
                  <a:pt x="6429" y="136731"/>
                </a:lnTo>
                <a:lnTo>
                  <a:pt x="6429" y="6429"/>
                </a:lnTo>
                <a:lnTo>
                  <a:pt x="38148" y="6429"/>
                </a:lnTo>
                <a:lnTo>
                  <a:pt x="89583" y="86154"/>
                </a:lnTo>
                <a:cubicBezTo>
                  <a:pt x="92154" y="89583"/>
                  <a:pt x="93869" y="93012"/>
                  <a:pt x="96441" y="96441"/>
                </a:cubicBezTo>
                <a:lnTo>
                  <a:pt x="96441" y="96441"/>
                </a:lnTo>
                <a:cubicBezTo>
                  <a:pt x="95583" y="93012"/>
                  <a:pt x="95583" y="87011"/>
                  <a:pt x="95583" y="78438"/>
                </a:cubicBezTo>
                <a:lnTo>
                  <a:pt x="95583" y="6429"/>
                </a:lnTo>
                <a:lnTo>
                  <a:pt x="123015" y="6429"/>
                </a:lnTo>
                <a:lnTo>
                  <a:pt x="123015" y="136731"/>
                </a:lnTo>
                <a:close/>
              </a:path>
            </a:pathLst>
          </a:custGeom>
          <a:solidFill>
            <a:schemeClr val="accent3"/>
          </a:solidFill>
          <a:ln w="9525" cap="flat">
            <a:noFill/>
            <a:prstDash val="solid"/>
            <a:miter/>
          </a:ln>
        </p:spPr>
        <p:txBody>
          <a:bodyPr rtlCol="0" anchor="ctr"/>
          <a:lstStyle/>
          <a:p>
            <a:endParaRPr lang="zh-CN" altLang="en-US"/>
          </a:p>
        </p:txBody>
      </p:sp>
      <p:sp>
        <p:nvSpPr>
          <p:cNvPr id="142" name="任意多边形: 形状 141">
            <a:extLst>
              <a:ext uri="{FF2B5EF4-FFF2-40B4-BE49-F238E27FC236}">
                <a16:creationId xmlns:a16="http://schemas.microsoft.com/office/drawing/2014/main" id="{A9454069-736E-41C9-9AA5-1D3FFF49CDB4}"/>
              </a:ext>
            </a:extLst>
          </p:cNvPr>
          <p:cNvSpPr/>
          <p:nvPr userDrawn="1"/>
        </p:nvSpPr>
        <p:spPr>
          <a:xfrm>
            <a:off x="10322446" y="1373355"/>
            <a:ext cx="16465" cy="82327"/>
          </a:xfrm>
          <a:custGeom>
            <a:avLst/>
            <a:gdLst>
              <a:gd name="connsiteX0" fmla="*/ 12430 w 17145"/>
              <a:gd name="connsiteY0" fmla="*/ 18431 h 85725"/>
              <a:gd name="connsiteX1" fmla="*/ 8144 w 17145"/>
              <a:gd name="connsiteY1" fmla="*/ 16716 h 85725"/>
              <a:gd name="connsiteX2" fmla="*/ 6429 w 17145"/>
              <a:gd name="connsiteY2" fmla="*/ 12430 h 85725"/>
              <a:gd name="connsiteX3" fmla="*/ 8144 w 17145"/>
              <a:gd name="connsiteY3" fmla="*/ 8144 h 85725"/>
              <a:gd name="connsiteX4" fmla="*/ 12430 w 17145"/>
              <a:gd name="connsiteY4" fmla="*/ 6429 h 85725"/>
              <a:gd name="connsiteX5" fmla="*/ 16716 w 17145"/>
              <a:gd name="connsiteY5" fmla="*/ 8144 h 85725"/>
              <a:gd name="connsiteX6" fmla="*/ 18431 w 17145"/>
              <a:gd name="connsiteY6" fmla="*/ 12430 h 85725"/>
              <a:gd name="connsiteX7" fmla="*/ 16716 w 17145"/>
              <a:gd name="connsiteY7" fmla="*/ 16716 h 85725"/>
              <a:gd name="connsiteX8" fmla="*/ 12430 w 17145"/>
              <a:gd name="connsiteY8" fmla="*/ 18431 h 85725"/>
              <a:gd name="connsiteX9" fmla="*/ 16716 w 17145"/>
              <a:gd name="connsiteY9" fmla="*/ 85296 h 85725"/>
              <a:gd name="connsiteX10" fmla="*/ 8144 w 17145"/>
              <a:gd name="connsiteY10" fmla="*/ 85296 h 85725"/>
              <a:gd name="connsiteX11" fmla="*/ 8144 w 17145"/>
              <a:gd name="connsiteY11" fmla="*/ 32147 h 85725"/>
              <a:gd name="connsiteX12" fmla="*/ 16716 w 17145"/>
              <a:gd name="connsiteY12" fmla="*/ 32147 h 85725"/>
              <a:gd name="connsiteX13" fmla="*/ 16716 w 17145"/>
              <a:gd name="connsiteY13" fmla="*/ 8529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45" h="85725">
                <a:moveTo>
                  <a:pt x="12430" y="18431"/>
                </a:moveTo>
                <a:cubicBezTo>
                  <a:pt x="10716" y="18431"/>
                  <a:pt x="9858" y="17574"/>
                  <a:pt x="8144" y="16716"/>
                </a:cubicBezTo>
                <a:cubicBezTo>
                  <a:pt x="6429" y="15859"/>
                  <a:pt x="6429" y="14145"/>
                  <a:pt x="6429" y="12430"/>
                </a:cubicBezTo>
                <a:cubicBezTo>
                  <a:pt x="6429" y="10716"/>
                  <a:pt x="7286" y="9858"/>
                  <a:pt x="8144" y="8144"/>
                </a:cubicBezTo>
                <a:cubicBezTo>
                  <a:pt x="9001" y="7287"/>
                  <a:pt x="10716" y="6429"/>
                  <a:pt x="12430" y="6429"/>
                </a:cubicBezTo>
                <a:cubicBezTo>
                  <a:pt x="14144" y="6429"/>
                  <a:pt x="15002" y="7287"/>
                  <a:pt x="16716" y="8144"/>
                </a:cubicBezTo>
                <a:cubicBezTo>
                  <a:pt x="17574" y="9001"/>
                  <a:pt x="18431" y="10716"/>
                  <a:pt x="18431" y="12430"/>
                </a:cubicBezTo>
                <a:cubicBezTo>
                  <a:pt x="18431" y="14145"/>
                  <a:pt x="17574" y="15002"/>
                  <a:pt x="16716" y="16716"/>
                </a:cubicBezTo>
                <a:cubicBezTo>
                  <a:pt x="15002" y="18431"/>
                  <a:pt x="14144" y="18431"/>
                  <a:pt x="12430" y="18431"/>
                </a:cubicBezTo>
                <a:close/>
                <a:moveTo>
                  <a:pt x="16716" y="85296"/>
                </a:moveTo>
                <a:lnTo>
                  <a:pt x="8144" y="85296"/>
                </a:lnTo>
                <a:lnTo>
                  <a:pt x="8144" y="32147"/>
                </a:lnTo>
                <a:lnTo>
                  <a:pt x="16716" y="32147"/>
                </a:lnTo>
                <a:lnTo>
                  <a:pt x="16716" y="85296"/>
                </a:lnTo>
                <a:close/>
              </a:path>
            </a:pathLst>
          </a:custGeom>
          <a:solidFill>
            <a:schemeClr val="accent3"/>
          </a:solidFill>
          <a:ln w="9525" cap="flat">
            <a:noFill/>
            <a:prstDash val="solid"/>
            <a:miter/>
          </a:ln>
        </p:spPr>
        <p:txBody>
          <a:bodyPr rtlCol="0" anchor="ctr"/>
          <a:lstStyle/>
          <a:p>
            <a:endParaRPr lang="zh-CN" altLang="en-US"/>
          </a:p>
        </p:txBody>
      </p:sp>
      <p:sp>
        <p:nvSpPr>
          <p:cNvPr id="143" name="任意多边形: 形状 142">
            <a:extLst>
              <a:ext uri="{FF2B5EF4-FFF2-40B4-BE49-F238E27FC236}">
                <a16:creationId xmlns:a16="http://schemas.microsoft.com/office/drawing/2014/main" id="{F47F5327-CB55-4368-B113-BFC4ED1CFB59}"/>
              </a:ext>
            </a:extLst>
          </p:cNvPr>
          <p:cNvSpPr/>
          <p:nvPr userDrawn="1"/>
        </p:nvSpPr>
        <p:spPr>
          <a:xfrm>
            <a:off x="10349615" y="1378295"/>
            <a:ext cx="65862" cy="82327"/>
          </a:xfrm>
          <a:custGeom>
            <a:avLst/>
            <a:gdLst>
              <a:gd name="connsiteX0" fmla="*/ 67294 w 68580"/>
              <a:gd name="connsiteY0" fmla="*/ 80153 h 85725"/>
              <a:gd name="connsiteX1" fmla="*/ 56150 w 68580"/>
              <a:gd name="connsiteY1" fmla="*/ 80153 h 85725"/>
              <a:gd name="connsiteX2" fmla="*/ 17574 w 68580"/>
              <a:gd name="connsiteY2" fmla="*/ 21003 h 85725"/>
              <a:gd name="connsiteX3" fmla="*/ 15002 w 68580"/>
              <a:gd name="connsiteY3" fmla="*/ 16716 h 85725"/>
              <a:gd name="connsiteX4" fmla="*/ 15002 w 68580"/>
              <a:gd name="connsiteY4" fmla="*/ 16716 h 85725"/>
              <a:gd name="connsiteX5" fmla="*/ 15002 w 68580"/>
              <a:gd name="connsiteY5" fmla="*/ 27003 h 85725"/>
              <a:gd name="connsiteX6" fmla="*/ 15002 w 68580"/>
              <a:gd name="connsiteY6" fmla="*/ 81010 h 85725"/>
              <a:gd name="connsiteX7" fmla="*/ 6429 w 68580"/>
              <a:gd name="connsiteY7" fmla="*/ 81010 h 85725"/>
              <a:gd name="connsiteX8" fmla="*/ 6429 w 68580"/>
              <a:gd name="connsiteY8" fmla="*/ 6429 h 85725"/>
              <a:gd name="connsiteX9" fmla="*/ 17574 w 68580"/>
              <a:gd name="connsiteY9" fmla="*/ 6429 h 85725"/>
              <a:gd name="connsiteX10" fmla="*/ 55293 w 68580"/>
              <a:gd name="connsiteY10" fmla="*/ 64722 h 85725"/>
              <a:gd name="connsiteX11" fmla="*/ 58721 w 68580"/>
              <a:gd name="connsiteY11" fmla="*/ 69866 h 85725"/>
              <a:gd name="connsiteX12" fmla="*/ 58721 w 68580"/>
              <a:gd name="connsiteY12" fmla="*/ 69866 h 85725"/>
              <a:gd name="connsiteX13" fmla="*/ 57864 w 68580"/>
              <a:gd name="connsiteY13" fmla="*/ 58722 h 85725"/>
              <a:gd name="connsiteX14" fmla="*/ 57864 w 68580"/>
              <a:gd name="connsiteY14" fmla="*/ 6429 h 85725"/>
              <a:gd name="connsiteX15" fmla="*/ 66437 w 68580"/>
              <a:gd name="connsiteY15" fmla="*/ 6429 h 85725"/>
              <a:gd name="connsiteX16" fmla="*/ 66437 w 68580"/>
              <a:gd name="connsiteY16" fmla="*/ 8015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580" h="85725">
                <a:moveTo>
                  <a:pt x="67294" y="80153"/>
                </a:moveTo>
                <a:lnTo>
                  <a:pt x="56150" y="80153"/>
                </a:lnTo>
                <a:lnTo>
                  <a:pt x="17574" y="21003"/>
                </a:lnTo>
                <a:cubicBezTo>
                  <a:pt x="16716" y="19288"/>
                  <a:pt x="15859" y="17574"/>
                  <a:pt x="15002" y="16716"/>
                </a:cubicBezTo>
                <a:lnTo>
                  <a:pt x="15002" y="16716"/>
                </a:lnTo>
                <a:cubicBezTo>
                  <a:pt x="15002" y="18431"/>
                  <a:pt x="15002" y="21860"/>
                  <a:pt x="15002" y="27003"/>
                </a:cubicBezTo>
                <a:lnTo>
                  <a:pt x="15002" y="81010"/>
                </a:lnTo>
                <a:lnTo>
                  <a:pt x="6429" y="81010"/>
                </a:lnTo>
                <a:lnTo>
                  <a:pt x="6429" y="6429"/>
                </a:lnTo>
                <a:lnTo>
                  <a:pt x="17574" y="6429"/>
                </a:lnTo>
                <a:lnTo>
                  <a:pt x="55293" y="64722"/>
                </a:lnTo>
                <a:cubicBezTo>
                  <a:pt x="57007" y="67294"/>
                  <a:pt x="57864" y="69009"/>
                  <a:pt x="58721" y="69866"/>
                </a:cubicBezTo>
                <a:lnTo>
                  <a:pt x="58721" y="69866"/>
                </a:lnTo>
                <a:cubicBezTo>
                  <a:pt x="58721" y="67294"/>
                  <a:pt x="57864" y="63865"/>
                  <a:pt x="57864" y="58722"/>
                </a:cubicBezTo>
                <a:lnTo>
                  <a:pt x="57864" y="6429"/>
                </a:lnTo>
                <a:lnTo>
                  <a:pt x="66437" y="6429"/>
                </a:lnTo>
                <a:lnTo>
                  <a:pt x="66437" y="80153"/>
                </a:lnTo>
                <a:close/>
              </a:path>
            </a:pathLst>
          </a:custGeom>
          <a:solidFill>
            <a:schemeClr val="accent3"/>
          </a:solidFill>
          <a:ln w="9525" cap="flat">
            <a:noFill/>
            <a:prstDash val="solid"/>
            <a:miter/>
          </a:ln>
        </p:spPr>
        <p:txBody>
          <a:bodyPr rtlCol="0" anchor="ctr"/>
          <a:lstStyle/>
          <a:p>
            <a:endParaRPr lang="zh-CN" altLang="en-US"/>
          </a:p>
        </p:txBody>
      </p:sp>
      <p:sp>
        <p:nvSpPr>
          <p:cNvPr id="144" name="任意多边形: 形状 143">
            <a:extLst>
              <a:ext uri="{FF2B5EF4-FFF2-40B4-BE49-F238E27FC236}">
                <a16:creationId xmlns:a16="http://schemas.microsoft.com/office/drawing/2014/main" id="{918D13B9-C285-41A8-873E-3FE65F3A5E83}"/>
              </a:ext>
            </a:extLst>
          </p:cNvPr>
          <p:cNvSpPr/>
          <p:nvPr userDrawn="1"/>
        </p:nvSpPr>
        <p:spPr>
          <a:xfrm>
            <a:off x="10427002" y="1377471"/>
            <a:ext cx="41164" cy="82327"/>
          </a:xfrm>
          <a:custGeom>
            <a:avLst/>
            <a:gdLst>
              <a:gd name="connsiteX0" fmla="*/ 44148 w 42862"/>
              <a:gd name="connsiteY0" fmla="*/ 14145 h 85725"/>
              <a:gd name="connsiteX1" fmla="*/ 15002 w 42862"/>
              <a:gd name="connsiteY1" fmla="*/ 14145 h 85725"/>
              <a:gd name="connsiteX2" fmla="*/ 15002 w 42862"/>
              <a:gd name="connsiteY2" fmla="*/ 39862 h 85725"/>
              <a:gd name="connsiteX3" fmla="*/ 41576 w 42862"/>
              <a:gd name="connsiteY3" fmla="*/ 39862 h 85725"/>
              <a:gd name="connsiteX4" fmla="*/ 41576 w 42862"/>
              <a:gd name="connsiteY4" fmla="*/ 47577 h 85725"/>
              <a:gd name="connsiteX5" fmla="*/ 15002 w 42862"/>
              <a:gd name="connsiteY5" fmla="*/ 47577 h 85725"/>
              <a:gd name="connsiteX6" fmla="*/ 15002 w 42862"/>
              <a:gd name="connsiteY6" fmla="*/ 81010 h 85725"/>
              <a:gd name="connsiteX7" fmla="*/ 6429 w 42862"/>
              <a:gd name="connsiteY7" fmla="*/ 81010 h 85725"/>
              <a:gd name="connsiteX8" fmla="*/ 6429 w 42862"/>
              <a:gd name="connsiteY8" fmla="*/ 6429 h 85725"/>
              <a:gd name="connsiteX9" fmla="*/ 44148 w 42862"/>
              <a:gd name="connsiteY9" fmla="*/ 6429 h 85725"/>
              <a:gd name="connsiteX10" fmla="*/ 44148 w 42862"/>
              <a:gd name="connsiteY10" fmla="*/ 1414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862" h="85725">
                <a:moveTo>
                  <a:pt x="44148" y="14145"/>
                </a:moveTo>
                <a:lnTo>
                  <a:pt x="15002" y="14145"/>
                </a:lnTo>
                <a:lnTo>
                  <a:pt x="15002" y="39862"/>
                </a:lnTo>
                <a:lnTo>
                  <a:pt x="41576" y="39862"/>
                </a:lnTo>
                <a:lnTo>
                  <a:pt x="41576" y="47577"/>
                </a:lnTo>
                <a:lnTo>
                  <a:pt x="15002" y="47577"/>
                </a:lnTo>
                <a:lnTo>
                  <a:pt x="15002" y="81010"/>
                </a:lnTo>
                <a:lnTo>
                  <a:pt x="6429" y="81010"/>
                </a:lnTo>
                <a:lnTo>
                  <a:pt x="6429" y="6429"/>
                </a:lnTo>
                <a:lnTo>
                  <a:pt x="44148" y="6429"/>
                </a:lnTo>
                <a:lnTo>
                  <a:pt x="44148" y="14145"/>
                </a:lnTo>
                <a:close/>
              </a:path>
            </a:pathLst>
          </a:custGeom>
          <a:solidFill>
            <a:schemeClr val="accent3"/>
          </a:solidFill>
          <a:ln w="9525" cap="flat">
            <a:noFill/>
            <a:prstDash val="solid"/>
            <a:miter/>
          </a:ln>
        </p:spPr>
        <p:txBody>
          <a:bodyPr rtlCol="0" anchor="ctr"/>
          <a:lstStyle/>
          <a:p>
            <a:endParaRPr lang="zh-CN" altLang="en-US"/>
          </a:p>
        </p:txBody>
      </p:sp>
      <p:sp>
        <p:nvSpPr>
          <p:cNvPr id="145" name="任意多边形: 形状 144">
            <a:extLst>
              <a:ext uri="{FF2B5EF4-FFF2-40B4-BE49-F238E27FC236}">
                <a16:creationId xmlns:a16="http://schemas.microsoft.com/office/drawing/2014/main" id="{D909058D-EE23-45A6-BC15-EEDA26074A45}"/>
              </a:ext>
            </a:extLst>
          </p:cNvPr>
          <p:cNvSpPr/>
          <p:nvPr userDrawn="1"/>
        </p:nvSpPr>
        <p:spPr>
          <a:xfrm>
            <a:off x="10471460" y="1375825"/>
            <a:ext cx="74095" cy="82327"/>
          </a:xfrm>
          <a:custGeom>
            <a:avLst/>
            <a:gdLst>
              <a:gd name="connsiteX0" fmla="*/ 41577 w 77152"/>
              <a:gd name="connsiteY0" fmla="*/ 84439 h 85725"/>
              <a:gd name="connsiteX1" fmla="*/ 15859 w 77152"/>
              <a:gd name="connsiteY1" fmla="*/ 74152 h 85725"/>
              <a:gd name="connsiteX2" fmla="*/ 6429 w 77152"/>
              <a:gd name="connsiteY2" fmla="*/ 46720 h 85725"/>
              <a:gd name="connsiteX3" fmla="*/ 15859 w 77152"/>
              <a:gd name="connsiteY3" fmla="*/ 17574 h 85725"/>
              <a:gd name="connsiteX4" fmla="*/ 42434 w 77152"/>
              <a:gd name="connsiteY4" fmla="*/ 6429 h 85725"/>
              <a:gd name="connsiteX5" fmla="*/ 67294 w 77152"/>
              <a:gd name="connsiteY5" fmla="*/ 16716 h 85725"/>
              <a:gd name="connsiteX6" fmla="*/ 76724 w 77152"/>
              <a:gd name="connsiteY6" fmla="*/ 44148 h 85725"/>
              <a:gd name="connsiteX7" fmla="*/ 67294 w 77152"/>
              <a:gd name="connsiteY7" fmla="*/ 73295 h 85725"/>
              <a:gd name="connsiteX8" fmla="*/ 41577 w 77152"/>
              <a:gd name="connsiteY8" fmla="*/ 84439 h 85725"/>
              <a:gd name="connsiteX9" fmla="*/ 42434 w 77152"/>
              <a:gd name="connsiteY9" fmla="*/ 15002 h 85725"/>
              <a:gd name="connsiteX10" fmla="*/ 23574 w 77152"/>
              <a:gd name="connsiteY10" fmla="*/ 23574 h 85725"/>
              <a:gd name="connsiteX11" fmla="*/ 15859 w 77152"/>
              <a:gd name="connsiteY11" fmla="*/ 45863 h 85725"/>
              <a:gd name="connsiteX12" fmla="*/ 22717 w 77152"/>
              <a:gd name="connsiteY12" fmla="*/ 68151 h 85725"/>
              <a:gd name="connsiteX13" fmla="*/ 41577 w 77152"/>
              <a:gd name="connsiteY13" fmla="*/ 76724 h 85725"/>
              <a:gd name="connsiteX14" fmla="*/ 61294 w 77152"/>
              <a:gd name="connsiteY14" fmla="*/ 69009 h 85725"/>
              <a:gd name="connsiteX15" fmla="*/ 68151 w 77152"/>
              <a:gd name="connsiteY15" fmla="*/ 46720 h 85725"/>
              <a:gd name="connsiteX16" fmla="*/ 61294 w 77152"/>
              <a:gd name="connsiteY16" fmla="*/ 23574 h 85725"/>
              <a:gd name="connsiteX17" fmla="*/ 42434 w 77152"/>
              <a:gd name="connsiteY17" fmla="*/ 15002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152" h="85725">
                <a:moveTo>
                  <a:pt x="41577" y="84439"/>
                </a:moveTo>
                <a:cubicBezTo>
                  <a:pt x="31290" y="84439"/>
                  <a:pt x="22717" y="81010"/>
                  <a:pt x="15859" y="74152"/>
                </a:cubicBezTo>
                <a:cubicBezTo>
                  <a:pt x="9859" y="67294"/>
                  <a:pt x="6429" y="57864"/>
                  <a:pt x="6429" y="46720"/>
                </a:cubicBezTo>
                <a:cubicBezTo>
                  <a:pt x="6429" y="34719"/>
                  <a:pt x="9859" y="25289"/>
                  <a:pt x="15859" y="17574"/>
                </a:cubicBezTo>
                <a:cubicBezTo>
                  <a:pt x="22717" y="10716"/>
                  <a:pt x="31290" y="6429"/>
                  <a:pt x="42434" y="6429"/>
                </a:cubicBezTo>
                <a:cubicBezTo>
                  <a:pt x="52721" y="6429"/>
                  <a:pt x="61294" y="9858"/>
                  <a:pt x="67294" y="16716"/>
                </a:cubicBezTo>
                <a:cubicBezTo>
                  <a:pt x="73295" y="23574"/>
                  <a:pt x="76724" y="33004"/>
                  <a:pt x="76724" y="44148"/>
                </a:cubicBezTo>
                <a:cubicBezTo>
                  <a:pt x="76724" y="56150"/>
                  <a:pt x="73295" y="65580"/>
                  <a:pt x="67294" y="73295"/>
                </a:cubicBezTo>
                <a:cubicBezTo>
                  <a:pt x="61294" y="81010"/>
                  <a:pt x="52721" y="84439"/>
                  <a:pt x="41577" y="84439"/>
                </a:cubicBezTo>
                <a:close/>
                <a:moveTo>
                  <a:pt x="42434" y="15002"/>
                </a:moveTo>
                <a:cubicBezTo>
                  <a:pt x="34719" y="15002"/>
                  <a:pt x="27861" y="17574"/>
                  <a:pt x="23574" y="23574"/>
                </a:cubicBezTo>
                <a:cubicBezTo>
                  <a:pt x="18431" y="29575"/>
                  <a:pt x="15859" y="36433"/>
                  <a:pt x="15859" y="45863"/>
                </a:cubicBezTo>
                <a:cubicBezTo>
                  <a:pt x="15859" y="55293"/>
                  <a:pt x="18431" y="62151"/>
                  <a:pt x="22717" y="68151"/>
                </a:cubicBezTo>
                <a:cubicBezTo>
                  <a:pt x="27861" y="74152"/>
                  <a:pt x="33861" y="76724"/>
                  <a:pt x="41577" y="76724"/>
                </a:cubicBezTo>
                <a:cubicBezTo>
                  <a:pt x="50149" y="76724"/>
                  <a:pt x="56150" y="74152"/>
                  <a:pt x="61294" y="69009"/>
                </a:cubicBezTo>
                <a:cubicBezTo>
                  <a:pt x="66437" y="63865"/>
                  <a:pt x="68151" y="56150"/>
                  <a:pt x="68151" y="46720"/>
                </a:cubicBezTo>
                <a:cubicBezTo>
                  <a:pt x="68151" y="37290"/>
                  <a:pt x="65580" y="29575"/>
                  <a:pt x="61294" y="23574"/>
                </a:cubicBezTo>
                <a:cubicBezTo>
                  <a:pt x="57007" y="17574"/>
                  <a:pt x="50149" y="15002"/>
                  <a:pt x="42434" y="15002"/>
                </a:cubicBezTo>
                <a:close/>
              </a:path>
            </a:pathLst>
          </a:custGeom>
          <a:solidFill>
            <a:schemeClr val="accent3"/>
          </a:solidFill>
          <a:ln w="9525" cap="flat">
            <a:noFill/>
            <a:prstDash val="solid"/>
            <a:miter/>
          </a:ln>
        </p:spPr>
        <p:txBody>
          <a:bodyPr rtlCol="0" anchor="ctr"/>
          <a:lstStyle/>
          <a:p>
            <a:endParaRPr lang="zh-CN" altLang="en-US"/>
          </a:p>
        </p:txBody>
      </p:sp>
      <p:sp>
        <p:nvSpPr>
          <p:cNvPr id="146" name="任意多边形: 形状 145">
            <a:extLst>
              <a:ext uri="{FF2B5EF4-FFF2-40B4-BE49-F238E27FC236}">
                <a16:creationId xmlns:a16="http://schemas.microsoft.com/office/drawing/2014/main" id="{AA7DDE45-FDD7-46B3-9707-24F9712E4B9B}"/>
              </a:ext>
            </a:extLst>
          </p:cNvPr>
          <p:cNvSpPr/>
          <p:nvPr userDrawn="1"/>
        </p:nvSpPr>
        <p:spPr>
          <a:xfrm>
            <a:off x="10548847" y="1375825"/>
            <a:ext cx="65862" cy="82327"/>
          </a:xfrm>
          <a:custGeom>
            <a:avLst/>
            <a:gdLst>
              <a:gd name="connsiteX0" fmla="*/ 67294 w 68580"/>
              <a:gd name="connsiteY0" fmla="*/ 77581 h 85725"/>
              <a:gd name="connsiteX1" fmla="*/ 42434 w 68580"/>
              <a:gd name="connsiteY1" fmla="*/ 83582 h 85725"/>
              <a:gd name="connsiteX2" fmla="*/ 16716 w 68580"/>
              <a:gd name="connsiteY2" fmla="*/ 73295 h 85725"/>
              <a:gd name="connsiteX3" fmla="*/ 6429 w 68580"/>
              <a:gd name="connsiteY3" fmla="*/ 45863 h 85725"/>
              <a:gd name="connsiteX4" fmla="*/ 17574 w 68580"/>
              <a:gd name="connsiteY4" fmla="*/ 17574 h 85725"/>
              <a:gd name="connsiteX5" fmla="*/ 45006 w 68580"/>
              <a:gd name="connsiteY5" fmla="*/ 6429 h 85725"/>
              <a:gd name="connsiteX6" fmla="*/ 65579 w 68580"/>
              <a:gd name="connsiteY6" fmla="*/ 10716 h 85725"/>
              <a:gd name="connsiteX7" fmla="*/ 65579 w 68580"/>
              <a:gd name="connsiteY7" fmla="*/ 20145 h 85725"/>
              <a:gd name="connsiteX8" fmla="*/ 44148 w 68580"/>
              <a:gd name="connsiteY8" fmla="*/ 14145 h 85725"/>
              <a:gd name="connsiteX9" fmla="*/ 23574 w 68580"/>
              <a:gd name="connsiteY9" fmla="*/ 22717 h 85725"/>
              <a:gd name="connsiteX10" fmla="*/ 15859 w 68580"/>
              <a:gd name="connsiteY10" fmla="*/ 45006 h 85725"/>
              <a:gd name="connsiteX11" fmla="*/ 23574 w 68580"/>
              <a:gd name="connsiteY11" fmla="*/ 67294 h 85725"/>
              <a:gd name="connsiteX12" fmla="*/ 44148 w 68580"/>
              <a:gd name="connsiteY12" fmla="*/ 75009 h 85725"/>
              <a:gd name="connsiteX13" fmla="*/ 59579 w 68580"/>
              <a:gd name="connsiteY13" fmla="*/ 71580 h 85725"/>
              <a:gd name="connsiteX14" fmla="*/ 59579 w 68580"/>
              <a:gd name="connsiteY14" fmla="*/ 51006 h 85725"/>
              <a:gd name="connsiteX15" fmla="*/ 43291 w 68580"/>
              <a:gd name="connsiteY15" fmla="*/ 51006 h 85725"/>
              <a:gd name="connsiteX16" fmla="*/ 43291 w 68580"/>
              <a:gd name="connsiteY16" fmla="*/ 43291 h 85725"/>
              <a:gd name="connsiteX17" fmla="*/ 68151 w 68580"/>
              <a:gd name="connsiteY17" fmla="*/ 43291 h 85725"/>
              <a:gd name="connsiteX18" fmla="*/ 68151 w 68580"/>
              <a:gd name="connsiteY18" fmla="*/ 7758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580" h="85725">
                <a:moveTo>
                  <a:pt x="67294" y="77581"/>
                </a:moveTo>
                <a:cubicBezTo>
                  <a:pt x="59579" y="81867"/>
                  <a:pt x="51864" y="83582"/>
                  <a:pt x="42434" y="83582"/>
                </a:cubicBezTo>
                <a:cubicBezTo>
                  <a:pt x="32147" y="83582"/>
                  <a:pt x="23574" y="80153"/>
                  <a:pt x="16716" y="73295"/>
                </a:cubicBezTo>
                <a:cubicBezTo>
                  <a:pt x="9858" y="66437"/>
                  <a:pt x="6429" y="57007"/>
                  <a:pt x="6429" y="45863"/>
                </a:cubicBezTo>
                <a:cubicBezTo>
                  <a:pt x="6429" y="34719"/>
                  <a:pt x="9858" y="24432"/>
                  <a:pt x="17574" y="17574"/>
                </a:cubicBezTo>
                <a:cubicBezTo>
                  <a:pt x="25289" y="9858"/>
                  <a:pt x="33861" y="6429"/>
                  <a:pt x="45006" y="6429"/>
                </a:cubicBezTo>
                <a:cubicBezTo>
                  <a:pt x="52721" y="6429"/>
                  <a:pt x="59579" y="8144"/>
                  <a:pt x="65579" y="10716"/>
                </a:cubicBezTo>
                <a:lnTo>
                  <a:pt x="65579" y="20145"/>
                </a:lnTo>
                <a:cubicBezTo>
                  <a:pt x="59579" y="16716"/>
                  <a:pt x="52721" y="14145"/>
                  <a:pt x="44148" y="14145"/>
                </a:cubicBezTo>
                <a:cubicBezTo>
                  <a:pt x="35576" y="14145"/>
                  <a:pt x="28718" y="16716"/>
                  <a:pt x="23574" y="22717"/>
                </a:cubicBezTo>
                <a:cubicBezTo>
                  <a:pt x="18431" y="28718"/>
                  <a:pt x="15859" y="35576"/>
                  <a:pt x="15859" y="45006"/>
                </a:cubicBezTo>
                <a:cubicBezTo>
                  <a:pt x="15859" y="54435"/>
                  <a:pt x="18431" y="62151"/>
                  <a:pt x="23574" y="67294"/>
                </a:cubicBezTo>
                <a:cubicBezTo>
                  <a:pt x="28718" y="72438"/>
                  <a:pt x="35576" y="75009"/>
                  <a:pt x="44148" y="75009"/>
                </a:cubicBezTo>
                <a:cubicBezTo>
                  <a:pt x="50149" y="75009"/>
                  <a:pt x="55293" y="74152"/>
                  <a:pt x="59579" y="71580"/>
                </a:cubicBezTo>
                <a:lnTo>
                  <a:pt x="59579" y="51006"/>
                </a:lnTo>
                <a:lnTo>
                  <a:pt x="43291" y="51006"/>
                </a:lnTo>
                <a:lnTo>
                  <a:pt x="43291" y="43291"/>
                </a:lnTo>
                <a:lnTo>
                  <a:pt x="68151" y="43291"/>
                </a:lnTo>
                <a:lnTo>
                  <a:pt x="68151" y="77581"/>
                </a:lnTo>
                <a:close/>
              </a:path>
            </a:pathLst>
          </a:custGeom>
          <a:solidFill>
            <a:schemeClr val="accent3"/>
          </a:solidFill>
          <a:ln w="9525" cap="flat">
            <a:noFill/>
            <a:prstDash val="solid"/>
            <a:miter/>
          </a:ln>
        </p:spPr>
        <p:txBody>
          <a:bodyPr rtlCol="0" anchor="ctr"/>
          <a:lstStyle/>
          <a:p>
            <a:endParaRPr lang="zh-CN" altLang="en-US"/>
          </a:p>
        </p:txBody>
      </p:sp>
      <p:sp>
        <p:nvSpPr>
          <p:cNvPr id="147" name="任意多边形: 形状 146">
            <a:extLst>
              <a:ext uri="{FF2B5EF4-FFF2-40B4-BE49-F238E27FC236}">
                <a16:creationId xmlns:a16="http://schemas.microsoft.com/office/drawing/2014/main" id="{65A7F49C-5D80-4C3D-9E27-9E00CE007772}"/>
              </a:ext>
            </a:extLst>
          </p:cNvPr>
          <p:cNvSpPr/>
          <p:nvPr userDrawn="1"/>
        </p:nvSpPr>
        <p:spPr>
          <a:xfrm>
            <a:off x="10624588" y="1377471"/>
            <a:ext cx="57630" cy="82327"/>
          </a:xfrm>
          <a:custGeom>
            <a:avLst/>
            <a:gdLst>
              <a:gd name="connsiteX0" fmla="*/ 59578 w 60007"/>
              <a:gd name="connsiteY0" fmla="*/ 81010 h 85725"/>
              <a:gd name="connsiteX1" fmla="*/ 49292 w 60007"/>
              <a:gd name="connsiteY1" fmla="*/ 81010 h 85725"/>
              <a:gd name="connsiteX2" fmla="*/ 36433 w 60007"/>
              <a:gd name="connsiteY2" fmla="*/ 60436 h 85725"/>
              <a:gd name="connsiteX3" fmla="*/ 33004 w 60007"/>
              <a:gd name="connsiteY3" fmla="*/ 55293 h 85725"/>
              <a:gd name="connsiteX4" fmla="*/ 29575 w 60007"/>
              <a:gd name="connsiteY4" fmla="*/ 51864 h 85725"/>
              <a:gd name="connsiteX5" fmla="*/ 26146 w 60007"/>
              <a:gd name="connsiteY5" fmla="*/ 50149 h 85725"/>
              <a:gd name="connsiteX6" fmla="*/ 21860 w 60007"/>
              <a:gd name="connsiteY6" fmla="*/ 49292 h 85725"/>
              <a:gd name="connsiteX7" fmla="*/ 15002 w 60007"/>
              <a:gd name="connsiteY7" fmla="*/ 49292 h 85725"/>
              <a:gd name="connsiteX8" fmla="*/ 15002 w 60007"/>
              <a:gd name="connsiteY8" fmla="*/ 81010 h 85725"/>
              <a:gd name="connsiteX9" fmla="*/ 6429 w 60007"/>
              <a:gd name="connsiteY9" fmla="*/ 81010 h 85725"/>
              <a:gd name="connsiteX10" fmla="*/ 6429 w 60007"/>
              <a:gd name="connsiteY10" fmla="*/ 6429 h 85725"/>
              <a:gd name="connsiteX11" fmla="*/ 28718 w 60007"/>
              <a:gd name="connsiteY11" fmla="*/ 6429 h 85725"/>
              <a:gd name="connsiteX12" fmla="*/ 38147 w 60007"/>
              <a:gd name="connsiteY12" fmla="*/ 7287 h 85725"/>
              <a:gd name="connsiteX13" fmla="*/ 45006 w 60007"/>
              <a:gd name="connsiteY13" fmla="*/ 10716 h 85725"/>
              <a:gd name="connsiteX14" fmla="*/ 50149 w 60007"/>
              <a:gd name="connsiteY14" fmla="*/ 16716 h 85725"/>
              <a:gd name="connsiteX15" fmla="*/ 51864 w 60007"/>
              <a:gd name="connsiteY15" fmla="*/ 25289 h 85725"/>
              <a:gd name="connsiteX16" fmla="*/ 51006 w 60007"/>
              <a:gd name="connsiteY16" fmla="*/ 32147 h 85725"/>
              <a:gd name="connsiteX17" fmla="*/ 47577 w 60007"/>
              <a:gd name="connsiteY17" fmla="*/ 38148 h 85725"/>
              <a:gd name="connsiteX18" fmla="*/ 42433 w 60007"/>
              <a:gd name="connsiteY18" fmla="*/ 42434 h 85725"/>
              <a:gd name="connsiteX19" fmla="*/ 35576 w 60007"/>
              <a:gd name="connsiteY19" fmla="*/ 45006 h 85725"/>
              <a:gd name="connsiteX20" fmla="*/ 35576 w 60007"/>
              <a:gd name="connsiteY20" fmla="*/ 45006 h 85725"/>
              <a:gd name="connsiteX21" fmla="*/ 39005 w 60007"/>
              <a:gd name="connsiteY21" fmla="*/ 46720 h 85725"/>
              <a:gd name="connsiteX22" fmla="*/ 41576 w 60007"/>
              <a:gd name="connsiteY22" fmla="*/ 49292 h 85725"/>
              <a:gd name="connsiteX23" fmla="*/ 44148 w 60007"/>
              <a:gd name="connsiteY23" fmla="*/ 52721 h 85725"/>
              <a:gd name="connsiteX24" fmla="*/ 46720 w 60007"/>
              <a:gd name="connsiteY24" fmla="*/ 57007 h 85725"/>
              <a:gd name="connsiteX25" fmla="*/ 59578 w 60007"/>
              <a:gd name="connsiteY25" fmla="*/ 81010 h 85725"/>
              <a:gd name="connsiteX26" fmla="*/ 14144 w 60007"/>
              <a:gd name="connsiteY26" fmla="*/ 14145 h 85725"/>
              <a:gd name="connsiteX27" fmla="*/ 14144 w 60007"/>
              <a:gd name="connsiteY27" fmla="*/ 41577 h 85725"/>
              <a:gd name="connsiteX28" fmla="*/ 26146 w 60007"/>
              <a:gd name="connsiteY28" fmla="*/ 41577 h 85725"/>
              <a:gd name="connsiteX29" fmla="*/ 32147 w 60007"/>
              <a:gd name="connsiteY29" fmla="*/ 40719 h 85725"/>
              <a:gd name="connsiteX30" fmla="*/ 37290 w 60007"/>
              <a:gd name="connsiteY30" fmla="*/ 38148 h 85725"/>
              <a:gd name="connsiteX31" fmla="*/ 40719 w 60007"/>
              <a:gd name="connsiteY31" fmla="*/ 33861 h 85725"/>
              <a:gd name="connsiteX32" fmla="*/ 41576 w 60007"/>
              <a:gd name="connsiteY32" fmla="*/ 27861 h 85725"/>
              <a:gd name="connsiteX33" fmla="*/ 37290 w 60007"/>
              <a:gd name="connsiteY33" fmla="*/ 18431 h 85725"/>
              <a:gd name="connsiteX34" fmla="*/ 26146 w 60007"/>
              <a:gd name="connsiteY34" fmla="*/ 15002 h 85725"/>
              <a:gd name="connsiteX35" fmla="*/ 14144 w 60007"/>
              <a:gd name="connsiteY35" fmla="*/ 15002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007" h="85725">
                <a:moveTo>
                  <a:pt x="59578" y="81010"/>
                </a:moveTo>
                <a:lnTo>
                  <a:pt x="49292" y="81010"/>
                </a:lnTo>
                <a:lnTo>
                  <a:pt x="36433" y="60436"/>
                </a:lnTo>
                <a:cubicBezTo>
                  <a:pt x="35576" y="58722"/>
                  <a:pt x="33861" y="57007"/>
                  <a:pt x="33004" y="55293"/>
                </a:cubicBezTo>
                <a:cubicBezTo>
                  <a:pt x="32147" y="53578"/>
                  <a:pt x="30432" y="52721"/>
                  <a:pt x="29575" y="51864"/>
                </a:cubicBezTo>
                <a:cubicBezTo>
                  <a:pt x="28718" y="51006"/>
                  <a:pt x="27003" y="50149"/>
                  <a:pt x="26146" y="50149"/>
                </a:cubicBezTo>
                <a:cubicBezTo>
                  <a:pt x="24431" y="50149"/>
                  <a:pt x="23574" y="49292"/>
                  <a:pt x="21860" y="49292"/>
                </a:cubicBezTo>
                <a:lnTo>
                  <a:pt x="15002" y="49292"/>
                </a:lnTo>
                <a:lnTo>
                  <a:pt x="15002" y="81010"/>
                </a:lnTo>
                <a:lnTo>
                  <a:pt x="6429" y="81010"/>
                </a:lnTo>
                <a:lnTo>
                  <a:pt x="6429" y="6429"/>
                </a:lnTo>
                <a:lnTo>
                  <a:pt x="28718" y="6429"/>
                </a:lnTo>
                <a:cubicBezTo>
                  <a:pt x="32147" y="6429"/>
                  <a:pt x="34719" y="6429"/>
                  <a:pt x="38147" y="7287"/>
                </a:cubicBezTo>
                <a:cubicBezTo>
                  <a:pt x="40719" y="8144"/>
                  <a:pt x="43291" y="9001"/>
                  <a:pt x="45006" y="10716"/>
                </a:cubicBezTo>
                <a:cubicBezTo>
                  <a:pt x="46720" y="12430"/>
                  <a:pt x="48434" y="14145"/>
                  <a:pt x="50149" y="16716"/>
                </a:cubicBezTo>
                <a:cubicBezTo>
                  <a:pt x="51006" y="19288"/>
                  <a:pt x="51864" y="21860"/>
                  <a:pt x="51864" y="25289"/>
                </a:cubicBezTo>
                <a:cubicBezTo>
                  <a:pt x="51864" y="27861"/>
                  <a:pt x="51864" y="30432"/>
                  <a:pt x="51006" y="32147"/>
                </a:cubicBezTo>
                <a:cubicBezTo>
                  <a:pt x="50149" y="34719"/>
                  <a:pt x="49292" y="36433"/>
                  <a:pt x="47577" y="38148"/>
                </a:cubicBezTo>
                <a:cubicBezTo>
                  <a:pt x="45863" y="39862"/>
                  <a:pt x="44148" y="41577"/>
                  <a:pt x="42433" y="42434"/>
                </a:cubicBezTo>
                <a:cubicBezTo>
                  <a:pt x="40719" y="43291"/>
                  <a:pt x="38147" y="44148"/>
                  <a:pt x="35576" y="45006"/>
                </a:cubicBezTo>
                <a:lnTo>
                  <a:pt x="35576" y="45006"/>
                </a:lnTo>
                <a:cubicBezTo>
                  <a:pt x="36433" y="45863"/>
                  <a:pt x="38147" y="45863"/>
                  <a:pt x="39005" y="46720"/>
                </a:cubicBezTo>
                <a:cubicBezTo>
                  <a:pt x="39862" y="47577"/>
                  <a:pt x="40719" y="48435"/>
                  <a:pt x="41576" y="49292"/>
                </a:cubicBezTo>
                <a:cubicBezTo>
                  <a:pt x="42433" y="50149"/>
                  <a:pt x="43291" y="51006"/>
                  <a:pt x="44148" y="52721"/>
                </a:cubicBezTo>
                <a:cubicBezTo>
                  <a:pt x="45006" y="53578"/>
                  <a:pt x="45863" y="55293"/>
                  <a:pt x="46720" y="57007"/>
                </a:cubicBezTo>
                <a:lnTo>
                  <a:pt x="59578" y="81010"/>
                </a:lnTo>
                <a:close/>
                <a:moveTo>
                  <a:pt x="14144" y="14145"/>
                </a:moveTo>
                <a:lnTo>
                  <a:pt x="14144" y="41577"/>
                </a:lnTo>
                <a:lnTo>
                  <a:pt x="26146" y="41577"/>
                </a:lnTo>
                <a:cubicBezTo>
                  <a:pt x="28718" y="41577"/>
                  <a:pt x="30432" y="41577"/>
                  <a:pt x="32147" y="40719"/>
                </a:cubicBezTo>
                <a:cubicBezTo>
                  <a:pt x="33861" y="39862"/>
                  <a:pt x="35576" y="39005"/>
                  <a:pt x="37290" y="38148"/>
                </a:cubicBezTo>
                <a:cubicBezTo>
                  <a:pt x="39005" y="37290"/>
                  <a:pt x="39862" y="35576"/>
                  <a:pt x="40719" y="33861"/>
                </a:cubicBezTo>
                <a:cubicBezTo>
                  <a:pt x="41576" y="32147"/>
                  <a:pt x="41576" y="30432"/>
                  <a:pt x="41576" y="27861"/>
                </a:cubicBezTo>
                <a:cubicBezTo>
                  <a:pt x="41576" y="23574"/>
                  <a:pt x="39862" y="21003"/>
                  <a:pt x="37290" y="18431"/>
                </a:cubicBezTo>
                <a:cubicBezTo>
                  <a:pt x="34719" y="15859"/>
                  <a:pt x="31289" y="15002"/>
                  <a:pt x="26146" y="15002"/>
                </a:cubicBezTo>
                <a:lnTo>
                  <a:pt x="14144" y="15002"/>
                </a:lnTo>
                <a:close/>
              </a:path>
            </a:pathLst>
          </a:custGeom>
          <a:solidFill>
            <a:schemeClr val="accent3"/>
          </a:solidFill>
          <a:ln w="9525" cap="flat">
            <a:noFill/>
            <a:prstDash val="solid"/>
            <a:miter/>
          </a:ln>
        </p:spPr>
        <p:txBody>
          <a:bodyPr rtlCol="0" anchor="ctr"/>
          <a:lstStyle/>
          <a:p>
            <a:endParaRPr lang="zh-CN" altLang="en-US"/>
          </a:p>
        </p:txBody>
      </p:sp>
      <p:sp>
        <p:nvSpPr>
          <p:cNvPr id="148" name="任意多边形: 形状 147">
            <a:extLst>
              <a:ext uri="{FF2B5EF4-FFF2-40B4-BE49-F238E27FC236}">
                <a16:creationId xmlns:a16="http://schemas.microsoft.com/office/drawing/2014/main" id="{1602735D-7004-4166-B289-EF7D3447FA99}"/>
              </a:ext>
            </a:extLst>
          </p:cNvPr>
          <p:cNvSpPr/>
          <p:nvPr userDrawn="1"/>
        </p:nvSpPr>
        <p:spPr>
          <a:xfrm>
            <a:off x="10677277" y="1377471"/>
            <a:ext cx="74095" cy="82327"/>
          </a:xfrm>
          <a:custGeom>
            <a:avLst/>
            <a:gdLst>
              <a:gd name="connsiteX0" fmla="*/ 72438 w 77152"/>
              <a:gd name="connsiteY0" fmla="*/ 81010 h 85725"/>
              <a:gd name="connsiteX1" fmla="*/ 63008 w 77152"/>
              <a:gd name="connsiteY1" fmla="*/ 81010 h 85725"/>
              <a:gd name="connsiteX2" fmla="*/ 55293 w 77152"/>
              <a:gd name="connsiteY2" fmla="*/ 60436 h 85725"/>
              <a:gd name="connsiteX3" fmla="*/ 23574 w 77152"/>
              <a:gd name="connsiteY3" fmla="*/ 60436 h 85725"/>
              <a:gd name="connsiteX4" fmla="*/ 15859 w 77152"/>
              <a:gd name="connsiteY4" fmla="*/ 81010 h 85725"/>
              <a:gd name="connsiteX5" fmla="*/ 6429 w 77152"/>
              <a:gd name="connsiteY5" fmla="*/ 81010 h 85725"/>
              <a:gd name="connsiteX6" fmla="*/ 34719 w 77152"/>
              <a:gd name="connsiteY6" fmla="*/ 6429 h 85725"/>
              <a:gd name="connsiteX7" fmla="*/ 44149 w 77152"/>
              <a:gd name="connsiteY7" fmla="*/ 6429 h 85725"/>
              <a:gd name="connsiteX8" fmla="*/ 72438 w 77152"/>
              <a:gd name="connsiteY8" fmla="*/ 81010 h 85725"/>
              <a:gd name="connsiteX9" fmla="*/ 51864 w 77152"/>
              <a:gd name="connsiteY9" fmla="*/ 52721 h 85725"/>
              <a:gd name="connsiteX10" fmla="*/ 39862 w 77152"/>
              <a:gd name="connsiteY10" fmla="*/ 21003 h 85725"/>
              <a:gd name="connsiteX11" fmla="*/ 39005 w 77152"/>
              <a:gd name="connsiteY11" fmla="*/ 15859 h 85725"/>
              <a:gd name="connsiteX12" fmla="*/ 39005 w 77152"/>
              <a:gd name="connsiteY12" fmla="*/ 15859 h 85725"/>
              <a:gd name="connsiteX13" fmla="*/ 38148 w 77152"/>
              <a:gd name="connsiteY13" fmla="*/ 21003 h 85725"/>
              <a:gd name="connsiteX14" fmla="*/ 26146 w 77152"/>
              <a:gd name="connsiteY14" fmla="*/ 52721 h 85725"/>
              <a:gd name="connsiteX15" fmla="*/ 51864 w 77152"/>
              <a:gd name="connsiteY15" fmla="*/ 5272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52" h="85725">
                <a:moveTo>
                  <a:pt x="72438" y="81010"/>
                </a:moveTo>
                <a:lnTo>
                  <a:pt x="63008" y="81010"/>
                </a:lnTo>
                <a:lnTo>
                  <a:pt x="55293" y="60436"/>
                </a:lnTo>
                <a:lnTo>
                  <a:pt x="23574" y="60436"/>
                </a:lnTo>
                <a:lnTo>
                  <a:pt x="15859" y="81010"/>
                </a:lnTo>
                <a:lnTo>
                  <a:pt x="6429" y="81010"/>
                </a:lnTo>
                <a:lnTo>
                  <a:pt x="34719" y="6429"/>
                </a:lnTo>
                <a:lnTo>
                  <a:pt x="44149" y="6429"/>
                </a:lnTo>
                <a:lnTo>
                  <a:pt x="72438" y="81010"/>
                </a:lnTo>
                <a:close/>
                <a:moveTo>
                  <a:pt x="51864" y="52721"/>
                </a:moveTo>
                <a:lnTo>
                  <a:pt x="39862" y="21003"/>
                </a:lnTo>
                <a:cubicBezTo>
                  <a:pt x="39862" y="20145"/>
                  <a:pt x="39005" y="18431"/>
                  <a:pt x="39005" y="15859"/>
                </a:cubicBezTo>
                <a:lnTo>
                  <a:pt x="39005" y="15859"/>
                </a:lnTo>
                <a:cubicBezTo>
                  <a:pt x="39005" y="17574"/>
                  <a:pt x="38148" y="19288"/>
                  <a:pt x="38148" y="21003"/>
                </a:cubicBezTo>
                <a:lnTo>
                  <a:pt x="26146" y="52721"/>
                </a:lnTo>
                <a:lnTo>
                  <a:pt x="51864" y="52721"/>
                </a:lnTo>
                <a:close/>
              </a:path>
            </a:pathLst>
          </a:custGeom>
          <a:solidFill>
            <a:schemeClr val="accent3"/>
          </a:solidFill>
          <a:ln w="9525" cap="flat">
            <a:noFill/>
            <a:prstDash val="solid"/>
            <a:miter/>
          </a:ln>
        </p:spPr>
        <p:txBody>
          <a:bodyPr rtlCol="0" anchor="ctr"/>
          <a:lstStyle/>
          <a:p>
            <a:endParaRPr lang="zh-CN" altLang="en-US"/>
          </a:p>
        </p:txBody>
      </p:sp>
      <p:sp>
        <p:nvSpPr>
          <p:cNvPr id="149" name="任意多边形: 形状 148">
            <a:extLst>
              <a:ext uri="{FF2B5EF4-FFF2-40B4-BE49-F238E27FC236}">
                <a16:creationId xmlns:a16="http://schemas.microsoft.com/office/drawing/2014/main" id="{65B952F1-4CA7-486E-AA0E-0A3A54677FF7}"/>
              </a:ext>
            </a:extLst>
          </p:cNvPr>
          <p:cNvSpPr/>
          <p:nvPr userDrawn="1"/>
        </p:nvSpPr>
        <p:spPr>
          <a:xfrm>
            <a:off x="10751372" y="1377471"/>
            <a:ext cx="49396" cy="82327"/>
          </a:xfrm>
          <a:custGeom>
            <a:avLst/>
            <a:gdLst>
              <a:gd name="connsiteX0" fmla="*/ 15002 w 51435"/>
              <a:gd name="connsiteY0" fmla="*/ 52721 h 85725"/>
              <a:gd name="connsiteX1" fmla="*/ 15002 w 51435"/>
              <a:gd name="connsiteY1" fmla="*/ 81010 h 85725"/>
              <a:gd name="connsiteX2" fmla="*/ 6429 w 51435"/>
              <a:gd name="connsiteY2" fmla="*/ 81010 h 85725"/>
              <a:gd name="connsiteX3" fmla="*/ 6429 w 51435"/>
              <a:gd name="connsiteY3" fmla="*/ 6429 h 85725"/>
              <a:gd name="connsiteX4" fmla="*/ 27004 w 51435"/>
              <a:gd name="connsiteY4" fmla="*/ 6429 h 85725"/>
              <a:gd name="connsiteX5" fmla="*/ 45863 w 51435"/>
              <a:gd name="connsiteY5" fmla="*/ 12430 h 85725"/>
              <a:gd name="connsiteX6" fmla="*/ 52721 w 51435"/>
              <a:gd name="connsiteY6" fmla="*/ 28718 h 85725"/>
              <a:gd name="connsiteX7" fmla="*/ 45006 w 51435"/>
              <a:gd name="connsiteY7" fmla="*/ 45863 h 85725"/>
              <a:gd name="connsiteX8" fmla="*/ 25289 w 51435"/>
              <a:gd name="connsiteY8" fmla="*/ 52721 h 85725"/>
              <a:gd name="connsiteX9" fmla="*/ 15002 w 51435"/>
              <a:gd name="connsiteY9" fmla="*/ 52721 h 85725"/>
              <a:gd name="connsiteX10" fmla="*/ 15002 w 51435"/>
              <a:gd name="connsiteY10" fmla="*/ 14145 h 85725"/>
              <a:gd name="connsiteX11" fmla="*/ 15002 w 51435"/>
              <a:gd name="connsiteY11" fmla="*/ 45006 h 85725"/>
              <a:gd name="connsiteX12" fmla="*/ 24432 w 51435"/>
              <a:gd name="connsiteY12" fmla="*/ 45006 h 85725"/>
              <a:gd name="connsiteX13" fmla="*/ 38148 w 51435"/>
              <a:gd name="connsiteY13" fmla="*/ 40719 h 85725"/>
              <a:gd name="connsiteX14" fmla="*/ 43291 w 51435"/>
              <a:gd name="connsiteY14" fmla="*/ 28718 h 85725"/>
              <a:gd name="connsiteX15" fmla="*/ 26146 w 51435"/>
              <a:gd name="connsiteY15" fmla="*/ 14145 h 85725"/>
              <a:gd name="connsiteX16" fmla="*/ 15002 w 51435"/>
              <a:gd name="connsiteY16" fmla="*/ 1414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435" h="85725">
                <a:moveTo>
                  <a:pt x="15002" y="52721"/>
                </a:moveTo>
                <a:lnTo>
                  <a:pt x="15002" y="81010"/>
                </a:lnTo>
                <a:lnTo>
                  <a:pt x="6429" y="81010"/>
                </a:lnTo>
                <a:lnTo>
                  <a:pt x="6429" y="6429"/>
                </a:lnTo>
                <a:lnTo>
                  <a:pt x="27004" y="6429"/>
                </a:lnTo>
                <a:cubicBezTo>
                  <a:pt x="34719" y="6429"/>
                  <a:pt x="41577" y="8144"/>
                  <a:pt x="45863" y="12430"/>
                </a:cubicBezTo>
                <a:cubicBezTo>
                  <a:pt x="50149" y="16716"/>
                  <a:pt x="52721" y="21860"/>
                  <a:pt x="52721" y="28718"/>
                </a:cubicBezTo>
                <a:cubicBezTo>
                  <a:pt x="52721" y="35576"/>
                  <a:pt x="50149" y="41577"/>
                  <a:pt x="45006" y="45863"/>
                </a:cubicBezTo>
                <a:cubicBezTo>
                  <a:pt x="39862" y="50149"/>
                  <a:pt x="33861" y="52721"/>
                  <a:pt x="25289" y="52721"/>
                </a:cubicBezTo>
                <a:lnTo>
                  <a:pt x="15002" y="52721"/>
                </a:lnTo>
                <a:close/>
                <a:moveTo>
                  <a:pt x="15002" y="14145"/>
                </a:moveTo>
                <a:lnTo>
                  <a:pt x="15002" y="45006"/>
                </a:lnTo>
                <a:lnTo>
                  <a:pt x="24432" y="45006"/>
                </a:lnTo>
                <a:cubicBezTo>
                  <a:pt x="30432" y="45006"/>
                  <a:pt x="34719" y="43291"/>
                  <a:pt x="38148" y="40719"/>
                </a:cubicBezTo>
                <a:cubicBezTo>
                  <a:pt x="41577" y="38148"/>
                  <a:pt x="43291" y="33861"/>
                  <a:pt x="43291" y="28718"/>
                </a:cubicBezTo>
                <a:cubicBezTo>
                  <a:pt x="43291" y="19288"/>
                  <a:pt x="37291" y="14145"/>
                  <a:pt x="26146" y="14145"/>
                </a:cubicBezTo>
                <a:lnTo>
                  <a:pt x="15002" y="14145"/>
                </a:lnTo>
                <a:close/>
              </a:path>
            </a:pathLst>
          </a:custGeom>
          <a:solidFill>
            <a:schemeClr val="accent3"/>
          </a:solidFill>
          <a:ln w="9525" cap="flat">
            <a:noFill/>
            <a:prstDash val="solid"/>
            <a:miter/>
          </a:ln>
        </p:spPr>
        <p:txBody>
          <a:bodyPr rtlCol="0" anchor="ctr"/>
          <a:lstStyle/>
          <a:p>
            <a:endParaRPr lang="zh-CN" altLang="en-US"/>
          </a:p>
        </p:txBody>
      </p:sp>
      <p:sp>
        <p:nvSpPr>
          <p:cNvPr id="150" name="任意多边形: 形状 149">
            <a:extLst>
              <a:ext uri="{FF2B5EF4-FFF2-40B4-BE49-F238E27FC236}">
                <a16:creationId xmlns:a16="http://schemas.microsoft.com/office/drawing/2014/main" id="{4BF3EDDD-0C91-42A8-91D0-48668B7877A3}"/>
              </a:ext>
            </a:extLst>
          </p:cNvPr>
          <p:cNvSpPr/>
          <p:nvPr userDrawn="1"/>
        </p:nvSpPr>
        <p:spPr>
          <a:xfrm>
            <a:off x="10809001" y="1377471"/>
            <a:ext cx="65862" cy="82327"/>
          </a:xfrm>
          <a:custGeom>
            <a:avLst/>
            <a:gdLst>
              <a:gd name="connsiteX0" fmla="*/ 62151 w 68580"/>
              <a:gd name="connsiteY0" fmla="*/ 81010 h 85725"/>
              <a:gd name="connsiteX1" fmla="*/ 53578 w 68580"/>
              <a:gd name="connsiteY1" fmla="*/ 81010 h 85725"/>
              <a:gd name="connsiteX2" fmla="*/ 53578 w 68580"/>
              <a:gd name="connsiteY2" fmla="*/ 46720 h 85725"/>
              <a:gd name="connsiteX3" fmla="*/ 15002 w 68580"/>
              <a:gd name="connsiteY3" fmla="*/ 46720 h 85725"/>
              <a:gd name="connsiteX4" fmla="*/ 15002 w 68580"/>
              <a:gd name="connsiteY4" fmla="*/ 81010 h 85725"/>
              <a:gd name="connsiteX5" fmla="*/ 6429 w 68580"/>
              <a:gd name="connsiteY5" fmla="*/ 81010 h 85725"/>
              <a:gd name="connsiteX6" fmla="*/ 6429 w 68580"/>
              <a:gd name="connsiteY6" fmla="*/ 6429 h 85725"/>
              <a:gd name="connsiteX7" fmla="*/ 15002 w 68580"/>
              <a:gd name="connsiteY7" fmla="*/ 6429 h 85725"/>
              <a:gd name="connsiteX8" fmla="*/ 15002 w 68580"/>
              <a:gd name="connsiteY8" fmla="*/ 39005 h 85725"/>
              <a:gd name="connsiteX9" fmla="*/ 53578 w 68580"/>
              <a:gd name="connsiteY9" fmla="*/ 39005 h 85725"/>
              <a:gd name="connsiteX10" fmla="*/ 53578 w 68580"/>
              <a:gd name="connsiteY10" fmla="*/ 6429 h 85725"/>
              <a:gd name="connsiteX11" fmla="*/ 62151 w 68580"/>
              <a:gd name="connsiteY11" fmla="*/ 6429 h 85725"/>
              <a:gd name="connsiteX12" fmla="*/ 62151 w 68580"/>
              <a:gd name="connsiteY12" fmla="*/ 81010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80" h="85725">
                <a:moveTo>
                  <a:pt x="62151" y="81010"/>
                </a:moveTo>
                <a:lnTo>
                  <a:pt x="53578" y="81010"/>
                </a:lnTo>
                <a:lnTo>
                  <a:pt x="53578" y="46720"/>
                </a:lnTo>
                <a:lnTo>
                  <a:pt x="15002" y="46720"/>
                </a:lnTo>
                <a:lnTo>
                  <a:pt x="15002" y="81010"/>
                </a:lnTo>
                <a:lnTo>
                  <a:pt x="6429" y="81010"/>
                </a:lnTo>
                <a:lnTo>
                  <a:pt x="6429" y="6429"/>
                </a:lnTo>
                <a:lnTo>
                  <a:pt x="15002" y="6429"/>
                </a:lnTo>
                <a:lnTo>
                  <a:pt x="15002" y="39005"/>
                </a:lnTo>
                <a:lnTo>
                  <a:pt x="53578" y="39005"/>
                </a:lnTo>
                <a:lnTo>
                  <a:pt x="53578" y="6429"/>
                </a:lnTo>
                <a:lnTo>
                  <a:pt x="62151" y="6429"/>
                </a:lnTo>
                <a:lnTo>
                  <a:pt x="62151" y="81010"/>
                </a:lnTo>
                <a:close/>
              </a:path>
            </a:pathLst>
          </a:custGeom>
          <a:solidFill>
            <a:schemeClr val="accent3"/>
          </a:solidFill>
          <a:ln w="9525" cap="flat">
            <a:noFill/>
            <a:prstDash val="solid"/>
            <a:miter/>
          </a:ln>
        </p:spPr>
        <p:txBody>
          <a:bodyPr rtlCol="0" anchor="ctr"/>
          <a:lstStyle/>
          <a:p>
            <a:endParaRPr lang="zh-CN" altLang="en-US"/>
          </a:p>
        </p:txBody>
      </p:sp>
      <p:sp>
        <p:nvSpPr>
          <p:cNvPr id="151" name="任意多边形: 形状 150">
            <a:extLst>
              <a:ext uri="{FF2B5EF4-FFF2-40B4-BE49-F238E27FC236}">
                <a16:creationId xmlns:a16="http://schemas.microsoft.com/office/drawing/2014/main" id="{E475B7A6-AF2F-4052-AD03-CF2CB062EB72}"/>
              </a:ext>
            </a:extLst>
          </p:cNvPr>
          <p:cNvSpPr/>
          <p:nvPr userDrawn="1"/>
        </p:nvSpPr>
        <p:spPr>
          <a:xfrm>
            <a:off x="10874863" y="1377471"/>
            <a:ext cx="32931" cy="82327"/>
          </a:xfrm>
          <a:custGeom>
            <a:avLst/>
            <a:gdLst>
              <a:gd name="connsiteX0" fmla="*/ 29575 w 34290"/>
              <a:gd name="connsiteY0" fmla="*/ 6429 h 85725"/>
              <a:gd name="connsiteX1" fmla="*/ 29575 w 34290"/>
              <a:gd name="connsiteY1" fmla="*/ 14145 h 85725"/>
              <a:gd name="connsiteX2" fmla="*/ 22717 w 34290"/>
              <a:gd name="connsiteY2" fmla="*/ 14145 h 85725"/>
              <a:gd name="connsiteX3" fmla="*/ 22717 w 34290"/>
              <a:gd name="connsiteY3" fmla="*/ 74152 h 85725"/>
              <a:gd name="connsiteX4" fmla="*/ 29575 w 34290"/>
              <a:gd name="connsiteY4" fmla="*/ 74152 h 85725"/>
              <a:gd name="connsiteX5" fmla="*/ 29575 w 34290"/>
              <a:gd name="connsiteY5" fmla="*/ 81867 h 85725"/>
              <a:gd name="connsiteX6" fmla="*/ 6429 w 34290"/>
              <a:gd name="connsiteY6" fmla="*/ 81867 h 85725"/>
              <a:gd name="connsiteX7" fmla="*/ 6429 w 34290"/>
              <a:gd name="connsiteY7" fmla="*/ 74152 h 85725"/>
              <a:gd name="connsiteX8" fmla="*/ 14145 w 34290"/>
              <a:gd name="connsiteY8" fmla="*/ 74152 h 85725"/>
              <a:gd name="connsiteX9" fmla="*/ 14145 w 34290"/>
              <a:gd name="connsiteY9" fmla="*/ 14145 h 85725"/>
              <a:gd name="connsiteX10" fmla="*/ 6429 w 34290"/>
              <a:gd name="connsiteY10" fmla="*/ 14145 h 85725"/>
              <a:gd name="connsiteX11" fmla="*/ 6429 w 34290"/>
              <a:gd name="connsiteY11" fmla="*/ 6429 h 85725"/>
              <a:gd name="connsiteX12" fmla="*/ 29575 w 34290"/>
              <a:gd name="connsiteY12" fmla="*/ 642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290" h="85725">
                <a:moveTo>
                  <a:pt x="29575" y="6429"/>
                </a:moveTo>
                <a:lnTo>
                  <a:pt x="29575" y="14145"/>
                </a:lnTo>
                <a:lnTo>
                  <a:pt x="22717" y="14145"/>
                </a:lnTo>
                <a:lnTo>
                  <a:pt x="22717" y="74152"/>
                </a:lnTo>
                <a:lnTo>
                  <a:pt x="29575" y="74152"/>
                </a:lnTo>
                <a:lnTo>
                  <a:pt x="29575" y="81867"/>
                </a:lnTo>
                <a:lnTo>
                  <a:pt x="6429" y="81867"/>
                </a:lnTo>
                <a:lnTo>
                  <a:pt x="6429" y="74152"/>
                </a:lnTo>
                <a:lnTo>
                  <a:pt x="14145" y="74152"/>
                </a:lnTo>
                <a:lnTo>
                  <a:pt x="14145" y="14145"/>
                </a:lnTo>
                <a:lnTo>
                  <a:pt x="6429" y="14145"/>
                </a:lnTo>
                <a:lnTo>
                  <a:pt x="6429" y="6429"/>
                </a:lnTo>
                <a:lnTo>
                  <a:pt x="29575" y="6429"/>
                </a:lnTo>
                <a:close/>
              </a:path>
            </a:pathLst>
          </a:custGeom>
          <a:solidFill>
            <a:schemeClr val="accent3"/>
          </a:solidFill>
          <a:ln w="9525" cap="flat">
            <a:noFill/>
            <a:prstDash val="solid"/>
            <a:miter/>
          </a:ln>
        </p:spPr>
        <p:txBody>
          <a:bodyPr rtlCol="0" anchor="ctr"/>
          <a:lstStyle/>
          <a:p>
            <a:endParaRPr lang="zh-CN" altLang="en-US"/>
          </a:p>
        </p:txBody>
      </p:sp>
      <p:sp>
        <p:nvSpPr>
          <p:cNvPr id="152" name="任意多边形: 形状 151">
            <a:extLst>
              <a:ext uri="{FF2B5EF4-FFF2-40B4-BE49-F238E27FC236}">
                <a16:creationId xmlns:a16="http://schemas.microsoft.com/office/drawing/2014/main" id="{69A2364C-7A16-4D69-A544-F18B36587EAD}"/>
              </a:ext>
            </a:extLst>
          </p:cNvPr>
          <p:cNvSpPr/>
          <p:nvPr userDrawn="1"/>
        </p:nvSpPr>
        <p:spPr>
          <a:xfrm>
            <a:off x="10903678" y="1376648"/>
            <a:ext cx="65862" cy="82327"/>
          </a:xfrm>
          <a:custGeom>
            <a:avLst/>
            <a:gdLst>
              <a:gd name="connsiteX0" fmla="*/ 62151 w 68580"/>
              <a:gd name="connsiteY0" fmla="*/ 79296 h 85725"/>
              <a:gd name="connsiteX1" fmla="*/ 41577 w 68580"/>
              <a:gd name="connsiteY1" fmla="*/ 83582 h 85725"/>
              <a:gd name="connsiteX2" fmla="*/ 15859 w 68580"/>
              <a:gd name="connsiteY2" fmla="*/ 73295 h 85725"/>
              <a:gd name="connsiteX3" fmla="*/ 6429 w 68580"/>
              <a:gd name="connsiteY3" fmla="*/ 46720 h 85725"/>
              <a:gd name="connsiteX4" fmla="*/ 17574 w 68580"/>
              <a:gd name="connsiteY4" fmla="*/ 17574 h 85725"/>
              <a:gd name="connsiteX5" fmla="*/ 45006 w 68580"/>
              <a:gd name="connsiteY5" fmla="*/ 6429 h 85725"/>
              <a:gd name="connsiteX6" fmla="*/ 63008 w 68580"/>
              <a:gd name="connsiteY6" fmla="*/ 9858 h 85725"/>
              <a:gd name="connsiteX7" fmla="*/ 63008 w 68580"/>
              <a:gd name="connsiteY7" fmla="*/ 19288 h 85725"/>
              <a:gd name="connsiteX8" fmla="*/ 45006 w 68580"/>
              <a:gd name="connsiteY8" fmla="*/ 15002 h 85725"/>
              <a:gd name="connsiteX9" fmla="*/ 24432 w 68580"/>
              <a:gd name="connsiteY9" fmla="*/ 23574 h 85725"/>
              <a:gd name="connsiteX10" fmla="*/ 16716 w 68580"/>
              <a:gd name="connsiteY10" fmla="*/ 46720 h 85725"/>
              <a:gd name="connsiteX11" fmla="*/ 24432 w 68580"/>
              <a:gd name="connsiteY11" fmla="*/ 68151 h 85725"/>
              <a:gd name="connsiteX12" fmla="*/ 44149 w 68580"/>
              <a:gd name="connsiteY12" fmla="*/ 75867 h 85725"/>
              <a:gd name="connsiteX13" fmla="*/ 63865 w 68580"/>
              <a:gd name="connsiteY13" fmla="*/ 70723 h 85725"/>
              <a:gd name="connsiteX14" fmla="*/ 63865 w 68580"/>
              <a:gd name="connsiteY14" fmla="*/ 7929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580" h="85725">
                <a:moveTo>
                  <a:pt x="62151" y="79296"/>
                </a:moveTo>
                <a:cubicBezTo>
                  <a:pt x="57007" y="81867"/>
                  <a:pt x="50149" y="83582"/>
                  <a:pt x="41577" y="83582"/>
                </a:cubicBezTo>
                <a:cubicBezTo>
                  <a:pt x="31290" y="83582"/>
                  <a:pt x="22717" y="80153"/>
                  <a:pt x="15859" y="73295"/>
                </a:cubicBezTo>
                <a:cubicBezTo>
                  <a:pt x="9859" y="66437"/>
                  <a:pt x="6429" y="57864"/>
                  <a:pt x="6429" y="46720"/>
                </a:cubicBezTo>
                <a:cubicBezTo>
                  <a:pt x="6429" y="34719"/>
                  <a:pt x="9859" y="25289"/>
                  <a:pt x="17574" y="17574"/>
                </a:cubicBezTo>
                <a:cubicBezTo>
                  <a:pt x="24432" y="9858"/>
                  <a:pt x="33861" y="6429"/>
                  <a:pt x="45006" y="6429"/>
                </a:cubicBezTo>
                <a:cubicBezTo>
                  <a:pt x="51864" y="6429"/>
                  <a:pt x="57864" y="7287"/>
                  <a:pt x="63008" y="9858"/>
                </a:cubicBezTo>
                <a:lnTo>
                  <a:pt x="63008" y="19288"/>
                </a:lnTo>
                <a:cubicBezTo>
                  <a:pt x="57864" y="16716"/>
                  <a:pt x="51864" y="15002"/>
                  <a:pt x="45006" y="15002"/>
                </a:cubicBezTo>
                <a:cubicBezTo>
                  <a:pt x="36433" y="15002"/>
                  <a:pt x="29575" y="17574"/>
                  <a:pt x="24432" y="23574"/>
                </a:cubicBezTo>
                <a:cubicBezTo>
                  <a:pt x="19288" y="29575"/>
                  <a:pt x="16716" y="37290"/>
                  <a:pt x="16716" y="46720"/>
                </a:cubicBezTo>
                <a:cubicBezTo>
                  <a:pt x="16716" y="56150"/>
                  <a:pt x="19288" y="63008"/>
                  <a:pt x="24432" y="68151"/>
                </a:cubicBezTo>
                <a:cubicBezTo>
                  <a:pt x="29575" y="73295"/>
                  <a:pt x="35576" y="75867"/>
                  <a:pt x="44149" y="75867"/>
                </a:cubicBezTo>
                <a:cubicBezTo>
                  <a:pt x="51864" y="75867"/>
                  <a:pt x="57864" y="74152"/>
                  <a:pt x="63865" y="70723"/>
                </a:cubicBezTo>
                <a:lnTo>
                  <a:pt x="63865" y="79296"/>
                </a:lnTo>
                <a:close/>
              </a:path>
            </a:pathLst>
          </a:custGeom>
          <a:solidFill>
            <a:schemeClr val="accent3"/>
          </a:solidFill>
          <a:ln w="9525" cap="flat">
            <a:noFill/>
            <a:prstDash val="solid"/>
            <a:miter/>
          </a:ln>
        </p:spPr>
        <p:txBody>
          <a:bodyPr rtlCol="0" anchor="ctr"/>
          <a:lstStyle/>
          <a:p>
            <a:endParaRPr lang="zh-CN" altLang="en-US"/>
          </a:p>
        </p:txBody>
      </p:sp>
      <p:sp>
        <p:nvSpPr>
          <p:cNvPr id="153" name="任意多边形: 形状 152">
            <a:extLst>
              <a:ext uri="{FF2B5EF4-FFF2-40B4-BE49-F238E27FC236}">
                <a16:creationId xmlns:a16="http://schemas.microsoft.com/office/drawing/2014/main" id="{24080EB0-72FF-466F-841E-DAE95A7FB195}"/>
              </a:ext>
            </a:extLst>
          </p:cNvPr>
          <p:cNvSpPr/>
          <p:nvPr userDrawn="1"/>
        </p:nvSpPr>
        <p:spPr>
          <a:xfrm>
            <a:off x="10240119" y="851400"/>
            <a:ext cx="378706" cy="172888"/>
          </a:xfrm>
          <a:custGeom>
            <a:avLst/>
            <a:gdLst>
              <a:gd name="connsiteX0" fmla="*/ 195881 w 394335"/>
              <a:gd name="connsiteY0" fmla="*/ 177879 h 180022"/>
              <a:gd name="connsiteX1" fmla="*/ 6429 w 394335"/>
              <a:gd name="connsiteY1" fmla="*/ 92154 h 180022"/>
              <a:gd name="connsiteX2" fmla="*/ 201025 w 394335"/>
              <a:gd name="connsiteY2" fmla="*/ 6429 h 180022"/>
              <a:gd name="connsiteX3" fmla="*/ 388763 w 394335"/>
              <a:gd name="connsiteY3" fmla="*/ 90440 h 180022"/>
            </a:gdLst>
            <a:ahLst/>
            <a:cxnLst>
              <a:cxn ang="0">
                <a:pos x="connsiteX0" y="connsiteY0"/>
              </a:cxn>
              <a:cxn ang="0">
                <a:pos x="connsiteX1" y="connsiteY1"/>
              </a:cxn>
              <a:cxn ang="0">
                <a:pos x="connsiteX2" y="connsiteY2"/>
              </a:cxn>
              <a:cxn ang="0">
                <a:pos x="connsiteX3" y="connsiteY3"/>
              </a:cxn>
            </a:cxnLst>
            <a:rect l="l" t="t" r="r" b="b"/>
            <a:pathLst>
              <a:path w="394335" h="180022">
                <a:moveTo>
                  <a:pt x="195881" y="177879"/>
                </a:moveTo>
                <a:lnTo>
                  <a:pt x="6429" y="92154"/>
                </a:lnTo>
                <a:lnTo>
                  <a:pt x="201025" y="6429"/>
                </a:lnTo>
                <a:lnTo>
                  <a:pt x="388763" y="90440"/>
                </a:lnTo>
                <a:close/>
              </a:path>
            </a:pathLst>
          </a:custGeom>
          <a:solidFill>
            <a:schemeClr val="accent3"/>
          </a:solidFill>
          <a:ln w="9525" cap="flat">
            <a:noFill/>
            <a:prstDash val="solid"/>
            <a:miter/>
          </a:ln>
        </p:spPr>
        <p:txBody>
          <a:bodyPr rtlCol="0" anchor="ctr"/>
          <a:lstStyle/>
          <a:p>
            <a:endParaRPr lang="zh-CN" altLang="en-US"/>
          </a:p>
        </p:txBody>
      </p:sp>
      <p:sp>
        <p:nvSpPr>
          <p:cNvPr id="154" name="任意多边形: 形状 153">
            <a:extLst>
              <a:ext uri="{FF2B5EF4-FFF2-40B4-BE49-F238E27FC236}">
                <a16:creationId xmlns:a16="http://schemas.microsoft.com/office/drawing/2014/main" id="{D67C36CB-76BE-4DDE-985F-60F076100216}"/>
              </a:ext>
            </a:extLst>
          </p:cNvPr>
          <p:cNvSpPr/>
          <p:nvPr userDrawn="1"/>
        </p:nvSpPr>
        <p:spPr>
          <a:xfrm>
            <a:off x="10592480" y="928787"/>
            <a:ext cx="16465" cy="131724"/>
          </a:xfrm>
          <a:custGeom>
            <a:avLst/>
            <a:gdLst>
              <a:gd name="connsiteX0" fmla="*/ 6429 w 17145"/>
              <a:gd name="connsiteY0" fmla="*/ 6429 h 137160"/>
              <a:gd name="connsiteX1" fmla="*/ 18431 w 17145"/>
              <a:gd name="connsiteY1" fmla="*/ 6429 h 137160"/>
              <a:gd name="connsiteX2" fmla="*/ 18431 w 17145"/>
              <a:gd name="connsiteY2" fmla="*/ 132445 h 137160"/>
              <a:gd name="connsiteX3" fmla="*/ 6429 w 17145"/>
              <a:gd name="connsiteY3" fmla="*/ 132445 h 137160"/>
            </a:gdLst>
            <a:ahLst/>
            <a:cxnLst>
              <a:cxn ang="0">
                <a:pos x="connsiteX0" y="connsiteY0"/>
              </a:cxn>
              <a:cxn ang="0">
                <a:pos x="connsiteX1" y="connsiteY1"/>
              </a:cxn>
              <a:cxn ang="0">
                <a:pos x="connsiteX2" y="connsiteY2"/>
              </a:cxn>
              <a:cxn ang="0">
                <a:pos x="connsiteX3" y="connsiteY3"/>
              </a:cxn>
            </a:cxnLst>
            <a:rect l="l" t="t" r="r" b="b"/>
            <a:pathLst>
              <a:path w="17145" h="137160">
                <a:moveTo>
                  <a:pt x="6429" y="6429"/>
                </a:moveTo>
                <a:lnTo>
                  <a:pt x="18431" y="6429"/>
                </a:lnTo>
                <a:lnTo>
                  <a:pt x="18431" y="132445"/>
                </a:lnTo>
                <a:lnTo>
                  <a:pt x="6429" y="132445"/>
                </a:lnTo>
                <a:close/>
              </a:path>
            </a:pathLst>
          </a:custGeom>
          <a:solidFill>
            <a:schemeClr val="accent3"/>
          </a:solidFill>
          <a:ln w="9525" cap="flat">
            <a:noFill/>
            <a:prstDash val="solid"/>
            <a:miter/>
          </a:ln>
        </p:spPr>
        <p:txBody>
          <a:bodyPr rtlCol="0" anchor="ctr"/>
          <a:lstStyle/>
          <a:p>
            <a:endParaRPr lang="zh-CN" altLang="en-US"/>
          </a:p>
        </p:txBody>
      </p:sp>
      <p:sp>
        <p:nvSpPr>
          <p:cNvPr id="155" name="任意多边形: 形状 154">
            <a:extLst>
              <a:ext uri="{FF2B5EF4-FFF2-40B4-BE49-F238E27FC236}">
                <a16:creationId xmlns:a16="http://schemas.microsoft.com/office/drawing/2014/main" id="{47105DB3-9DEB-4564-B14B-A2096D5FD508}"/>
              </a:ext>
            </a:extLst>
          </p:cNvPr>
          <p:cNvSpPr/>
          <p:nvPr userDrawn="1"/>
        </p:nvSpPr>
        <p:spPr>
          <a:xfrm>
            <a:off x="10580132" y="1035813"/>
            <a:ext cx="41164" cy="41164"/>
          </a:xfrm>
          <a:custGeom>
            <a:avLst/>
            <a:gdLst>
              <a:gd name="connsiteX0" fmla="*/ 44149 w 42862"/>
              <a:gd name="connsiteY0" fmla="*/ 25289 h 42862"/>
              <a:gd name="connsiteX1" fmla="*/ 25289 w 42862"/>
              <a:gd name="connsiteY1" fmla="*/ 6429 h 42862"/>
              <a:gd name="connsiteX2" fmla="*/ 6429 w 42862"/>
              <a:gd name="connsiteY2" fmla="*/ 25289 h 42862"/>
              <a:gd name="connsiteX3" fmla="*/ 25289 w 42862"/>
              <a:gd name="connsiteY3" fmla="*/ 44148 h 42862"/>
              <a:gd name="connsiteX4" fmla="*/ 44149 w 42862"/>
              <a:gd name="connsiteY4" fmla="*/ 25289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2862">
                <a:moveTo>
                  <a:pt x="44149" y="25289"/>
                </a:moveTo>
                <a:cubicBezTo>
                  <a:pt x="44149" y="15002"/>
                  <a:pt x="35576" y="6429"/>
                  <a:pt x="25289" y="6429"/>
                </a:cubicBezTo>
                <a:cubicBezTo>
                  <a:pt x="15002" y="6429"/>
                  <a:pt x="6429" y="15002"/>
                  <a:pt x="6429" y="25289"/>
                </a:cubicBezTo>
                <a:cubicBezTo>
                  <a:pt x="6429" y="35576"/>
                  <a:pt x="15002" y="44148"/>
                  <a:pt x="25289" y="44148"/>
                </a:cubicBezTo>
                <a:cubicBezTo>
                  <a:pt x="35576" y="44148"/>
                  <a:pt x="44149" y="35576"/>
                  <a:pt x="44149" y="25289"/>
                </a:cubicBezTo>
                <a:close/>
              </a:path>
            </a:pathLst>
          </a:custGeom>
          <a:solidFill>
            <a:schemeClr val="accent3"/>
          </a:solidFill>
          <a:ln w="9525" cap="flat">
            <a:noFill/>
            <a:prstDash val="solid"/>
            <a:miter/>
          </a:ln>
        </p:spPr>
        <p:txBody>
          <a:bodyPr rtlCol="0" anchor="ctr"/>
          <a:lstStyle/>
          <a:p>
            <a:endParaRPr lang="zh-CN" altLang="en-US"/>
          </a:p>
        </p:txBody>
      </p:sp>
      <p:sp>
        <p:nvSpPr>
          <p:cNvPr id="156" name="任意多边形: 形状 155">
            <a:extLst>
              <a:ext uri="{FF2B5EF4-FFF2-40B4-BE49-F238E27FC236}">
                <a16:creationId xmlns:a16="http://schemas.microsoft.com/office/drawing/2014/main" id="{5FBA68B8-C786-4236-A883-AA490F5C91D5}"/>
              </a:ext>
            </a:extLst>
          </p:cNvPr>
          <p:cNvSpPr/>
          <p:nvPr userDrawn="1"/>
        </p:nvSpPr>
        <p:spPr>
          <a:xfrm>
            <a:off x="10580386" y="1055572"/>
            <a:ext cx="32931" cy="90561"/>
          </a:xfrm>
          <a:custGeom>
            <a:avLst/>
            <a:gdLst>
              <a:gd name="connsiteX0" fmla="*/ 16451 w 34290"/>
              <a:gd name="connsiteY0" fmla="*/ 10716 h 94297"/>
              <a:gd name="connsiteX1" fmla="*/ 7879 w 34290"/>
              <a:gd name="connsiteY1" fmla="*/ 90440 h 94297"/>
              <a:gd name="connsiteX2" fmla="*/ 29310 w 34290"/>
              <a:gd name="connsiteY2" fmla="*/ 90440 h 94297"/>
              <a:gd name="connsiteX3" fmla="*/ 29310 w 34290"/>
              <a:gd name="connsiteY3" fmla="*/ 6429 h 94297"/>
              <a:gd name="connsiteX4" fmla="*/ 16451 w 34290"/>
              <a:gd name="connsiteY4" fmla="*/ 10716 h 94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 h="94297">
                <a:moveTo>
                  <a:pt x="16451" y="10716"/>
                </a:moveTo>
                <a:cubicBezTo>
                  <a:pt x="16451" y="10716"/>
                  <a:pt x="1878" y="42434"/>
                  <a:pt x="7879" y="90440"/>
                </a:cubicBezTo>
                <a:lnTo>
                  <a:pt x="29310" y="90440"/>
                </a:lnTo>
                <a:lnTo>
                  <a:pt x="29310" y="6429"/>
                </a:lnTo>
                <a:cubicBezTo>
                  <a:pt x="28452" y="6429"/>
                  <a:pt x="16451" y="13287"/>
                  <a:pt x="16451" y="10716"/>
                </a:cubicBezTo>
                <a:close/>
              </a:path>
            </a:pathLst>
          </a:custGeom>
          <a:solidFill>
            <a:schemeClr val="accent3"/>
          </a:solidFill>
          <a:ln w="9525" cap="flat">
            <a:noFill/>
            <a:prstDash val="solid"/>
            <a:miter/>
          </a:ln>
        </p:spPr>
        <p:txBody>
          <a:bodyPr rtlCol="0" anchor="ctr"/>
          <a:lstStyle/>
          <a:p>
            <a:endParaRPr lang="zh-CN" altLang="en-US"/>
          </a:p>
        </p:txBody>
      </p:sp>
      <p:sp>
        <p:nvSpPr>
          <p:cNvPr id="157" name="任意多边形: 形状 156">
            <a:extLst>
              <a:ext uri="{FF2B5EF4-FFF2-40B4-BE49-F238E27FC236}">
                <a16:creationId xmlns:a16="http://schemas.microsoft.com/office/drawing/2014/main" id="{FA32B468-33E4-4716-972D-C9C29FC4DC80}"/>
              </a:ext>
            </a:extLst>
          </p:cNvPr>
          <p:cNvSpPr/>
          <p:nvPr userDrawn="1"/>
        </p:nvSpPr>
        <p:spPr>
          <a:xfrm>
            <a:off x="10596558" y="1055572"/>
            <a:ext cx="32931" cy="90561"/>
          </a:xfrm>
          <a:custGeom>
            <a:avLst/>
            <a:gdLst>
              <a:gd name="connsiteX0" fmla="*/ 18472 w 34290"/>
              <a:gd name="connsiteY0" fmla="*/ 10716 h 94297"/>
              <a:gd name="connsiteX1" fmla="*/ 27902 w 34290"/>
              <a:gd name="connsiteY1" fmla="*/ 90440 h 94297"/>
              <a:gd name="connsiteX2" fmla="*/ 6470 w 34290"/>
              <a:gd name="connsiteY2" fmla="*/ 90440 h 94297"/>
              <a:gd name="connsiteX3" fmla="*/ 6470 w 34290"/>
              <a:gd name="connsiteY3" fmla="*/ 6429 h 94297"/>
              <a:gd name="connsiteX4" fmla="*/ 18472 w 34290"/>
              <a:gd name="connsiteY4" fmla="*/ 10716 h 94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 h="94297">
                <a:moveTo>
                  <a:pt x="18472" y="10716"/>
                </a:moveTo>
                <a:cubicBezTo>
                  <a:pt x="18472" y="10716"/>
                  <a:pt x="33902" y="42434"/>
                  <a:pt x="27902" y="90440"/>
                </a:cubicBezTo>
                <a:lnTo>
                  <a:pt x="6470" y="90440"/>
                </a:lnTo>
                <a:lnTo>
                  <a:pt x="6470" y="6429"/>
                </a:lnTo>
                <a:cubicBezTo>
                  <a:pt x="5613" y="6429"/>
                  <a:pt x="18472" y="13287"/>
                  <a:pt x="18472" y="10716"/>
                </a:cubicBezTo>
                <a:close/>
              </a:path>
            </a:pathLst>
          </a:custGeom>
          <a:solidFill>
            <a:schemeClr val="accent3"/>
          </a:solidFill>
          <a:ln w="9525" cap="flat">
            <a:noFill/>
            <a:prstDash val="solid"/>
            <a:miter/>
          </a:ln>
        </p:spPr>
        <p:txBody>
          <a:bodyPr rtlCol="0" anchor="ctr"/>
          <a:lstStyle/>
          <a:p>
            <a:endParaRPr lang="zh-CN" altLang="en-US"/>
          </a:p>
        </p:txBody>
      </p:sp>
      <p:sp>
        <p:nvSpPr>
          <p:cNvPr id="158" name="任意多边形: 形状 157">
            <a:extLst>
              <a:ext uri="{FF2B5EF4-FFF2-40B4-BE49-F238E27FC236}">
                <a16:creationId xmlns:a16="http://schemas.microsoft.com/office/drawing/2014/main" id="{91D75C64-27F4-4E3A-9D2D-BAFFA9AAFA74}"/>
              </a:ext>
            </a:extLst>
          </p:cNvPr>
          <p:cNvSpPr/>
          <p:nvPr userDrawn="1"/>
        </p:nvSpPr>
        <p:spPr>
          <a:xfrm>
            <a:off x="10313390" y="983124"/>
            <a:ext cx="222284" cy="164655"/>
          </a:xfrm>
          <a:custGeom>
            <a:avLst/>
            <a:gdLst>
              <a:gd name="connsiteX0" fmla="*/ 227600 w 231457"/>
              <a:gd name="connsiteY0" fmla="*/ 6429 h 171450"/>
              <a:gd name="connsiteX1" fmla="*/ 117015 w 231457"/>
              <a:gd name="connsiteY1" fmla="*/ 58722 h 171450"/>
              <a:gd name="connsiteX2" fmla="*/ 6429 w 231457"/>
              <a:gd name="connsiteY2" fmla="*/ 6429 h 171450"/>
              <a:gd name="connsiteX3" fmla="*/ 6429 w 231457"/>
              <a:gd name="connsiteY3" fmla="*/ 134160 h 171450"/>
              <a:gd name="connsiteX4" fmla="*/ 114443 w 231457"/>
              <a:gd name="connsiteY4" fmla="*/ 171879 h 171450"/>
              <a:gd name="connsiteX5" fmla="*/ 114443 w 231457"/>
              <a:gd name="connsiteY5" fmla="*/ 171879 h 171450"/>
              <a:gd name="connsiteX6" fmla="*/ 117872 w 231457"/>
              <a:gd name="connsiteY6" fmla="*/ 171879 h 171450"/>
              <a:gd name="connsiteX7" fmla="*/ 120444 w 231457"/>
              <a:gd name="connsiteY7" fmla="*/ 171879 h 171450"/>
              <a:gd name="connsiteX8" fmla="*/ 120444 w 231457"/>
              <a:gd name="connsiteY8" fmla="*/ 171879 h 171450"/>
              <a:gd name="connsiteX9" fmla="*/ 228457 w 231457"/>
              <a:gd name="connsiteY9" fmla="*/ 134160 h 171450"/>
              <a:gd name="connsiteX10" fmla="*/ 228457 w 231457"/>
              <a:gd name="connsiteY10" fmla="*/ 6429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457" h="171450">
                <a:moveTo>
                  <a:pt x="227600" y="6429"/>
                </a:moveTo>
                <a:cubicBezTo>
                  <a:pt x="227600" y="7287"/>
                  <a:pt x="135017" y="50149"/>
                  <a:pt x="117015" y="58722"/>
                </a:cubicBezTo>
                <a:cubicBezTo>
                  <a:pt x="99013" y="50149"/>
                  <a:pt x="6429" y="7287"/>
                  <a:pt x="6429" y="6429"/>
                </a:cubicBezTo>
                <a:lnTo>
                  <a:pt x="6429" y="134160"/>
                </a:lnTo>
                <a:cubicBezTo>
                  <a:pt x="36433" y="165878"/>
                  <a:pt x="95584" y="171021"/>
                  <a:pt x="114443" y="171879"/>
                </a:cubicBezTo>
                <a:lnTo>
                  <a:pt x="114443" y="171879"/>
                </a:lnTo>
                <a:cubicBezTo>
                  <a:pt x="114443" y="171879"/>
                  <a:pt x="115300" y="171879"/>
                  <a:pt x="117872" y="171879"/>
                </a:cubicBezTo>
                <a:cubicBezTo>
                  <a:pt x="119586" y="171879"/>
                  <a:pt x="120444" y="171879"/>
                  <a:pt x="120444" y="171879"/>
                </a:cubicBezTo>
                <a:lnTo>
                  <a:pt x="120444" y="171879"/>
                </a:lnTo>
                <a:cubicBezTo>
                  <a:pt x="139303" y="171021"/>
                  <a:pt x="198454" y="165878"/>
                  <a:pt x="228457" y="134160"/>
                </a:cubicBezTo>
                <a:lnTo>
                  <a:pt x="228457" y="6429"/>
                </a:lnTo>
                <a:close/>
              </a:path>
            </a:pathLst>
          </a:custGeom>
          <a:solidFill>
            <a:schemeClr val="accent3"/>
          </a:solidFill>
          <a:ln w="9525" cap="flat">
            <a:noFill/>
            <a:prstDash val="solid"/>
            <a:miter/>
          </a:ln>
        </p:spPr>
        <p:txBody>
          <a:bodyPr rtlCol="0" anchor="ctr"/>
          <a:lstStyle/>
          <a:p>
            <a:endParaRPr lang="zh-CN" altLang="en-US"/>
          </a:p>
        </p:txBody>
      </p:sp>
      <p:sp>
        <p:nvSpPr>
          <p:cNvPr id="159" name="任意多边形: 形状 158">
            <a:extLst>
              <a:ext uri="{FF2B5EF4-FFF2-40B4-BE49-F238E27FC236}">
                <a16:creationId xmlns:a16="http://schemas.microsoft.com/office/drawing/2014/main" id="{2E32F56B-46CD-4024-B918-6B634A6EE0D5}"/>
              </a:ext>
            </a:extLst>
          </p:cNvPr>
          <p:cNvSpPr/>
          <p:nvPr userDrawn="1"/>
        </p:nvSpPr>
        <p:spPr>
          <a:xfrm>
            <a:off x="9946211" y="1605518"/>
            <a:ext cx="1399564"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3"/>
          </a:solidFill>
          <a:ln w="9525" cap="flat">
            <a:noFill/>
            <a:prstDash val="solid"/>
            <a:miter/>
          </a:ln>
        </p:spPr>
        <p:txBody>
          <a:bodyPr rtlCol="0" anchor="ctr"/>
          <a:lstStyle/>
          <a:p>
            <a:endParaRPr lang="zh-CN" altLang="en-US"/>
          </a:p>
        </p:txBody>
      </p:sp>
      <p:sp>
        <p:nvSpPr>
          <p:cNvPr id="160" name="任意多边形: 形状 159">
            <a:extLst>
              <a:ext uri="{FF2B5EF4-FFF2-40B4-BE49-F238E27FC236}">
                <a16:creationId xmlns:a16="http://schemas.microsoft.com/office/drawing/2014/main" id="{0B2CE3FF-6F4F-48DF-861F-7BE37FF1A7FD}"/>
              </a:ext>
            </a:extLst>
          </p:cNvPr>
          <p:cNvSpPr/>
          <p:nvPr userDrawn="1"/>
        </p:nvSpPr>
        <p:spPr>
          <a:xfrm>
            <a:off x="9946211" y="1770173"/>
            <a:ext cx="1399564"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3"/>
          </a:solidFill>
          <a:ln w="9525" cap="flat">
            <a:noFill/>
            <a:prstDash val="solid"/>
            <a:miter/>
          </a:ln>
        </p:spPr>
        <p:txBody>
          <a:bodyPr rtlCol="0" anchor="ctr"/>
          <a:lstStyle/>
          <a:p>
            <a:endParaRPr lang="zh-CN" altLang="en-US"/>
          </a:p>
        </p:txBody>
      </p:sp>
      <p:sp>
        <p:nvSpPr>
          <p:cNvPr id="161" name="任意多边形: 形状 160">
            <a:extLst>
              <a:ext uri="{FF2B5EF4-FFF2-40B4-BE49-F238E27FC236}">
                <a16:creationId xmlns:a16="http://schemas.microsoft.com/office/drawing/2014/main" id="{DBDCC3A4-EDC3-4447-ABD7-ED706BBD9580}"/>
              </a:ext>
            </a:extLst>
          </p:cNvPr>
          <p:cNvSpPr/>
          <p:nvPr userDrawn="1"/>
        </p:nvSpPr>
        <p:spPr>
          <a:xfrm>
            <a:off x="9946211" y="1934827"/>
            <a:ext cx="1399564"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3"/>
          </a:solidFill>
          <a:ln w="9525" cap="flat">
            <a:noFill/>
            <a:prstDash val="solid"/>
            <a:miter/>
          </a:ln>
        </p:spPr>
        <p:txBody>
          <a:bodyPr rtlCol="0" anchor="ctr"/>
          <a:lstStyle/>
          <a:p>
            <a:endParaRPr lang="zh-CN" altLang="en-US"/>
          </a:p>
        </p:txBody>
      </p:sp>
      <p:sp>
        <p:nvSpPr>
          <p:cNvPr id="162" name="任意多边形: 形状 161">
            <a:extLst>
              <a:ext uri="{FF2B5EF4-FFF2-40B4-BE49-F238E27FC236}">
                <a16:creationId xmlns:a16="http://schemas.microsoft.com/office/drawing/2014/main" id="{47FC2988-6AC3-49D9-8183-15A9AFFD104A}"/>
              </a:ext>
            </a:extLst>
          </p:cNvPr>
          <p:cNvSpPr/>
          <p:nvPr userDrawn="1"/>
        </p:nvSpPr>
        <p:spPr>
          <a:xfrm>
            <a:off x="9946211" y="2099482"/>
            <a:ext cx="1399564"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3"/>
          </a:solidFill>
          <a:ln w="9525" cap="flat">
            <a:noFill/>
            <a:prstDash val="solid"/>
            <a:miter/>
          </a:ln>
        </p:spPr>
        <p:txBody>
          <a:bodyPr rtlCol="0" anchor="ctr"/>
          <a:lstStyle/>
          <a:p>
            <a:endParaRPr lang="zh-CN" altLang="en-US"/>
          </a:p>
        </p:txBody>
      </p:sp>
      <p:sp>
        <p:nvSpPr>
          <p:cNvPr id="163" name="任意多边形: 形状 162">
            <a:extLst>
              <a:ext uri="{FF2B5EF4-FFF2-40B4-BE49-F238E27FC236}">
                <a16:creationId xmlns:a16="http://schemas.microsoft.com/office/drawing/2014/main" id="{A6DF2778-E9EA-4CDF-8167-18A8DAD91E1B}"/>
              </a:ext>
            </a:extLst>
          </p:cNvPr>
          <p:cNvSpPr/>
          <p:nvPr userDrawn="1"/>
        </p:nvSpPr>
        <p:spPr>
          <a:xfrm>
            <a:off x="10514270" y="2264136"/>
            <a:ext cx="831506" cy="24699"/>
          </a:xfrm>
          <a:custGeom>
            <a:avLst/>
            <a:gdLst>
              <a:gd name="connsiteX0" fmla="*/ 6429 w 865822"/>
              <a:gd name="connsiteY0" fmla="*/ 6429 h 25717"/>
              <a:gd name="connsiteX1" fmla="*/ 863679 w 865822"/>
              <a:gd name="connsiteY1" fmla="*/ 6429 h 25717"/>
              <a:gd name="connsiteX2" fmla="*/ 863679 w 865822"/>
              <a:gd name="connsiteY2" fmla="*/ 23574 h 25717"/>
              <a:gd name="connsiteX3" fmla="*/ 6429 w 865822"/>
              <a:gd name="connsiteY3" fmla="*/ 23574 h 25717"/>
            </a:gdLst>
            <a:ahLst/>
            <a:cxnLst>
              <a:cxn ang="0">
                <a:pos x="connsiteX0" y="connsiteY0"/>
              </a:cxn>
              <a:cxn ang="0">
                <a:pos x="connsiteX1" y="connsiteY1"/>
              </a:cxn>
              <a:cxn ang="0">
                <a:pos x="connsiteX2" y="connsiteY2"/>
              </a:cxn>
              <a:cxn ang="0">
                <a:pos x="connsiteX3" y="connsiteY3"/>
              </a:cxn>
            </a:cxnLst>
            <a:rect l="l" t="t" r="r" b="b"/>
            <a:pathLst>
              <a:path w="865822" h="25717">
                <a:moveTo>
                  <a:pt x="6429" y="6429"/>
                </a:moveTo>
                <a:lnTo>
                  <a:pt x="863679" y="6429"/>
                </a:lnTo>
                <a:lnTo>
                  <a:pt x="863679" y="23574"/>
                </a:lnTo>
                <a:lnTo>
                  <a:pt x="6429" y="23574"/>
                </a:lnTo>
                <a:close/>
              </a:path>
            </a:pathLst>
          </a:custGeom>
          <a:solidFill>
            <a:schemeClr val="accent3"/>
          </a:solidFill>
          <a:ln w="9525" cap="flat">
            <a:noFill/>
            <a:prstDash val="solid"/>
            <a:miter/>
          </a:ln>
        </p:spPr>
        <p:txBody>
          <a:bodyPr rtlCol="0" anchor="ctr"/>
          <a:lstStyle/>
          <a:p>
            <a:endParaRPr lang="zh-CN" altLang="en-US"/>
          </a:p>
        </p:txBody>
      </p:sp>
      <p:grpSp>
        <p:nvGrpSpPr>
          <p:cNvPr id="164" name="组合 163">
            <a:extLst>
              <a:ext uri="{FF2B5EF4-FFF2-40B4-BE49-F238E27FC236}">
                <a16:creationId xmlns:a16="http://schemas.microsoft.com/office/drawing/2014/main" id="{38BF954A-8753-4A04-86D8-55E568B92C73}"/>
              </a:ext>
            </a:extLst>
          </p:cNvPr>
          <p:cNvGrpSpPr/>
          <p:nvPr userDrawn="1"/>
        </p:nvGrpSpPr>
        <p:grpSpPr>
          <a:xfrm>
            <a:off x="9740393" y="3753437"/>
            <a:ext cx="1403681" cy="1408621"/>
            <a:chOff x="9918193" y="3753437"/>
            <a:chExt cx="1403681" cy="1408621"/>
          </a:xfrm>
        </p:grpSpPr>
        <p:sp>
          <p:nvSpPr>
            <p:cNvPr id="165" name="任意多边形: 形状 164">
              <a:extLst>
                <a:ext uri="{FF2B5EF4-FFF2-40B4-BE49-F238E27FC236}">
                  <a16:creationId xmlns:a16="http://schemas.microsoft.com/office/drawing/2014/main" id="{C9AB39E8-9FCF-49F9-980C-766F54BA49B2}"/>
                </a:ext>
              </a:extLst>
            </p:cNvPr>
            <p:cNvSpPr/>
            <p:nvPr/>
          </p:nvSpPr>
          <p:spPr>
            <a:xfrm>
              <a:off x="10319951" y="4114854"/>
              <a:ext cx="82327" cy="131724"/>
            </a:xfrm>
            <a:custGeom>
              <a:avLst/>
              <a:gdLst>
                <a:gd name="connsiteX0" fmla="*/ 83582 w 85725"/>
                <a:gd name="connsiteY0" fmla="*/ 135017 h 137160"/>
                <a:gd name="connsiteX1" fmla="*/ 6429 w 85725"/>
                <a:gd name="connsiteY1" fmla="*/ 135017 h 137160"/>
                <a:gd name="connsiteX2" fmla="*/ 6429 w 85725"/>
                <a:gd name="connsiteY2" fmla="*/ 6429 h 137160"/>
                <a:gd name="connsiteX3" fmla="*/ 81010 w 85725"/>
                <a:gd name="connsiteY3" fmla="*/ 6429 h 137160"/>
                <a:gd name="connsiteX4" fmla="*/ 81010 w 85725"/>
                <a:gd name="connsiteY4" fmla="*/ 30433 h 137160"/>
                <a:gd name="connsiteX5" fmla="*/ 35576 w 85725"/>
                <a:gd name="connsiteY5" fmla="*/ 30433 h 137160"/>
                <a:gd name="connsiteX6" fmla="*/ 35576 w 85725"/>
                <a:gd name="connsiteY6" fmla="*/ 58722 h 137160"/>
                <a:gd name="connsiteX7" fmla="*/ 77581 w 85725"/>
                <a:gd name="connsiteY7" fmla="*/ 58722 h 137160"/>
                <a:gd name="connsiteX8" fmla="*/ 77581 w 85725"/>
                <a:gd name="connsiteY8" fmla="*/ 81868 h 137160"/>
                <a:gd name="connsiteX9" fmla="*/ 35576 w 85725"/>
                <a:gd name="connsiteY9" fmla="*/ 81868 h 137160"/>
                <a:gd name="connsiteX10" fmla="*/ 35576 w 85725"/>
                <a:gd name="connsiteY10" fmla="*/ 111014 h 137160"/>
                <a:gd name="connsiteX11" fmla="*/ 83582 w 85725"/>
                <a:gd name="connsiteY11" fmla="*/ 111014 h 137160"/>
                <a:gd name="connsiteX12" fmla="*/ 83582 w 85725"/>
                <a:gd name="connsiteY12" fmla="*/ 135017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25" h="137160">
                  <a:moveTo>
                    <a:pt x="83582" y="135017"/>
                  </a:moveTo>
                  <a:lnTo>
                    <a:pt x="6429" y="135017"/>
                  </a:lnTo>
                  <a:lnTo>
                    <a:pt x="6429" y="6429"/>
                  </a:lnTo>
                  <a:lnTo>
                    <a:pt x="81010" y="6429"/>
                  </a:lnTo>
                  <a:lnTo>
                    <a:pt x="81010" y="30433"/>
                  </a:lnTo>
                  <a:lnTo>
                    <a:pt x="35576" y="30433"/>
                  </a:lnTo>
                  <a:lnTo>
                    <a:pt x="35576" y="58722"/>
                  </a:lnTo>
                  <a:lnTo>
                    <a:pt x="77581" y="58722"/>
                  </a:lnTo>
                  <a:lnTo>
                    <a:pt x="77581" y="81868"/>
                  </a:lnTo>
                  <a:lnTo>
                    <a:pt x="35576" y="81868"/>
                  </a:lnTo>
                  <a:lnTo>
                    <a:pt x="35576" y="111014"/>
                  </a:lnTo>
                  <a:lnTo>
                    <a:pt x="83582" y="111014"/>
                  </a:lnTo>
                  <a:lnTo>
                    <a:pt x="83582" y="135017"/>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66" name="任意多边形: 形状 165">
              <a:extLst>
                <a:ext uri="{FF2B5EF4-FFF2-40B4-BE49-F238E27FC236}">
                  <a16:creationId xmlns:a16="http://schemas.microsoft.com/office/drawing/2014/main" id="{70F4AA4C-A134-4728-A2A0-F59D489FDB12}"/>
                </a:ext>
              </a:extLst>
            </p:cNvPr>
            <p:cNvSpPr/>
            <p:nvPr/>
          </p:nvSpPr>
          <p:spPr>
            <a:xfrm>
              <a:off x="10413803" y="4114854"/>
              <a:ext cx="115258" cy="131724"/>
            </a:xfrm>
            <a:custGeom>
              <a:avLst/>
              <a:gdLst>
                <a:gd name="connsiteX0" fmla="*/ 6429 w 120015"/>
                <a:gd name="connsiteY0" fmla="*/ 135017 h 137160"/>
                <a:gd name="connsiteX1" fmla="*/ 6429 w 120015"/>
                <a:gd name="connsiteY1" fmla="*/ 6429 h 137160"/>
                <a:gd name="connsiteX2" fmla="*/ 51864 w 120015"/>
                <a:gd name="connsiteY2" fmla="*/ 6429 h 137160"/>
                <a:gd name="connsiteX3" fmla="*/ 120444 w 120015"/>
                <a:gd name="connsiteY3" fmla="*/ 69009 h 137160"/>
                <a:gd name="connsiteX4" fmla="*/ 101584 w 120015"/>
                <a:gd name="connsiteY4" fmla="*/ 117015 h 137160"/>
                <a:gd name="connsiteX5" fmla="*/ 51864 w 120015"/>
                <a:gd name="connsiteY5" fmla="*/ 135017 h 137160"/>
                <a:gd name="connsiteX6" fmla="*/ 6429 w 120015"/>
                <a:gd name="connsiteY6" fmla="*/ 135017 h 137160"/>
                <a:gd name="connsiteX7" fmla="*/ 35576 w 120015"/>
                <a:gd name="connsiteY7" fmla="*/ 29575 h 137160"/>
                <a:gd name="connsiteX8" fmla="*/ 35576 w 120015"/>
                <a:gd name="connsiteY8" fmla="*/ 111014 h 137160"/>
                <a:gd name="connsiteX9" fmla="*/ 50149 w 120015"/>
                <a:gd name="connsiteY9" fmla="*/ 111014 h 137160"/>
                <a:gd name="connsiteX10" fmla="*/ 79296 w 120015"/>
                <a:gd name="connsiteY10" fmla="*/ 99870 h 137160"/>
                <a:gd name="connsiteX11" fmla="*/ 90440 w 120015"/>
                <a:gd name="connsiteY11" fmla="*/ 69009 h 137160"/>
                <a:gd name="connsiteX12" fmla="*/ 80153 w 120015"/>
                <a:gd name="connsiteY12" fmla="*/ 39862 h 137160"/>
                <a:gd name="connsiteX13" fmla="*/ 50149 w 120015"/>
                <a:gd name="connsiteY13" fmla="*/ 29575 h 137160"/>
                <a:gd name="connsiteX14" fmla="*/ 35576 w 120015"/>
                <a:gd name="connsiteY14" fmla="*/ 29575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015" h="137160">
                  <a:moveTo>
                    <a:pt x="6429" y="135017"/>
                  </a:moveTo>
                  <a:lnTo>
                    <a:pt x="6429" y="6429"/>
                  </a:lnTo>
                  <a:lnTo>
                    <a:pt x="51864" y="6429"/>
                  </a:lnTo>
                  <a:cubicBezTo>
                    <a:pt x="97298" y="6429"/>
                    <a:pt x="120444" y="27004"/>
                    <a:pt x="120444" y="69009"/>
                  </a:cubicBezTo>
                  <a:cubicBezTo>
                    <a:pt x="120444" y="88725"/>
                    <a:pt x="114443" y="105013"/>
                    <a:pt x="101584" y="117015"/>
                  </a:cubicBezTo>
                  <a:cubicBezTo>
                    <a:pt x="88725" y="129016"/>
                    <a:pt x="72438" y="135017"/>
                    <a:pt x="51864" y="135017"/>
                  </a:cubicBezTo>
                  <a:lnTo>
                    <a:pt x="6429" y="135017"/>
                  </a:lnTo>
                  <a:close/>
                  <a:moveTo>
                    <a:pt x="35576" y="29575"/>
                  </a:moveTo>
                  <a:lnTo>
                    <a:pt x="35576" y="111014"/>
                  </a:lnTo>
                  <a:lnTo>
                    <a:pt x="50149" y="111014"/>
                  </a:lnTo>
                  <a:cubicBezTo>
                    <a:pt x="63008" y="111014"/>
                    <a:pt x="72438" y="107585"/>
                    <a:pt x="79296" y="99870"/>
                  </a:cubicBezTo>
                  <a:cubicBezTo>
                    <a:pt x="86154" y="92154"/>
                    <a:pt x="90440" y="81868"/>
                    <a:pt x="90440" y="69009"/>
                  </a:cubicBezTo>
                  <a:cubicBezTo>
                    <a:pt x="90440" y="57007"/>
                    <a:pt x="87011" y="46720"/>
                    <a:pt x="80153" y="39862"/>
                  </a:cubicBezTo>
                  <a:cubicBezTo>
                    <a:pt x="73295" y="33004"/>
                    <a:pt x="63008" y="29575"/>
                    <a:pt x="50149" y="29575"/>
                  </a:cubicBezTo>
                  <a:lnTo>
                    <a:pt x="35576" y="29575"/>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67" name="任意多边形: 形状 166">
              <a:extLst>
                <a:ext uri="{FF2B5EF4-FFF2-40B4-BE49-F238E27FC236}">
                  <a16:creationId xmlns:a16="http://schemas.microsoft.com/office/drawing/2014/main" id="{C856A4D6-49CF-4CB5-9261-0EBA1983F9B4}"/>
                </a:ext>
              </a:extLst>
            </p:cNvPr>
            <p:cNvSpPr/>
            <p:nvPr/>
          </p:nvSpPr>
          <p:spPr>
            <a:xfrm>
              <a:off x="10542234" y="4114854"/>
              <a:ext cx="107026" cy="131724"/>
            </a:xfrm>
            <a:custGeom>
              <a:avLst/>
              <a:gdLst>
                <a:gd name="connsiteX0" fmla="*/ 112729 w 111442"/>
                <a:gd name="connsiteY0" fmla="*/ 79296 h 137160"/>
                <a:gd name="connsiteX1" fmla="*/ 58722 w 111442"/>
                <a:gd name="connsiteY1" fmla="*/ 137589 h 137160"/>
                <a:gd name="connsiteX2" fmla="*/ 6429 w 111442"/>
                <a:gd name="connsiteY2" fmla="*/ 81010 h 137160"/>
                <a:gd name="connsiteX3" fmla="*/ 6429 w 111442"/>
                <a:gd name="connsiteY3" fmla="*/ 6429 h 137160"/>
                <a:gd name="connsiteX4" fmla="*/ 35576 w 111442"/>
                <a:gd name="connsiteY4" fmla="*/ 6429 h 137160"/>
                <a:gd name="connsiteX5" fmla="*/ 35576 w 111442"/>
                <a:gd name="connsiteY5" fmla="*/ 81010 h 137160"/>
                <a:gd name="connsiteX6" fmla="*/ 59579 w 111442"/>
                <a:gd name="connsiteY6" fmla="*/ 111871 h 137160"/>
                <a:gd name="connsiteX7" fmla="*/ 83582 w 111442"/>
                <a:gd name="connsiteY7" fmla="*/ 81868 h 137160"/>
                <a:gd name="connsiteX8" fmla="*/ 83582 w 111442"/>
                <a:gd name="connsiteY8" fmla="*/ 6429 h 137160"/>
                <a:gd name="connsiteX9" fmla="*/ 112729 w 111442"/>
                <a:gd name="connsiteY9" fmla="*/ 6429 h 137160"/>
                <a:gd name="connsiteX10" fmla="*/ 112729 w 111442"/>
                <a:gd name="connsiteY10" fmla="*/ 79296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442" h="137160">
                  <a:moveTo>
                    <a:pt x="112729" y="79296"/>
                  </a:moveTo>
                  <a:cubicBezTo>
                    <a:pt x="112729" y="117872"/>
                    <a:pt x="94726" y="137589"/>
                    <a:pt x="58722" y="137589"/>
                  </a:cubicBezTo>
                  <a:cubicBezTo>
                    <a:pt x="23574" y="137589"/>
                    <a:pt x="6429" y="118729"/>
                    <a:pt x="6429" y="81010"/>
                  </a:cubicBezTo>
                  <a:lnTo>
                    <a:pt x="6429" y="6429"/>
                  </a:lnTo>
                  <a:lnTo>
                    <a:pt x="35576" y="6429"/>
                  </a:lnTo>
                  <a:lnTo>
                    <a:pt x="35576" y="81010"/>
                  </a:lnTo>
                  <a:cubicBezTo>
                    <a:pt x="35576" y="101584"/>
                    <a:pt x="43291" y="111871"/>
                    <a:pt x="59579" y="111871"/>
                  </a:cubicBezTo>
                  <a:cubicBezTo>
                    <a:pt x="75867" y="111871"/>
                    <a:pt x="83582" y="101584"/>
                    <a:pt x="83582" y="81868"/>
                  </a:cubicBezTo>
                  <a:lnTo>
                    <a:pt x="83582" y="6429"/>
                  </a:lnTo>
                  <a:lnTo>
                    <a:pt x="112729" y="6429"/>
                  </a:lnTo>
                  <a:lnTo>
                    <a:pt x="112729" y="79296"/>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68" name="任意多边形: 形状 167">
              <a:extLst>
                <a:ext uri="{FF2B5EF4-FFF2-40B4-BE49-F238E27FC236}">
                  <a16:creationId xmlns:a16="http://schemas.microsoft.com/office/drawing/2014/main" id="{5503A112-BB91-40FB-BE39-9F659C83D4BE}"/>
                </a:ext>
              </a:extLst>
            </p:cNvPr>
            <p:cNvSpPr/>
            <p:nvPr/>
          </p:nvSpPr>
          <p:spPr>
            <a:xfrm>
              <a:off x="10664078" y="4113207"/>
              <a:ext cx="107026" cy="131724"/>
            </a:xfrm>
            <a:custGeom>
              <a:avLst/>
              <a:gdLst>
                <a:gd name="connsiteX0" fmla="*/ 106728 w 111442"/>
                <a:gd name="connsiteY0" fmla="*/ 131588 h 137160"/>
                <a:gd name="connsiteX1" fmla="*/ 69866 w 111442"/>
                <a:gd name="connsiteY1" fmla="*/ 138446 h 137160"/>
                <a:gd name="connsiteX2" fmla="*/ 23574 w 111442"/>
                <a:gd name="connsiteY2" fmla="*/ 121301 h 137160"/>
                <a:gd name="connsiteX3" fmla="*/ 6429 w 111442"/>
                <a:gd name="connsiteY3" fmla="*/ 75009 h 137160"/>
                <a:gd name="connsiteX4" fmla="*/ 25289 w 111442"/>
                <a:gd name="connsiteY4" fmla="*/ 25289 h 137160"/>
                <a:gd name="connsiteX5" fmla="*/ 75009 w 111442"/>
                <a:gd name="connsiteY5" fmla="*/ 6429 h 137160"/>
                <a:gd name="connsiteX6" fmla="*/ 106728 w 111442"/>
                <a:gd name="connsiteY6" fmla="*/ 11573 h 137160"/>
                <a:gd name="connsiteX7" fmla="*/ 106728 w 111442"/>
                <a:gd name="connsiteY7" fmla="*/ 39862 h 137160"/>
                <a:gd name="connsiteX8" fmla="*/ 77582 w 111442"/>
                <a:gd name="connsiteY8" fmla="*/ 32147 h 137160"/>
                <a:gd name="connsiteX9" fmla="*/ 48435 w 111442"/>
                <a:gd name="connsiteY9" fmla="*/ 43291 h 137160"/>
                <a:gd name="connsiteX10" fmla="*/ 37291 w 111442"/>
                <a:gd name="connsiteY10" fmla="*/ 74152 h 137160"/>
                <a:gd name="connsiteX11" fmla="*/ 47578 w 111442"/>
                <a:gd name="connsiteY11" fmla="*/ 104156 h 137160"/>
                <a:gd name="connsiteX12" fmla="*/ 75867 w 111442"/>
                <a:gd name="connsiteY12" fmla="*/ 115300 h 137160"/>
                <a:gd name="connsiteX13" fmla="*/ 106728 w 111442"/>
                <a:gd name="connsiteY13" fmla="*/ 106727 h 137160"/>
                <a:gd name="connsiteX14" fmla="*/ 106728 w 111442"/>
                <a:gd name="connsiteY14" fmla="*/ 131588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442" h="137160">
                  <a:moveTo>
                    <a:pt x="106728" y="131588"/>
                  </a:moveTo>
                  <a:cubicBezTo>
                    <a:pt x="97298" y="135874"/>
                    <a:pt x="85296" y="138446"/>
                    <a:pt x="69866" y="138446"/>
                  </a:cubicBezTo>
                  <a:cubicBezTo>
                    <a:pt x="50149" y="138446"/>
                    <a:pt x="34719" y="132445"/>
                    <a:pt x="23574" y="121301"/>
                  </a:cubicBezTo>
                  <a:cubicBezTo>
                    <a:pt x="12430" y="109299"/>
                    <a:pt x="6429" y="93869"/>
                    <a:pt x="6429" y="75009"/>
                  </a:cubicBezTo>
                  <a:cubicBezTo>
                    <a:pt x="6429" y="54435"/>
                    <a:pt x="12430" y="38147"/>
                    <a:pt x="25289" y="25289"/>
                  </a:cubicBezTo>
                  <a:cubicBezTo>
                    <a:pt x="38148" y="12430"/>
                    <a:pt x="54436" y="6429"/>
                    <a:pt x="75009" y="6429"/>
                  </a:cubicBezTo>
                  <a:cubicBezTo>
                    <a:pt x="87868" y="6429"/>
                    <a:pt x="98155" y="8144"/>
                    <a:pt x="106728" y="11573"/>
                  </a:cubicBezTo>
                  <a:lnTo>
                    <a:pt x="106728" y="39862"/>
                  </a:lnTo>
                  <a:cubicBezTo>
                    <a:pt x="98155" y="34719"/>
                    <a:pt x="87868" y="32147"/>
                    <a:pt x="77582" y="32147"/>
                  </a:cubicBezTo>
                  <a:cubicBezTo>
                    <a:pt x="65580" y="32147"/>
                    <a:pt x="56150" y="35576"/>
                    <a:pt x="48435" y="43291"/>
                  </a:cubicBezTo>
                  <a:cubicBezTo>
                    <a:pt x="40719" y="51006"/>
                    <a:pt x="37291" y="61293"/>
                    <a:pt x="37291" y="74152"/>
                  </a:cubicBezTo>
                  <a:cubicBezTo>
                    <a:pt x="37291" y="87011"/>
                    <a:pt x="40719" y="96441"/>
                    <a:pt x="47578" y="104156"/>
                  </a:cubicBezTo>
                  <a:cubicBezTo>
                    <a:pt x="54436" y="111871"/>
                    <a:pt x="63865" y="115300"/>
                    <a:pt x="75867" y="115300"/>
                  </a:cubicBezTo>
                  <a:cubicBezTo>
                    <a:pt x="87011" y="115300"/>
                    <a:pt x="97298" y="112728"/>
                    <a:pt x="106728" y="106727"/>
                  </a:cubicBezTo>
                  <a:lnTo>
                    <a:pt x="106728" y="131588"/>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69" name="任意多边形: 形状 168">
              <a:extLst>
                <a:ext uri="{FF2B5EF4-FFF2-40B4-BE49-F238E27FC236}">
                  <a16:creationId xmlns:a16="http://schemas.microsoft.com/office/drawing/2014/main" id="{752FE240-B668-43F3-8B7D-033F3CA40C54}"/>
                </a:ext>
              </a:extLst>
            </p:cNvPr>
            <p:cNvSpPr/>
            <p:nvPr/>
          </p:nvSpPr>
          <p:spPr>
            <a:xfrm>
              <a:off x="10767811" y="4114854"/>
              <a:ext cx="131724" cy="131724"/>
            </a:xfrm>
            <a:custGeom>
              <a:avLst/>
              <a:gdLst>
                <a:gd name="connsiteX0" fmla="*/ 134159 w 137160"/>
                <a:gd name="connsiteY0" fmla="*/ 135017 h 137160"/>
                <a:gd name="connsiteX1" fmla="*/ 102441 w 137160"/>
                <a:gd name="connsiteY1" fmla="*/ 135017 h 137160"/>
                <a:gd name="connsiteX2" fmla="*/ 93011 w 137160"/>
                <a:gd name="connsiteY2" fmla="*/ 106728 h 137160"/>
                <a:gd name="connsiteX3" fmla="*/ 47577 w 137160"/>
                <a:gd name="connsiteY3" fmla="*/ 106728 h 137160"/>
                <a:gd name="connsiteX4" fmla="*/ 38148 w 137160"/>
                <a:gd name="connsiteY4" fmla="*/ 135017 h 137160"/>
                <a:gd name="connsiteX5" fmla="*/ 6429 w 137160"/>
                <a:gd name="connsiteY5" fmla="*/ 135017 h 137160"/>
                <a:gd name="connsiteX6" fmla="*/ 53578 w 137160"/>
                <a:gd name="connsiteY6" fmla="*/ 6429 h 137160"/>
                <a:gd name="connsiteX7" fmla="*/ 87868 w 137160"/>
                <a:gd name="connsiteY7" fmla="*/ 6429 h 137160"/>
                <a:gd name="connsiteX8" fmla="*/ 134159 w 137160"/>
                <a:gd name="connsiteY8" fmla="*/ 135017 h 137160"/>
                <a:gd name="connsiteX9" fmla="*/ 86154 w 137160"/>
                <a:gd name="connsiteY9" fmla="*/ 83582 h 137160"/>
                <a:gd name="connsiteX10" fmla="*/ 72438 w 137160"/>
                <a:gd name="connsiteY10" fmla="*/ 40719 h 137160"/>
                <a:gd name="connsiteX11" fmla="*/ 69866 w 137160"/>
                <a:gd name="connsiteY11" fmla="*/ 28718 h 137160"/>
                <a:gd name="connsiteX12" fmla="*/ 69009 w 137160"/>
                <a:gd name="connsiteY12" fmla="*/ 28718 h 137160"/>
                <a:gd name="connsiteX13" fmla="*/ 66437 w 137160"/>
                <a:gd name="connsiteY13" fmla="*/ 39862 h 137160"/>
                <a:gd name="connsiteX14" fmla="*/ 52721 w 137160"/>
                <a:gd name="connsiteY14" fmla="*/ 83582 h 137160"/>
                <a:gd name="connsiteX15" fmla="*/ 86154 w 137160"/>
                <a:gd name="connsiteY15" fmla="*/ 83582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7160" h="137160">
                  <a:moveTo>
                    <a:pt x="134159" y="135017"/>
                  </a:moveTo>
                  <a:lnTo>
                    <a:pt x="102441" y="135017"/>
                  </a:lnTo>
                  <a:lnTo>
                    <a:pt x="93011" y="106728"/>
                  </a:lnTo>
                  <a:lnTo>
                    <a:pt x="47577" y="106728"/>
                  </a:lnTo>
                  <a:lnTo>
                    <a:pt x="38148" y="135017"/>
                  </a:lnTo>
                  <a:lnTo>
                    <a:pt x="6429" y="135017"/>
                  </a:lnTo>
                  <a:lnTo>
                    <a:pt x="53578" y="6429"/>
                  </a:lnTo>
                  <a:lnTo>
                    <a:pt x="87868" y="6429"/>
                  </a:lnTo>
                  <a:lnTo>
                    <a:pt x="134159" y="135017"/>
                  </a:lnTo>
                  <a:close/>
                  <a:moveTo>
                    <a:pt x="86154" y="83582"/>
                  </a:moveTo>
                  <a:lnTo>
                    <a:pt x="72438" y="40719"/>
                  </a:lnTo>
                  <a:cubicBezTo>
                    <a:pt x="71580" y="37290"/>
                    <a:pt x="70723" y="33861"/>
                    <a:pt x="69866" y="28718"/>
                  </a:cubicBezTo>
                  <a:lnTo>
                    <a:pt x="69009" y="28718"/>
                  </a:lnTo>
                  <a:cubicBezTo>
                    <a:pt x="69009" y="32147"/>
                    <a:pt x="68151" y="36433"/>
                    <a:pt x="66437" y="39862"/>
                  </a:cubicBezTo>
                  <a:lnTo>
                    <a:pt x="52721" y="83582"/>
                  </a:lnTo>
                  <a:lnTo>
                    <a:pt x="86154" y="83582"/>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70" name="任意多边形: 形状 169">
              <a:extLst>
                <a:ext uri="{FF2B5EF4-FFF2-40B4-BE49-F238E27FC236}">
                  <a16:creationId xmlns:a16="http://schemas.microsoft.com/office/drawing/2014/main" id="{0885AA2B-7855-4197-9521-B2436F83984E}"/>
                </a:ext>
              </a:extLst>
            </p:cNvPr>
            <p:cNvSpPr/>
            <p:nvPr/>
          </p:nvSpPr>
          <p:spPr>
            <a:xfrm>
              <a:off x="10893772" y="4114030"/>
              <a:ext cx="107026" cy="131724"/>
            </a:xfrm>
            <a:custGeom>
              <a:avLst/>
              <a:gdLst>
                <a:gd name="connsiteX0" fmla="*/ 109299 w 111442"/>
                <a:gd name="connsiteY0" fmla="*/ 30432 h 137160"/>
                <a:gd name="connsiteX1" fmla="*/ 72438 w 111442"/>
                <a:gd name="connsiteY1" fmla="*/ 30432 h 137160"/>
                <a:gd name="connsiteX2" fmla="*/ 72438 w 111442"/>
                <a:gd name="connsiteY2" fmla="*/ 135874 h 137160"/>
                <a:gd name="connsiteX3" fmla="*/ 43291 w 111442"/>
                <a:gd name="connsiteY3" fmla="*/ 135874 h 137160"/>
                <a:gd name="connsiteX4" fmla="*/ 43291 w 111442"/>
                <a:gd name="connsiteY4" fmla="*/ 30432 h 137160"/>
                <a:gd name="connsiteX5" fmla="*/ 6429 w 111442"/>
                <a:gd name="connsiteY5" fmla="*/ 30432 h 137160"/>
                <a:gd name="connsiteX6" fmla="*/ 6429 w 111442"/>
                <a:gd name="connsiteY6" fmla="*/ 6429 h 137160"/>
                <a:gd name="connsiteX7" fmla="*/ 108442 w 111442"/>
                <a:gd name="connsiteY7" fmla="*/ 6429 h 137160"/>
                <a:gd name="connsiteX8" fmla="*/ 108442 w 111442"/>
                <a:gd name="connsiteY8" fmla="*/ 30432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442" h="137160">
                  <a:moveTo>
                    <a:pt x="109299" y="30432"/>
                  </a:moveTo>
                  <a:lnTo>
                    <a:pt x="72438" y="30432"/>
                  </a:lnTo>
                  <a:lnTo>
                    <a:pt x="72438" y="135874"/>
                  </a:lnTo>
                  <a:lnTo>
                    <a:pt x="43291" y="135874"/>
                  </a:lnTo>
                  <a:lnTo>
                    <a:pt x="43291" y="30432"/>
                  </a:lnTo>
                  <a:lnTo>
                    <a:pt x="6429" y="30432"/>
                  </a:lnTo>
                  <a:lnTo>
                    <a:pt x="6429" y="6429"/>
                  </a:lnTo>
                  <a:lnTo>
                    <a:pt x="108442" y="6429"/>
                  </a:lnTo>
                  <a:lnTo>
                    <a:pt x="108442" y="30432"/>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71" name="任意多边形: 形状 170">
              <a:extLst>
                <a:ext uri="{FF2B5EF4-FFF2-40B4-BE49-F238E27FC236}">
                  <a16:creationId xmlns:a16="http://schemas.microsoft.com/office/drawing/2014/main" id="{EDADF664-AA92-451B-BA7B-EC0B016C29AB}"/>
                </a:ext>
              </a:extLst>
            </p:cNvPr>
            <p:cNvSpPr/>
            <p:nvPr/>
          </p:nvSpPr>
          <p:spPr>
            <a:xfrm>
              <a:off x="10998328" y="4114030"/>
              <a:ext cx="57630" cy="131724"/>
            </a:xfrm>
            <a:custGeom>
              <a:avLst/>
              <a:gdLst>
                <a:gd name="connsiteX0" fmla="*/ 57007 w 60007"/>
                <a:gd name="connsiteY0" fmla="*/ 6429 h 137160"/>
                <a:gd name="connsiteX1" fmla="*/ 57007 w 60007"/>
                <a:gd name="connsiteY1" fmla="*/ 28718 h 137160"/>
                <a:gd name="connsiteX2" fmla="*/ 45863 w 60007"/>
                <a:gd name="connsiteY2" fmla="*/ 28718 h 137160"/>
                <a:gd name="connsiteX3" fmla="*/ 45863 w 60007"/>
                <a:gd name="connsiteY3" fmla="*/ 112728 h 137160"/>
                <a:gd name="connsiteX4" fmla="*/ 57007 w 60007"/>
                <a:gd name="connsiteY4" fmla="*/ 112728 h 137160"/>
                <a:gd name="connsiteX5" fmla="*/ 57007 w 60007"/>
                <a:gd name="connsiteY5" fmla="*/ 135017 h 137160"/>
                <a:gd name="connsiteX6" fmla="*/ 6429 w 60007"/>
                <a:gd name="connsiteY6" fmla="*/ 135017 h 137160"/>
                <a:gd name="connsiteX7" fmla="*/ 6429 w 60007"/>
                <a:gd name="connsiteY7" fmla="*/ 112728 h 137160"/>
                <a:gd name="connsiteX8" fmla="*/ 17574 w 60007"/>
                <a:gd name="connsiteY8" fmla="*/ 112728 h 137160"/>
                <a:gd name="connsiteX9" fmla="*/ 17574 w 60007"/>
                <a:gd name="connsiteY9" fmla="*/ 28718 h 137160"/>
                <a:gd name="connsiteX10" fmla="*/ 6429 w 60007"/>
                <a:gd name="connsiteY10" fmla="*/ 28718 h 137160"/>
                <a:gd name="connsiteX11" fmla="*/ 6429 w 60007"/>
                <a:gd name="connsiteY11" fmla="*/ 6429 h 137160"/>
                <a:gd name="connsiteX12" fmla="*/ 57007 w 60007"/>
                <a:gd name="connsiteY12" fmla="*/ 6429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007" h="137160">
                  <a:moveTo>
                    <a:pt x="57007" y="6429"/>
                  </a:moveTo>
                  <a:lnTo>
                    <a:pt x="57007" y="28718"/>
                  </a:lnTo>
                  <a:lnTo>
                    <a:pt x="45863" y="28718"/>
                  </a:lnTo>
                  <a:lnTo>
                    <a:pt x="45863" y="112728"/>
                  </a:lnTo>
                  <a:lnTo>
                    <a:pt x="57007" y="112728"/>
                  </a:lnTo>
                  <a:lnTo>
                    <a:pt x="57007" y="135017"/>
                  </a:lnTo>
                  <a:lnTo>
                    <a:pt x="6429" y="135017"/>
                  </a:lnTo>
                  <a:lnTo>
                    <a:pt x="6429" y="112728"/>
                  </a:lnTo>
                  <a:lnTo>
                    <a:pt x="17574" y="112728"/>
                  </a:lnTo>
                  <a:lnTo>
                    <a:pt x="17574" y="28718"/>
                  </a:lnTo>
                  <a:lnTo>
                    <a:pt x="6429" y="28718"/>
                  </a:lnTo>
                  <a:lnTo>
                    <a:pt x="6429" y="6429"/>
                  </a:lnTo>
                  <a:lnTo>
                    <a:pt x="57007" y="6429"/>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72" name="任意多边形: 形状 171">
              <a:extLst>
                <a:ext uri="{FF2B5EF4-FFF2-40B4-BE49-F238E27FC236}">
                  <a16:creationId xmlns:a16="http://schemas.microsoft.com/office/drawing/2014/main" id="{E76E1AC9-CD99-4D6E-9E6A-81EDFB11508C}"/>
                </a:ext>
              </a:extLst>
            </p:cNvPr>
            <p:cNvSpPr/>
            <p:nvPr/>
          </p:nvSpPr>
          <p:spPr>
            <a:xfrm>
              <a:off x="11056780" y="4111561"/>
              <a:ext cx="131724" cy="139957"/>
            </a:xfrm>
            <a:custGeom>
              <a:avLst/>
              <a:gdLst>
                <a:gd name="connsiteX0" fmla="*/ 69009 w 137160"/>
                <a:gd name="connsiteY0" fmla="*/ 140160 h 145732"/>
                <a:gd name="connsiteX1" fmla="*/ 23574 w 137160"/>
                <a:gd name="connsiteY1" fmla="*/ 122158 h 145732"/>
                <a:gd name="connsiteX2" fmla="*/ 6429 w 137160"/>
                <a:gd name="connsiteY2" fmla="*/ 75009 h 145732"/>
                <a:gd name="connsiteX3" fmla="*/ 24432 w 137160"/>
                <a:gd name="connsiteY3" fmla="*/ 25289 h 145732"/>
                <a:gd name="connsiteX4" fmla="*/ 71581 w 137160"/>
                <a:gd name="connsiteY4" fmla="*/ 6429 h 145732"/>
                <a:gd name="connsiteX5" fmla="*/ 116157 w 137160"/>
                <a:gd name="connsiteY5" fmla="*/ 24432 h 145732"/>
                <a:gd name="connsiteX6" fmla="*/ 133302 w 137160"/>
                <a:gd name="connsiteY6" fmla="*/ 71580 h 145732"/>
                <a:gd name="connsiteX7" fmla="*/ 115300 w 137160"/>
                <a:gd name="connsiteY7" fmla="*/ 120444 h 145732"/>
                <a:gd name="connsiteX8" fmla="*/ 69009 w 137160"/>
                <a:gd name="connsiteY8" fmla="*/ 140160 h 145732"/>
                <a:gd name="connsiteX9" fmla="*/ 70723 w 137160"/>
                <a:gd name="connsiteY9" fmla="*/ 32147 h 145732"/>
                <a:gd name="connsiteX10" fmla="*/ 46720 w 137160"/>
                <a:gd name="connsiteY10" fmla="*/ 43291 h 145732"/>
                <a:gd name="connsiteX11" fmla="*/ 38148 w 137160"/>
                <a:gd name="connsiteY11" fmla="*/ 73295 h 145732"/>
                <a:gd name="connsiteX12" fmla="*/ 46720 w 137160"/>
                <a:gd name="connsiteY12" fmla="*/ 103299 h 145732"/>
                <a:gd name="connsiteX13" fmla="*/ 69866 w 137160"/>
                <a:gd name="connsiteY13" fmla="*/ 114443 h 145732"/>
                <a:gd name="connsiteX14" fmla="*/ 93869 w 137160"/>
                <a:gd name="connsiteY14" fmla="*/ 103299 h 145732"/>
                <a:gd name="connsiteX15" fmla="*/ 102441 w 137160"/>
                <a:gd name="connsiteY15" fmla="*/ 73295 h 145732"/>
                <a:gd name="connsiteX16" fmla="*/ 93869 w 137160"/>
                <a:gd name="connsiteY16" fmla="*/ 42434 h 145732"/>
                <a:gd name="connsiteX17" fmla="*/ 70723 w 137160"/>
                <a:gd name="connsiteY17" fmla="*/ 32147 h 14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0" h="145732">
                  <a:moveTo>
                    <a:pt x="69009" y="140160"/>
                  </a:moveTo>
                  <a:cubicBezTo>
                    <a:pt x="51006" y="140160"/>
                    <a:pt x="35576" y="134160"/>
                    <a:pt x="23574" y="122158"/>
                  </a:cubicBezTo>
                  <a:cubicBezTo>
                    <a:pt x="11573" y="110157"/>
                    <a:pt x="6429" y="94726"/>
                    <a:pt x="6429" y="75009"/>
                  </a:cubicBezTo>
                  <a:cubicBezTo>
                    <a:pt x="6429" y="54435"/>
                    <a:pt x="12430" y="38148"/>
                    <a:pt x="24432" y="25289"/>
                  </a:cubicBezTo>
                  <a:cubicBezTo>
                    <a:pt x="36433" y="12430"/>
                    <a:pt x="51864" y="6429"/>
                    <a:pt x="71581" y="6429"/>
                  </a:cubicBezTo>
                  <a:cubicBezTo>
                    <a:pt x="89583" y="6429"/>
                    <a:pt x="105013" y="12430"/>
                    <a:pt x="116157" y="24432"/>
                  </a:cubicBezTo>
                  <a:cubicBezTo>
                    <a:pt x="127302" y="36433"/>
                    <a:pt x="133302" y="52721"/>
                    <a:pt x="133302" y="71580"/>
                  </a:cubicBezTo>
                  <a:cubicBezTo>
                    <a:pt x="133302" y="92154"/>
                    <a:pt x="127302" y="108442"/>
                    <a:pt x="115300" y="120444"/>
                  </a:cubicBezTo>
                  <a:cubicBezTo>
                    <a:pt x="103299" y="134160"/>
                    <a:pt x="87868" y="140160"/>
                    <a:pt x="69009" y="140160"/>
                  </a:cubicBezTo>
                  <a:close/>
                  <a:moveTo>
                    <a:pt x="70723" y="32147"/>
                  </a:moveTo>
                  <a:cubicBezTo>
                    <a:pt x="60436" y="32147"/>
                    <a:pt x="52721" y="35576"/>
                    <a:pt x="46720" y="43291"/>
                  </a:cubicBezTo>
                  <a:cubicBezTo>
                    <a:pt x="40719" y="51006"/>
                    <a:pt x="38148" y="61293"/>
                    <a:pt x="38148" y="73295"/>
                  </a:cubicBezTo>
                  <a:cubicBezTo>
                    <a:pt x="38148" y="86154"/>
                    <a:pt x="40719" y="96441"/>
                    <a:pt x="46720" y="103299"/>
                  </a:cubicBezTo>
                  <a:cubicBezTo>
                    <a:pt x="52721" y="111014"/>
                    <a:pt x="60436" y="114443"/>
                    <a:pt x="69866" y="114443"/>
                  </a:cubicBezTo>
                  <a:cubicBezTo>
                    <a:pt x="80153" y="114443"/>
                    <a:pt x="87868" y="111014"/>
                    <a:pt x="93869" y="103299"/>
                  </a:cubicBezTo>
                  <a:cubicBezTo>
                    <a:pt x="99870" y="96441"/>
                    <a:pt x="102441" y="86154"/>
                    <a:pt x="102441" y="73295"/>
                  </a:cubicBezTo>
                  <a:cubicBezTo>
                    <a:pt x="102441" y="59579"/>
                    <a:pt x="99870" y="49292"/>
                    <a:pt x="93869" y="42434"/>
                  </a:cubicBezTo>
                  <a:cubicBezTo>
                    <a:pt x="87868" y="35576"/>
                    <a:pt x="80153" y="32147"/>
                    <a:pt x="70723" y="32147"/>
                  </a:cubicBez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73" name="任意多边形: 形状 172">
              <a:extLst>
                <a:ext uri="{FF2B5EF4-FFF2-40B4-BE49-F238E27FC236}">
                  <a16:creationId xmlns:a16="http://schemas.microsoft.com/office/drawing/2014/main" id="{063AABBC-D1DC-4734-9BEB-C4A1ABAE3639}"/>
                </a:ext>
              </a:extLst>
            </p:cNvPr>
            <p:cNvSpPr/>
            <p:nvPr/>
          </p:nvSpPr>
          <p:spPr>
            <a:xfrm>
              <a:off x="11198383" y="4114030"/>
              <a:ext cx="123491" cy="131724"/>
            </a:xfrm>
            <a:custGeom>
              <a:avLst/>
              <a:gdLst>
                <a:gd name="connsiteX0" fmla="*/ 122158 w 128587"/>
                <a:gd name="connsiteY0" fmla="*/ 135874 h 137160"/>
                <a:gd name="connsiteX1" fmla="*/ 93011 w 128587"/>
                <a:gd name="connsiteY1" fmla="*/ 135874 h 137160"/>
                <a:gd name="connsiteX2" fmla="*/ 39862 w 128587"/>
                <a:gd name="connsiteY2" fmla="*/ 55292 h 137160"/>
                <a:gd name="connsiteX3" fmla="*/ 33004 w 128587"/>
                <a:gd name="connsiteY3" fmla="*/ 45006 h 137160"/>
                <a:gd name="connsiteX4" fmla="*/ 33004 w 128587"/>
                <a:gd name="connsiteY4" fmla="*/ 45006 h 137160"/>
                <a:gd name="connsiteX5" fmla="*/ 33861 w 128587"/>
                <a:gd name="connsiteY5" fmla="*/ 65580 h 137160"/>
                <a:gd name="connsiteX6" fmla="*/ 33861 w 128587"/>
                <a:gd name="connsiteY6" fmla="*/ 135874 h 137160"/>
                <a:gd name="connsiteX7" fmla="*/ 6429 w 128587"/>
                <a:gd name="connsiteY7" fmla="*/ 135874 h 137160"/>
                <a:gd name="connsiteX8" fmla="*/ 6429 w 128587"/>
                <a:gd name="connsiteY8" fmla="*/ 7286 h 137160"/>
                <a:gd name="connsiteX9" fmla="*/ 37290 w 128587"/>
                <a:gd name="connsiteY9" fmla="*/ 7286 h 137160"/>
                <a:gd name="connsiteX10" fmla="*/ 88725 w 128587"/>
                <a:gd name="connsiteY10" fmla="*/ 85296 h 137160"/>
                <a:gd name="connsiteX11" fmla="*/ 95584 w 128587"/>
                <a:gd name="connsiteY11" fmla="*/ 95583 h 137160"/>
                <a:gd name="connsiteX12" fmla="*/ 95584 w 128587"/>
                <a:gd name="connsiteY12" fmla="*/ 95583 h 137160"/>
                <a:gd name="connsiteX13" fmla="*/ 94726 w 128587"/>
                <a:gd name="connsiteY13" fmla="*/ 77581 h 137160"/>
                <a:gd name="connsiteX14" fmla="*/ 94726 w 128587"/>
                <a:gd name="connsiteY14" fmla="*/ 6429 h 137160"/>
                <a:gd name="connsiteX15" fmla="*/ 122158 w 128587"/>
                <a:gd name="connsiteY15" fmla="*/ 6429 h 137160"/>
                <a:gd name="connsiteX16" fmla="*/ 122158 w 128587"/>
                <a:gd name="connsiteY16" fmla="*/ 135874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587" h="137160">
                  <a:moveTo>
                    <a:pt x="122158" y="135874"/>
                  </a:moveTo>
                  <a:lnTo>
                    <a:pt x="93011" y="135874"/>
                  </a:lnTo>
                  <a:lnTo>
                    <a:pt x="39862" y="55292"/>
                  </a:lnTo>
                  <a:cubicBezTo>
                    <a:pt x="36433" y="51006"/>
                    <a:pt x="34719" y="46720"/>
                    <a:pt x="33004" y="45006"/>
                  </a:cubicBezTo>
                  <a:lnTo>
                    <a:pt x="33004" y="45006"/>
                  </a:lnTo>
                  <a:cubicBezTo>
                    <a:pt x="33861" y="49292"/>
                    <a:pt x="33861" y="56150"/>
                    <a:pt x="33861" y="65580"/>
                  </a:cubicBezTo>
                  <a:lnTo>
                    <a:pt x="33861" y="135874"/>
                  </a:lnTo>
                  <a:lnTo>
                    <a:pt x="6429" y="135874"/>
                  </a:lnTo>
                  <a:lnTo>
                    <a:pt x="6429" y="7286"/>
                  </a:lnTo>
                  <a:lnTo>
                    <a:pt x="37290" y="7286"/>
                  </a:lnTo>
                  <a:lnTo>
                    <a:pt x="88725" y="85296"/>
                  </a:lnTo>
                  <a:cubicBezTo>
                    <a:pt x="91297" y="88725"/>
                    <a:pt x="93011" y="92154"/>
                    <a:pt x="95584" y="95583"/>
                  </a:cubicBezTo>
                  <a:lnTo>
                    <a:pt x="95584" y="95583"/>
                  </a:lnTo>
                  <a:cubicBezTo>
                    <a:pt x="94726" y="93011"/>
                    <a:pt x="94726" y="87011"/>
                    <a:pt x="94726" y="77581"/>
                  </a:cubicBezTo>
                  <a:lnTo>
                    <a:pt x="94726" y="6429"/>
                  </a:lnTo>
                  <a:lnTo>
                    <a:pt x="122158" y="6429"/>
                  </a:lnTo>
                  <a:lnTo>
                    <a:pt x="122158" y="13587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74" name="任意多边形: 形状 173">
              <a:extLst>
                <a:ext uri="{FF2B5EF4-FFF2-40B4-BE49-F238E27FC236}">
                  <a16:creationId xmlns:a16="http://schemas.microsoft.com/office/drawing/2014/main" id="{3B85592C-D161-4AE8-B544-5E85ED081B1E}"/>
                </a:ext>
              </a:extLst>
            </p:cNvPr>
            <p:cNvSpPr/>
            <p:nvPr/>
          </p:nvSpPr>
          <p:spPr>
            <a:xfrm>
              <a:off x="10322420" y="4274569"/>
              <a:ext cx="16465" cy="82327"/>
            </a:xfrm>
            <a:custGeom>
              <a:avLst/>
              <a:gdLst>
                <a:gd name="connsiteX0" fmla="*/ 11573 w 17145"/>
                <a:gd name="connsiteY0" fmla="*/ 18431 h 85725"/>
                <a:gd name="connsiteX1" fmla="*/ 8144 w 17145"/>
                <a:gd name="connsiteY1" fmla="*/ 16716 h 85725"/>
                <a:gd name="connsiteX2" fmla="*/ 6429 w 17145"/>
                <a:gd name="connsiteY2" fmla="*/ 12430 h 85725"/>
                <a:gd name="connsiteX3" fmla="*/ 8144 w 17145"/>
                <a:gd name="connsiteY3" fmla="*/ 8144 h 85725"/>
                <a:gd name="connsiteX4" fmla="*/ 11573 w 17145"/>
                <a:gd name="connsiteY4" fmla="*/ 6429 h 85725"/>
                <a:gd name="connsiteX5" fmla="*/ 15859 w 17145"/>
                <a:gd name="connsiteY5" fmla="*/ 8144 h 85725"/>
                <a:gd name="connsiteX6" fmla="*/ 17574 w 17145"/>
                <a:gd name="connsiteY6" fmla="*/ 12430 h 85725"/>
                <a:gd name="connsiteX7" fmla="*/ 15859 w 17145"/>
                <a:gd name="connsiteY7" fmla="*/ 15859 h 85725"/>
                <a:gd name="connsiteX8" fmla="*/ 11573 w 17145"/>
                <a:gd name="connsiteY8" fmla="*/ 18431 h 85725"/>
                <a:gd name="connsiteX9" fmla="*/ 15859 w 17145"/>
                <a:gd name="connsiteY9" fmla="*/ 84439 h 85725"/>
                <a:gd name="connsiteX10" fmla="*/ 7287 w 17145"/>
                <a:gd name="connsiteY10" fmla="*/ 84439 h 85725"/>
                <a:gd name="connsiteX11" fmla="*/ 7287 w 17145"/>
                <a:gd name="connsiteY11" fmla="*/ 32147 h 85725"/>
                <a:gd name="connsiteX12" fmla="*/ 15859 w 17145"/>
                <a:gd name="connsiteY12" fmla="*/ 32147 h 85725"/>
                <a:gd name="connsiteX13" fmla="*/ 15859 w 17145"/>
                <a:gd name="connsiteY13" fmla="*/ 8443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45" h="85725">
                  <a:moveTo>
                    <a:pt x="11573" y="18431"/>
                  </a:moveTo>
                  <a:cubicBezTo>
                    <a:pt x="9859" y="18431"/>
                    <a:pt x="9002" y="17574"/>
                    <a:pt x="8144" y="16716"/>
                  </a:cubicBezTo>
                  <a:cubicBezTo>
                    <a:pt x="7287" y="15859"/>
                    <a:pt x="6429" y="14145"/>
                    <a:pt x="6429" y="12430"/>
                  </a:cubicBezTo>
                  <a:cubicBezTo>
                    <a:pt x="6429" y="10716"/>
                    <a:pt x="7287" y="9858"/>
                    <a:pt x="8144" y="8144"/>
                  </a:cubicBezTo>
                  <a:cubicBezTo>
                    <a:pt x="9002" y="7286"/>
                    <a:pt x="10716" y="6429"/>
                    <a:pt x="11573" y="6429"/>
                  </a:cubicBezTo>
                  <a:cubicBezTo>
                    <a:pt x="13288" y="6429"/>
                    <a:pt x="14145" y="7286"/>
                    <a:pt x="15859" y="8144"/>
                  </a:cubicBezTo>
                  <a:cubicBezTo>
                    <a:pt x="16716" y="9001"/>
                    <a:pt x="17574" y="10716"/>
                    <a:pt x="17574" y="12430"/>
                  </a:cubicBezTo>
                  <a:cubicBezTo>
                    <a:pt x="17574" y="14145"/>
                    <a:pt x="16716" y="15002"/>
                    <a:pt x="15859" y="15859"/>
                  </a:cubicBezTo>
                  <a:cubicBezTo>
                    <a:pt x="14145" y="17574"/>
                    <a:pt x="13288" y="18431"/>
                    <a:pt x="11573" y="18431"/>
                  </a:cubicBezTo>
                  <a:close/>
                  <a:moveTo>
                    <a:pt x="15859" y="84439"/>
                  </a:moveTo>
                  <a:lnTo>
                    <a:pt x="7287" y="84439"/>
                  </a:lnTo>
                  <a:lnTo>
                    <a:pt x="7287" y="32147"/>
                  </a:lnTo>
                  <a:lnTo>
                    <a:pt x="15859" y="32147"/>
                  </a:lnTo>
                  <a:lnTo>
                    <a:pt x="15859" y="84439"/>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75" name="任意多边形: 形状 174">
              <a:extLst>
                <a:ext uri="{FF2B5EF4-FFF2-40B4-BE49-F238E27FC236}">
                  <a16:creationId xmlns:a16="http://schemas.microsoft.com/office/drawing/2014/main" id="{A9E9931C-CC50-440B-840A-F8F238BEF9BC}"/>
                </a:ext>
              </a:extLst>
            </p:cNvPr>
            <p:cNvSpPr/>
            <p:nvPr/>
          </p:nvSpPr>
          <p:spPr>
            <a:xfrm>
              <a:off x="10348764" y="4279509"/>
              <a:ext cx="65862" cy="82327"/>
            </a:xfrm>
            <a:custGeom>
              <a:avLst/>
              <a:gdLst>
                <a:gd name="connsiteX0" fmla="*/ 65580 w 68580"/>
                <a:gd name="connsiteY0" fmla="*/ 79296 h 85725"/>
                <a:gd name="connsiteX1" fmla="*/ 55293 w 68580"/>
                <a:gd name="connsiteY1" fmla="*/ 79296 h 85725"/>
                <a:gd name="connsiteX2" fmla="*/ 17574 w 68580"/>
                <a:gd name="connsiteY2" fmla="*/ 21003 h 85725"/>
                <a:gd name="connsiteX3" fmla="*/ 15002 w 68580"/>
                <a:gd name="connsiteY3" fmla="*/ 16716 h 85725"/>
                <a:gd name="connsiteX4" fmla="*/ 15002 w 68580"/>
                <a:gd name="connsiteY4" fmla="*/ 16716 h 85725"/>
                <a:gd name="connsiteX5" fmla="*/ 15002 w 68580"/>
                <a:gd name="connsiteY5" fmla="*/ 27004 h 85725"/>
                <a:gd name="connsiteX6" fmla="*/ 15002 w 68580"/>
                <a:gd name="connsiteY6" fmla="*/ 80153 h 85725"/>
                <a:gd name="connsiteX7" fmla="*/ 6429 w 68580"/>
                <a:gd name="connsiteY7" fmla="*/ 80153 h 85725"/>
                <a:gd name="connsiteX8" fmla="*/ 6429 w 68580"/>
                <a:gd name="connsiteY8" fmla="*/ 6429 h 85725"/>
                <a:gd name="connsiteX9" fmla="*/ 17574 w 68580"/>
                <a:gd name="connsiteY9" fmla="*/ 6429 h 85725"/>
                <a:gd name="connsiteX10" fmla="*/ 54436 w 68580"/>
                <a:gd name="connsiteY10" fmla="*/ 63865 h 85725"/>
                <a:gd name="connsiteX11" fmla="*/ 57007 w 68580"/>
                <a:gd name="connsiteY11" fmla="*/ 69009 h 85725"/>
                <a:gd name="connsiteX12" fmla="*/ 57007 w 68580"/>
                <a:gd name="connsiteY12" fmla="*/ 69009 h 85725"/>
                <a:gd name="connsiteX13" fmla="*/ 56150 w 68580"/>
                <a:gd name="connsiteY13" fmla="*/ 57864 h 85725"/>
                <a:gd name="connsiteX14" fmla="*/ 56150 w 68580"/>
                <a:gd name="connsiteY14" fmla="*/ 6429 h 85725"/>
                <a:gd name="connsiteX15" fmla="*/ 64722 w 68580"/>
                <a:gd name="connsiteY15" fmla="*/ 6429 h 85725"/>
                <a:gd name="connsiteX16" fmla="*/ 64722 w 68580"/>
                <a:gd name="connsiteY16" fmla="*/ 7929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580" h="85725">
                  <a:moveTo>
                    <a:pt x="65580" y="79296"/>
                  </a:moveTo>
                  <a:lnTo>
                    <a:pt x="55293" y="79296"/>
                  </a:lnTo>
                  <a:lnTo>
                    <a:pt x="17574" y="21003"/>
                  </a:lnTo>
                  <a:cubicBezTo>
                    <a:pt x="16716" y="19288"/>
                    <a:pt x="15859" y="17574"/>
                    <a:pt x="15002" y="16716"/>
                  </a:cubicBezTo>
                  <a:lnTo>
                    <a:pt x="15002" y="16716"/>
                  </a:lnTo>
                  <a:cubicBezTo>
                    <a:pt x="15002" y="18431"/>
                    <a:pt x="15002" y="21860"/>
                    <a:pt x="15002" y="27004"/>
                  </a:cubicBezTo>
                  <a:lnTo>
                    <a:pt x="15002" y="80153"/>
                  </a:lnTo>
                  <a:lnTo>
                    <a:pt x="6429" y="80153"/>
                  </a:lnTo>
                  <a:lnTo>
                    <a:pt x="6429" y="6429"/>
                  </a:lnTo>
                  <a:lnTo>
                    <a:pt x="17574" y="6429"/>
                  </a:lnTo>
                  <a:lnTo>
                    <a:pt x="54436" y="63865"/>
                  </a:lnTo>
                  <a:cubicBezTo>
                    <a:pt x="56150" y="66437"/>
                    <a:pt x="57007" y="68151"/>
                    <a:pt x="57007" y="69009"/>
                  </a:cubicBezTo>
                  <a:lnTo>
                    <a:pt x="57007" y="69009"/>
                  </a:lnTo>
                  <a:cubicBezTo>
                    <a:pt x="57007" y="67294"/>
                    <a:pt x="56150" y="63008"/>
                    <a:pt x="56150" y="57864"/>
                  </a:cubicBezTo>
                  <a:lnTo>
                    <a:pt x="56150" y="6429"/>
                  </a:lnTo>
                  <a:lnTo>
                    <a:pt x="64722" y="6429"/>
                  </a:lnTo>
                  <a:lnTo>
                    <a:pt x="64722" y="79296"/>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76" name="任意多边形: 形状 175">
              <a:extLst>
                <a:ext uri="{FF2B5EF4-FFF2-40B4-BE49-F238E27FC236}">
                  <a16:creationId xmlns:a16="http://schemas.microsoft.com/office/drawing/2014/main" id="{84BBD016-627F-4DC9-ADA0-269C14F52EC6}"/>
                </a:ext>
              </a:extLst>
            </p:cNvPr>
            <p:cNvSpPr/>
            <p:nvPr/>
          </p:nvSpPr>
          <p:spPr>
            <a:xfrm>
              <a:off x="10423683" y="4278685"/>
              <a:ext cx="41164" cy="82327"/>
            </a:xfrm>
            <a:custGeom>
              <a:avLst/>
              <a:gdLst>
                <a:gd name="connsiteX0" fmla="*/ 44148 w 42862"/>
                <a:gd name="connsiteY0" fmla="*/ 14145 h 85725"/>
                <a:gd name="connsiteX1" fmla="*/ 15002 w 42862"/>
                <a:gd name="connsiteY1" fmla="*/ 14145 h 85725"/>
                <a:gd name="connsiteX2" fmla="*/ 15002 w 42862"/>
                <a:gd name="connsiteY2" fmla="*/ 39862 h 85725"/>
                <a:gd name="connsiteX3" fmla="*/ 41576 w 42862"/>
                <a:gd name="connsiteY3" fmla="*/ 39862 h 85725"/>
                <a:gd name="connsiteX4" fmla="*/ 41576 w 42862"/>
                <a:gd name="connsiteY4" fmla="*/ 47577 h 85725"/>
                <a:gd name="connsiteX5" fmla="*/ 15002 w 42862"/>
                <a:gd name="connsiteY5" fmla="*/ 47577 h 85725"/>
                <a:gd name="connsiteX6" fmla="*/ 15002 w 42862"/>
                <a:gd name="connsiteY6" fmla="*/ 80153 h 85725"/>
                <a:gd name="connsiteX7" fmla="*/ 6429 w 42862"/>
                <a:gd name="connsiteY7" fmla="*/ 80153 h 85725"/>
                <a:gd name="connsiteX8" fmla="*/ 6429 w 42862"/>
                <a:gd name="connsiteY8" fmla="*/ 6429 h 85725"/>
                <a:gd name="connsiteX9" fmla="*/ 44148 w 42862"/>
                <a:gd name="connsiteY9" fmla="*/ 6429 h 85725"/>
                <a:gd name="connsiteX10" fmla="*/ 44148 w 42862"/>
                <a:gd name="connsiteY10" fmla="*/ 1414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862" h="85725">
                  <a:moveTo>
                    <a:pt x="44148" y="14145"/>
                  </a:moveTo>
                  <a:lnTo>
                    <a:pt x="15002" y="14145"/>
                  </a:lnTo>
                  <a:lnTo>
                    <a:pt x="15002" y="39862"/>
                  </a:lnTo>
                  <a:lnTo>
                    <a:pt x="41576" y="39862"/>
                  </a:lnTo>
                  <a:lnTo>
                    <a:pt x="41576" y="47577"/>
                  </a:lnTo>
                  <a:lnTo>
                    <a:pt x="15002" y="47577"/>
                  </a:lnTo>
                  <a:lnTo>
                    <a:pt x="15002" y="80153"/>
                  </a:lnTo>
                  <a:lnTo>
                    <a:pt x="6429" y="80153"/>
                  </a:lnTo>
                  <a:lnTo>
                    <a:pt x="6429" y="6429"/>
                  </a:lnTo>
                  <a:lnTo>
                    <a:pt x="44148" y="6429"/>
                  </a:lnTo>
                  <a:lnTo>
                    <a:pt x="44148" y="14145"/>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77" name="任意多边形: 形状 176">
              <a:extLst>
                <a:ext uri="{FF2B5EF4-FFF2-40B4-BE49-F238E27FC236}">
                  <a16:creationId xmlns:a16="http://schemas.microsoft.com/office/drawing/2014/main" id="{9B6151CD-55A2-4128-9E3B-00DCA516233D}"/>
                </a:ext>
              </a:extLst>
            </p:cNvPr>
            <p:cNvSpPr/>
            <p:nvPr/>
          </p:nvSpPr>
          <p:spPr>
            <a:xfrm>
              <a:off x="10468963" y="4277862"/>
              <a:ext cx="74095" cy="82327"/>
            </a:xfrm>
            <a:custGeom>
              <a:avLst/>
              <a:gdLst>
                <a:gd name="connsiteX0" fmla="*/ 40719 w 77152"/>
                <a:gd name="connsiteY0" fmla="*/ 81867 h 85725"/>
                <a:gd name="connsiteX1" fmla="*/ 15859 w 77152"/>
                <a:gd name="connsiteY1" fmla="*/ 71580 h 85725"/>
                <a:gd name="connsiteX2" fmla="*/ 6429 w 77152"/>
                <a:gd name="connsiteY2" fmla="*/ 45006 h 85725"/>
                <a:gd name="connsiteX3" fmla="*/ 15859 w 77152"/>
                <a:gd name="connsiteY3" fmla="*/ 16716 h 85725"/>
                <a:gd name="connsiteX4" fmla="*/ 41576 w 77152"/>
                <a:gd name="connsiteY4" fmla="*/ 6429 h 85725"/>
                <a:gd name="connsiteX5" fmla="*/ 66437 w 77152"/>
                <a:gd name="connsiteY5" fmla="*/ 16716 h 85725"/>
                <a:gd name="connsiteX6" fmla="*/ 75866 w 77152"/>
                <a:gd name="connsiteY6" fmla="*/ 43291 h 85725"/>
                <a:gd name="connsiteX7" fmla="*/ 66437 w 77152"/>
                <a:gd name="connsiteY7" fmla="*/ 71580 h 85725"/>
                <a:gd name="connsiteX8" fmla="*/ 40719 w 77152"/>
                <a:gd name="connsiteY8" fmla="*/ 81867 h 85725"/>
                <a:gd name="connsiteX9" fmla="*/ 40719 w 77152"/>
                <a:gd name="connsiteY9" fmla="*/ 14145 h 85725"/>
                <a:gd name="connsiteX10" fmla="*/ 21860 w 77152"/>
                <a:gd name="connsiteY10" fmla="*/ 22717 h 85725"/>
                <a:gd name="connsiteX11" fmla="*/ 15002 w 77152"/>
                <a:gd name="connsiteY11" fmla="*/ 45006 h 85725"/>
                <a:gd name="connsiteX12" fmla="*/ 21860 w 77152"/>
                <a:gd name="connsiteY12" fmla="*/ 67294 h 85725"/>
                <a:gd name="connsiteX13" fmla="*/ 39862 w 77152"/>
                <a:gd name="connsiteY13" fmla="*/ 75867 h 85725"/>
                <a:gd name="connsiteX14" fmla="*/ 58721 w 77152"/>
                <a:gd name="connsiteY14" fmla="*/ 68151 h 85725"/>
                <a:gd name="connsiteX15" fmla="*/ 65579 w 77152"/>
                <a:gd name="connsiteY15" fmla="*/ 45863 h 85725"/>
                <a:gd name="connsiteX16" fmla="*/ 58721 w 77152"/>
                <a:gd name="connsiteY16" fmla="*/ 23574 h 85725"/>
                <a:gd name="connsiteX17" fmla="*/ 40719 w 77152"/>
                <a:gd name="connsiteY17" fmla="*/ 1414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152" h="85725">
                  <a:moveTo>
                    <a:pt x="40719" y="81867"/>
                  </a:moveTo>
                  <a:cubicBezTo>
                    <a:pt x="30432" y="81867"/>
                    <a:pt x="21860" y="78438"/>
                    <a:pt x="15859" y="71580"/>
                  </a:cubicBezTo>
                  <a:cubicBezTo>
                    <a:pt x="9858" y="64722"/>
                    <a:pt x="6429" y="56150"/>
                    <a:pt x="6429" y="45006"/>
                  </a:cubicBezTo>
                  <a:cubicBezTo>
                    <a:pt x="6429" y="33004"/>
                    <a:pt x="9858" y="23574"/>
                    <a:pt x="15859" y="16716"/>
                  </a:cubicBezTo>
                  <a:cubicBezTo>
                    <a:pt x="21860" y="9858"/>
                    <a:pt x="31289" y="6429"/>
                    <a:pt x="41576" y="6429"/>
                  </a:cubicBezTo>
                  <a:cubicBezTo>
                    <a:pt x="51864" y="6429"/>
                    <a:pt x="59578" y="9858"/>
                    <a:pt x="66437" y="16716"/>
                  </a:cubicBezTo>
                  <a:cubicBezTo>
                    <a:pt x="72437" y="23574"/>
                    <a:pt x="75866" y="32147"/>
                    <a:pt x="75866" y="43291"/>
                  </a:cubicBezTo>
                  <a:cubicBezTo>
                    <a:pt x="75866" y="55292"/>
                    <a:pt x="72437" y="64722"/>
                    <a:pt x="66437" y="71580"/>
                  </a:cubicBezTo>
                  <a:cubicBezTo>
                    <a:pt x="59578" y="78438"/>
                    <a:pt x="51006" y="81867"/>
                    <a:pt x="40719" y="81867"/>
                  </a:cubicBezTo>
                  <a:close/>
                  <a:moveTo>
                    <a:pt x="40719" y="14145"/>
                  </a:moveTo>
                  <a:cubicBezTo>
                    <a:pt x="33004" y="14145"/>
                    <a:pt x="27003" y="16716"/>
                    <a:pt x="21860" y="22717"/>
                  </a:cubicBezTo>
                  <a:cubicBezTo>
                    <a:pt x="16716" y="28718"/>
                    <a:pt x="15002" y="35576"/>
                    <a:pt x="15002" y="45006"/>
                  </a:cubicBezTo>
                  <a:cubicBezTo>
                    <a:pt x="15002" y="54435"/>
                    <a:pt x="17574" y="61293"/>
                    <a:pt x="21860" y="67294"/>
                  </a:cubicBezTo>
                  <a:cubicBezTo>
                    <a:pt x="26146" y="72437"/>
                    <a:pt x="33004" y="75867"/>
                    <a:pt x="39862" y="75867"/>
                  </a:cubicBezTo>
                  <a:cubicBezTo>
                    <a:pt x="47577" y="75867"/>
                    <a:pt x="54435" y="73295"/>
                    <a:pt x="58721" y="68151"/>
                  </a:cubicBezTo>
                  <a:cubicBezTo>
                    <a:pt x="63008" y="63008"/>
                    <a:pt x="65579" y="55292"/>
                    <a:pt x="65579" y="45863"/>
                  </a:cubicBezTo>
                  <a:cubicBezTo>
                    <a:pt x="65579" y="36433"/>
                    <a:pt x="63008" y="28718"/>
                    <a:pt x="58721" y="23574"/>
                  </a:cubicBezTo>
                  <a:cubicBezTo>
                    <a:pt x="55292" y="16716"/>
                    <a:pt x="49292" y="14145"/>
                    <a:pt x="40719" y="14145"/>
                  </a:cubicBez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78" name="任意多边形: 形状 177">
              <a:extLst>
                <a:ext uri="{FF2B5EF4-FFF2-40B4-BE49-F238E27FC236}">
                  <a16:creationId xmlns:a16="http://schemas.microsoft.com/office/drawing/2014/main" id="{8C2777F4-0F34-4AC0-89C8-CB10DB04C8D5}"/>
                </a:ext>
              </a:extLst>
            </p:cNvPr>
            <p:cNvSpPr/>
            <p:nvPr/>
          </p:nvSpPr>
          <p:spPr>
            <a:xfrm>
              <a:off x="10544704" y="4277039"/>
              <a:ext cx="65862" cy="82327"/>
            </a:xfrm>
            <a:custGeom>
              <a:avLst/>
              <a:gdLst>
                <a:gd name="connsiteX0" fmla="*/ 66437 w 68580"/>
                <a:gd name="connsiteY0" fmla="*/ 76724 h 85725"/>
                <a:gd name="connsiteX1" fmla="*/ 41577 w 68580"/>
                <a:gd name="connsiteY1" fmla="*/ 82725 h 85725"/>
                <a:gd name="connsiteX2" fmla="*/ 15859 w 68580"/>
                <a:gd name="connsiteY2" fmla="*/ 72438 h 85725"/>
                <a:gd name="connsiteX3" fmla="*/ 6429 w 68580"/>
                <a:gd name="connsiteY3" fmla="*/ 45863 h 85725"/>
                <a:gd name="connsiteX4" fmla="*/ 17574 w 68580"/>
                <a:gd name="connsiteY4" fmla="*/ 17574 h 85725"/>
                <a:gd name="connsiteX5" fmla="*/ 45006 w 68580"/>
                <a:gd name="connsiteY5" fmla="*/ 6429 h 85725"/>
                <a:gd name="connsiteX6" fmla="*/ 65580 w 68580"/>
                <a:gd name="connsiteY6" fmla="*/ 10716 h 85725"/>
                <a:gd name="connsiteX7" fmla="*/ 65580 w 68580"/>
                <a:gd name="connsiteY7" fmla="*/ 20145 h 85725"/>
                <a:gd name="connsiteX8" fmla="*/ 44149 w 68580"/>
                <a:gd name="connsiteY8" fmla="*/ 14145 h 85725"/>
                <a:gd name="connsiteX9" fmla="*/ 23574 w 68580"/>
                <a:gd name="connsiteY9" fmla="*/ 22717 h 85725"/>
                <a:gd name="connsiteX10" fmla="*/ 15859 w 68580"/>
                <a:gd name="connsiteY10" fmla="*/ 45006 h 85725"/>
                <a:gd name="connsiteX11" fmla="*/ 23574 w 68580"/>
                <a:gd name="connsiteY11" fmla="*/ 67294 h 85725"/>
                <a:gd name="connsiteX12" fmla="*/ 43292 w 68580"/>
                <a:gd name="connsiteY12" fmla="*/ 75009 h 85725"/>
                <a:gd name="connsiteX13" fmla="*/ 57864 w 68580"/>
                <a:gd name="connsiteY13" fmla="*/ 71580 h 85725"/>
                <a:gd name="connsiteX14" fmla="*/ 57864 w 68580"/>
                <a:gd name="connsiteY14" fmla="*/ 51006 h 85725"/>
                <a:gd name="connsiteX15" fmla="*/ 41577 w 68580"/>
                <a:gd name="connsiteY15" fmla="*/ 51006 h 85725"/>
                <a:gd name="connsiteX16" fmla="*/ 41577 w 68580"/>
                <a:gd name="connsiteY16" fmla="*/ 43291 h 85725"/>
                <a:gd name="connsiteX17" fmla="*/ 66437 w 68580"/>
                <a:gd name="connsiteY17" fmla="*/ 43291 h 85725"/>
                <a:gd name="connsiteX18" fmla="*/ 66437 w 68580"/>
                <a:gd name="connsiteY18" fmla="*/ 7672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580" h="85725">
                  <a:moveTo>
                    <a:pt x="66437" y="76724"/>
                  </a:moveTo>
                  <a:cubicBezTo>
                    <a:pt x="58722" y="81010"/>
                    <a:pt x="51006" y="82725"/>
                    <a:pt x="41577" y="82725"/>
                  </a:cubicBezTo>
                  <a:cubicBezTo>
                    <a:pt x="31290" y="82725"/>
                    <a:pt x="22717" y="79296"/>
                    <a:pt x="15859" y="72438"/>
                  </a:cubicBezTo>
                  <a:cubicBezTo>
                    <a:pt x="9002" y="65580"/>
                    <a:pt x="6429" y="57007"/>
                    <a:pt x="6429" y="45863"/>
                  </a:cubicBezTo>
                  <a:cubicBezTo>
                    <a:pt x="6429" y="34719"/>
                    <a:pt x="9859" y="25289"/>
                    <a:pt x="17574" y="17574"/>
                  </a:cubicBezTo>
                  <a:cubicBezTo>
                    <a:pt x="24432" y="9858"/>
                    <a:pt x="33861" y="6429"/>
                    <a:pt x="45006" y="6429"/>
                  </a:cubicBezTo>
                  <a:cubicBezTo>
                    <a:pt x="52721" y="6429"/>
                    <a:pt x="59579" y="8144"/>
                    <a:pt x="65580" y="10716"/>
                  </a:cubicBezTo>
                  <a:lnTo>
                    <a:pt x="65580" y="20145"/>
                  </a:lnTo>
                  <a:cubicBezTo>
                    <a:pt x="59579" y="16716"/>
                    <a:pt x="52721" y="14145"/>
                    <a:pt x="44149" y="14145"/>
                  </a:cubicBezTo>
                  <a:cubicBezTo>
                    <a:pt x="35576" y="14145"/>
                    <a:pt x="29575" y="16716"/>
                    <a:pt x="23574" y="22717"/>
                  </a:cubicBezTo>
                  <a:cubicBezTo>
                    <a:pt x="18431" y="28718"/>
                    <a:pt x="15859" y="35576"/>
                    <a:pt x="15859" y="45006"/>
                  </a:cubicBezTo>
                  <a:cubicBezTo>
                    <a:pt x="15859" y="54435"/>
                    <a:pt x="18431" y="61293"/>
                    <a:pt x="23574" y="67294"/>
                  </a:cubicBezTo>
                  <a:cubicBezTo>
                    <a:pt x="28718" y="72438"/>
                    <a:pt x="34719" y="75009"/>
                    <a:pt x="43292" y="75009"/>
                  </a:cubicBezTo>
                  <a:cubicBezTo>
                    <a:pt x="49292" y="75009"/>
                    <a:pt x="54436" y="74152"/>
                    <a:pt x="57864" y="71580"/>
                  </a:cubicBezTo>
                  <a:lnTo>
                    <a:pt x="57864" y="51006"/>
                  </a:lnTo>
                  <a:lnTo>
                    <a:pt x="41577" y="51006"/>
                  </a:lnTo>
                  <a:lnTo>
                    <a:pt x="41577" y="43291"/>
                  </a:lnTo>
                  <a:lnTo>
                    <a:pt x="66437" y="43291"/>
                  </a:lnTo>
                  <a:lnTo>
                    <a:pt x="66437" y="7672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79" name="任意多边形: 形状 178">
              <a:extLst>
                <a:ext uri="{FF2B5EF4-FFF2-40B4-BE49-F238E27FC236}">
                  <a16:creationId xmlns:a16="http://schemas.microsoft.com/office/drawing/2014/main" id="{631AB70C-6A83-4052-89A1-F8583A29BADE}"/>
                </a:ext>
              </a:extLst>
            </p:cNvPr>
            <p:cNvSpPr/>
            <p:nvPr/>
          </p:nvSpPr>
          <p:spPr>
            <a:xfrm>
              <a:off x="10618798" y="4277862"/>
              <a:ext cx="57630" cy="82327"/>
            </a:xfrm>
            <a:custGeom>
              <a:avLst/>
              <a:gdLst>
                <a:gd name="connsiteX0" fmla="*/ 58722 w 60007"/>
                <a:gd name="connsiteY0" fmla="*/ 81010 h 85725"/>
                <a:gd name="connsiteX1" fmla="*/ 48435 w 60007"/>
                <a:gd name="connsiteY1" fmla="*/ 81010 h 85725"/>
                <a:gd name="connsiteX2" fmla="*/ 36433 w 60007"/>
                <a:gd name="connsiteY2" fmla="*/ 60436 h 85725"/>
                <a:gd name="connsiteX3" fmla="*/ 33004 w 60007"/>
                <a:gd name="connsiteY3" fmla="*/ 55292 h 85725"/>
                <a:gd name="connsiteX4" fmla="*/ 29575 w 60007"/>
                <a:gd name="connsiteY4" fmla="*/ 51864 h 85725"/>
                <a:gd name="connsiteX5" fmla="*/ 26147 w 60007"/>
                <a:gd name="connsiteY5" fmla="*/ 50149 h 85725"/>
                <a:gd name="connsiteX6" fmla="*/ 21860 w 60007"/>
                <a:gd name="connsiteY6" fmla="*/ 49292 h 85725"/>
                <a:gd name="connsiteX7" fmla="*/ 15002 w 60007"/>
                <a:gd name="connsiteY7" fmla="*/ 49292 h 85725"/>
                <a:gd name="connsiteX8" fmla="*/ 15002 w 60007"/>
                <a:gd name="connsiteY8" fmla="*/ 80153 h 85725"/>
                <a:gd name="connsiteX9" fmla="*/ 6429 w 60007"/>
                <a:gd name="connsiteY9" fmla="*/ 80153 h 85725"/>
                <a:gd name="connsiteX10" fmla="*/ 6429 w 60007"/>
                <a:gd name="connsiteY10" fmla="*/ 6429 h 85725"/>
                <a:gd name="connsiteX11" fmla="*/ 28718 w 60007"/>
                <a:gd name="connsiteY11" fmla="*/ 6429 h 85725"/>
                <a:gd name="connsiteX12" fmla="*/ 37291 w 60007"/>
                <a:gd name="connsiteY12" fmla="*/ 7287 h 85725"/>
                <a:gd name="connsiteX13" fmla="*/ 44149 w 60007"/>
                <a:gd name="connsiteY13" fmla="*/ 10716 h 85725"/>
                <a:gd name="connsiteX14" fmla="*/ 48435 w 60007"/>
                <a:gd name="connsiteY14" fmla="*/ 16716 h 85725"/>
                <a:gd name="connsiteX15" fmla="*/ 50149 w 60007"/>
                <a:gd name="connsiteY15" fmla="*/ 25289 h 85725"/>
                <a:gd name="connsiteX16" fmla="*/ 49292 w 60007"/>
                <a:gd name="connsiteY16" fmla="*/ 32147 h 85725"/>
                <a:gd name="connsiteX17" fmla="*/ 45863 w 60007"/>
                <a:gd name="connsiteY17" fmla="*/ 38147 h 85725"/>
                <a:gd name="connsiteX18" fmla="*/ 40719 w 60007"/>
                <a:gd name="connsiteY18" fmla="*/ 42434 h 85725"/>
                <a:gd name="connsiteX19" fmla="*/ 33861 w 60007"/>
                <a:gd name="connsiteY19" fmla="*/ 45006 h 85725"/>
                <a:gd name="connsiteX20" fmla="*/ 33861 w 60007"/>
                <a:gd name="connsiteY20" fmla="*/ 45006 h 85725"/>
                <a:gd name="connsiteX21" fmla="*/ 37291 w 60007"/>
                <a:gd name="connsiteY21" fmla="*/ 46720 h 85725"/>
                <a:gd name="connsiteX22" fmla="*/ 39862 w 60007"/>
                <a:gd name="connsiteY22" fmla="*/ 49292 h 85725"/>
                <a:gd name="connsiteX23" fmla="*/ 42434 w 60007"/>
                <a:gd name="connsiteY23" fmla="*/ 52721 h 85725"/>
                <a:gd name="connsiteX24" fmla="*/ 45006 w 60007"/>
                <a:gd name="connsiteY24" fmla="*/ 57007 h 85725"/>
                <a:gd name="connsiteX25" fmla="*/ 58722 w 60007"/>
                <a:gd name="connsiteY25" fmla="*/ 81010 h 85725"/>
                <a:gd name="connsiteX26" fmla="*/ 15002 w 60007"/>
                <a:gd name="connsiteY26" fmla="*/ 15002 h 85725"/>
                <a:gd name="connsiteX27" fmla="*/ 15002 w 60007"/>
                <a:gd name="connsiteY27" fmla="*/ 41577 h 85725"/>
                <a:gd name="connsiteX28" fmla="*/ 27004 w 60007"/>
                <a:gd name="connsiteY28" fmla="*/ 41577 h 85725"/>
                <a:gd name="connsiteX29" fmla="*/ 33004 w 60007"/>
                <a:gd name="connsiteY29" fmla="*/ 40719 h 85725"/>
                <a:gd name="connsiteX30" fmla="*/ 38148 w 60007"/>
                <a:gd name="connsiteY30" fmla="*/ 38147 h 85725"/>
                <a:gd name="connsiteX31" fmla="*/ 41577 w 60007"/>
                <a:gd name="connsiteY31" fmla="*/ 33861 h 85725"/>
                <a:gd name="connsiteX32" fmla="*/ 42434 w 60007"/>
                <a:gd name="connsiteY32" fmla="*/ 27861 h 85725"/>
                <a:gd name="connsiteX33" fmla="*/ 39005 w 60007"/>
                <a:gd name="connsiteY33" fmla="*/ 18431 h 85725"/>
                <a:gd name="connsiteX34" fmla="*/ 27861 w 60007"/>
                <a:gd name="connsiteY34" fmla="*/ 15002 h 85725"/>
                <a:gd name="connsiteX35" fmla="*/ 15002 w 60007"/>
                <a:gd name="connsiteY35" fmla="*/ 15002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007" h="85725">
                  <a:moveTo>
                    <a:pt x="58722" y="81010"/>
                  </a:moveTo>
                  <a:lnTo>
                    <a:pt x="48435" y="81010"/>
                  </a:lnTo>
                  <a:lnTo>
                    <a:pt x="36433" y="60436"/>
                  </a:lnTo>
                  <a:cubicBezTo>
                    <a:pt x="35576" y="58722"/>
                    <a:pt x="33861" y="57007"/>
                    <a:pt x="33004" y="55292"/>
                  </a:cubicBezTo>
                  <a:cubicBezTo>
                    <a:pt x="32147" y="53578"/>
                    <a:pt x="31290" y="52721"/>
                    <a:pt x="29575" y="51864"/>
                  </a:cubicBezTo>
                  <a:cubicBezTo>
                    <a:pt x="28718" y="51006"/>
                    <a:pt x="27004" y="50149"/>
                    <a:pt x="26147" y="50149"/>
                  </a:cubicBezTo>
                  <a:cubicBezTo>
                    <a:pt x="25289" y="50149"/>
                    <a:pt x="23574" y="49292"/>
                    <a:pt x="21860" y="49292"/>
                  </a:cubicBezTo>
                  <a:lnTo>
                    <a:pt x="15002" y="49292"/>
                  </a:lnTo>
                  <a:lnTo>
                    <a:pt x="15002" y="80153"/>
                  </a:lnTo>
                  <a:lnTo>
                    <a:pt x="6429" y="80153"/>
                  </a:lnTo>
                  <a:lnTo>
                    <a:pt x="6429" y="6429"/>
                  </a:lnTo>
                  <a:lnTo>
                    <a:pt x="28718" y="6429"/>
                  </a:lnTo>
                  <a:cubicBezTo>
                    <a:pt x="32147" y="6429"/>
                    <a:pt x="34719" y="6429"/>
                    <a:pt x="37291" y="7287"/>
                  </a:cubicBezTo>
                  <a:cubicBezTo>
                    <a:pt x="39862" y="8144"/>
                    <a:pt x="42434" y="9001"/>
                    <a:pt x="44149" y="10716"/>
                  </a:cubicBezTo>
                  <a:cubicBezTo>
                    <a:pt x="45863" y="12430"/>
                    <a:pt x="47578" y="14145"/>
                    <a:pt x="48435" y="16716"/>
                  </a:cubicBezTo>
                  <a:cubicBezTo>
                    <a:pt x="49292" y="19288"/>
                    <a:pt x="50149" y="21860"/>
                    <a:pt x="50149" y="25289"/>
                  </a:cubicBezTo>
                  <a:cubicBezTo>
                    <a:pt x="50149" y="27861"/>
                    <a:pt x="50149" y="30432"/>
                    <a:pt x="49292" y="32147"/>
                  </a:cubicBezTo>
                  <a:cubicBezTo>
                    <a:pt x="48435" y="33861"/>
                    <a:pt x="47578" y="36433"/>
                    <a:pt x="45863" y="38147"/>
                  </a:cubicBezTo>
                  <a:cubicBezTo>
                    <a:pt x="44149" y="39862"/>
                    <a:pt x="42434" y="41577"/>
                    <a:pt x="40719" y="42434"/>
                  </a:cubicBezTo>
                  <a:cubicBezTo>
                    <a:pt x="39005" y="43291"/>
                    <a:pt x="36433" y="44148"/>
                    <a:pt x="33861" y="45006"/>
                  </a:cubicBezTo>
                  <a:lnTo>
                    <a:pt x="33861" y="45006"/>
                  </a:lnTo>
                  <a:cubicBezTo>
                    <a:pt x="34719" y="45863"/>
                    <a:pt x="36433" y="45863"/>
                    <a:pt x="37291" y="46720"/>
                  </a:cubicBezTo>
                  <a:cubicBezTo>
                    <a:pt x="38148" y="47577"/>
                    <a:pt x="39005" y="48435"/>
                    <a:pt x="39862" y="49292"/>
                  </a:cubicBezTo>
                  <a:cubicBezTo>
                    <a:pt x="40719" y="50149"/>
                    <a:pt x="41577" y="51006"/>
                    <a:pt x="42434" y="52721"/>
                  </a:cubicBezTo>
                  <a:cubicBezTo>
                    <a:pt x="43292" y="53578"/>
                    <a:pt x="44149" y="55292"/>
                    <a:pt x="45006" y="57007"/>
                  </a:cubicBezTo>
                  <a:lnTo>
                    <a:pt x="58722" y="81010"/>
                  </a:lnTo>
                  <a:close/>
                  <a:moveTo>
                    <a:pt x="15002" y="15002"/>
                  </a:moveTo>
                  <a:lnTo>
                    <a:pt x="15002" y="41577"/>
                  </a:lnTo>
                  <a:lnTo>
                    <a:pt x="27004" y="41577"/>
                  </a:lnTo>
                  <a:cubicBezTo>
                    <a:pt x="29575" y="41577"/>
                    <a:pt x="31290" y="41577"/>
                    <a:pt x="33004" y="40719"/>
                  </a:cubicBezTo>
                  <a:cubicBezTo>
                    <a:pt x="34719" y="39862"/>
                    <a:pt x="36433" y="39005"/>
                    <a:pt x="38148" y="38147"/>
                  </a:cubicBezTo>
                  <a:cubicBezTo>
                    <a:pt x="39862" y="37290"/>
                    <a:pt x="40719" y="35576"/>
                    <a:pt x="41577" y="33861"/>
                  </a:cubicBezTo>
                  <a:cubicBezTo>
                    <a:pt x="42434" y="32147"/>
                    <a:pt x="42434" y="30432"/>
                    <a:pt x="42434" y="27861"/>
                  </a:cubicBezTo>
                  <a:cubicBezTo>
                    <a:pt x="42434" y="23574"/>
                    <a:pt x="41577" y="21002"/>
                    <a:pt x="39005" y="18431"/>
                  </a:cubicBezTo>
                  <a:cubicBezTo>
                    <a:pt x="36433" y="15859"/>
                    <a:pt x="33004" y="15002"/>
                    <a:pt x="27861" y="15002"/>
                  </a:cubicBezTo>
                  <a:lnTo>
                    <a:pt x="15002" y="15002"/>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80" name="任意多边形: 形状 179">
              <a:extLst>
                <a:ext uri="{FF2B5EF4-FFF2-40B4-BE49-F238E27FC236}">
                  <a16:creationId xmlns:a16="http://schemas.microsoft.com/office/drawing/2014/main" id="{765204C3-0153-47A5-84FF-6A6BCAE794A1}"/>
                </a:ext>
              </a:extLst>
            </p:cNvPr>
            <p:cNvSpPr/>
            <p:nvPr/>
          </p:nvSpPr>
          <p:spPr>
            <a:xfrm>
              <a:off x="10670665" y="4278685"/>
              <a:ext cx="74095" cy="82327"/>
            </a:xfrm>
            <a:custGeom>
              <a:avLst/>
              <a:gdLst>
                <a:gd name="connsiteX0" fmla="*/ 71580 w 77152"/>
                <a:gd name="connsiteY0" fmla="*/ 80153 h 85725"/>
                <a:gd name="connsiteX1" fmla="*/ 62151 w 77152"/>
                <a:gd name="connsiteY1" fmla="*/ 80153 h 85725"/>
                <a:gd name="connsiteX2" fmla="*/ 54435 w 77152"/>
                <a:gd name="connsiteY2" fmla="*/ 59579 h 85725"/>
                <a:gd name="connsiteX3" fmla="*/ 23574 w 77152"/>
                <a:gd name="connsiteY3" fmla="*/ 59579 h 85725"/>
                <a:gd name="connsiteX4" fmla="*/ 15859 w 77152"/>
                <a:gd name="connsiteY4" fmla="*/ 80153 h 85725"/>
                <a:gd name="connsiteX5" fmla="*/ 6429 w 77152"/>
                <a:gd name="connsiteY5" fmla="*/ 80153 h 85725"/>
                <a:gd name="connsiteX6" fmla="*/ 34719 w 77152"/>
                <a:gd name="connsiteY6" fmla="*/ 6429 h 85725"/>
                <a:gd name="connsiteX7" fmla="*/ 43291 w 77152"/>
                <a:gd name="connsiteY7" fmla="*/ 6429 h 85725"/>
                <a:gd name="connsiteX8" fmla="*/ 71580 w 77152"/>
                <a:gd name="connsiteY8" fmla="*/ 80153 h 85725"/>
                <a:gd name="connsiteX9" fmla="*/ 51864 w 77152"/>
                <a:gd name="connsiteY9" fmla="*/ 51864 h 85725"/>
                <a:gd name="connsiteX10" fmla="*/ 40719 w 77152"/>
                <a:gd name="connsiteY10" fmla="*/ 20145 h 85725"/>
                <a:gd name="connsiteX11" fmla="*/ 39862 w 77152"/>
                <a:gd name="connsiteY11" fmla="*/ 15002 h 85725"/>
                <a:gd name="connsiteX12" fmla="*/ 39862 w 77152"/>
                <a:gd name="connsiteY12" fmla="*/ 15002 h 85725"/>
                <a:gd name="connsiteX13" fmla="*/ 39005 w 77152"/>
                <a:gd name="connsiteY13" fmla="*/ 20145 h 85725"/>
                <a:gd name="connsiteX14" fmla="*/ 27861 w 77152"/>
                <a:gd name="connsiteY14" fmla="*/ 51864 h 85725"/>
                <a:gd name="connsiteX15" fmla="*/ 51864 w 77152"/>
                <a:gd name="connsiteY15" fmla="*/ 5186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152" h="85725">
                  <a:moveTo>
                    <a:pt x="71580" y="80153"/>
                  </a:moveTo>
                  <a:lnTo>
                    <a:pt x="62151" y="80153"/>
                  </a:lnTo>
                  <a:lnTo>
                    <a:pt x="54435" y="59579"/>
                  </a:lnTo>
                  <a:lnTo>
                    <a:pt x="23574" y="59579"/>
                  </a:lnTo>
                  <a:lnTo>
                    <a:pt x="15859" y="80153"/>
                  </a:lnTo>
                  <a:lnTo>
                    <a:pt x="6429" y="80153"/>
                  </a:lnTo>
                  <a:lnTo>
                    <a:pt x="34719" y="6429"/>
                  </a:lnTo>
                  <a:lnTo>
                    <a:pt x="43291" y="6429"/>
                  </a:lnTo>
                  <a:lnTo>
                    <a:pt x="71580" y="80153"/>
                  </a:lnTo>
                  <a:close/>
                  <a:moveTo>
                    <a:pt x="51864" y="51864"/>
                  </a:moveTo>
                  <a:lnTo>
                    <a:pt x="40719" y="20145"/>
                  </a:lnTo>
                  <a:cubicBezTo>
                    <a:pt x="40719" y="19288"/>
                    <a:pt x="39862" y="17574"/>
                    <a:pt x="39862" y="15002"/>
                  </a:cubicBezTo>
                  <a:lnTo>
                    <a:pt x="39862" y="15002"/>
                  </a:lnTo>
                  <a:cubicBezTo>
                    <a:pt x="39862" y="16716"/>
                    <a:pt x="39005" y="18431"/>
                    <a:pt x="39005" y="20145"/>
                  </a:cubicBezTo>
                  <a:lnTo>
                    <a:pt x="27861" y="51864"/>
                  </a:lnTo>
                  <a:lnTo>
                    <a:pt x="51864" y="5186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81" name="任意多边形: 形状 180">
              <a:extLst>
                <a:ext uri="{FF2B5EF4-FFF2-40B4-BE49-F238E27FC236}">
                  <a16:creationId xmlns:a16="http://schemas.microsoft.com/office/drawing/2014/main" id="{82F5936D-FC6B-4FBD-A463-9B494C5868D7}"/>
                </a:ext>
              </a:extLst>
            </p:cNvPr>
            <p:cNvSpPr/>
            <p:nvPr/>
          </p:nvSpPr>
          <p:spPr>
            <a:xfrm>
              <a:off x="10743936" y="4277862"/>
              <a:ext cx="49396" cy="82327"/>
            </a:xfrm>
            <a:custGeom>
              <a:avLst/>
              <a:gdLst>
                <a:gd name="connsiteX0" fmla="*/ 15002 w 51435"/>
                <a:gd name="connsiteY0" fmla="*/ 52721 h 85725"/>
                <a:gd name="connsiteX1" fmla="*/ 15002 w 51435"/>
                <a:gd name="connsiteY1" fmla="*/ 80153 h 85725"/>
                <a:gd name="connsiteX2" fmla="*/ 6429 w 51435"/>
                <a:gd name="connsiteY2" fmla="*/ 80153 h 85725"/>
                <a:gd name="connsiteX3" fmla="*/ 6429 w 51435"/>
                <a:gd name="connsiteY3" fmla="*/ 6429 h 85725"/>
                <a:gd name="connsiteX4" fmla="*/ 27004 w 51435"/>
                <a:gd name="connsiteY4" fmla="*/ 6429 h 85725"/>
                <a:gd name="connsiteX5" fmla="*/ 45006 w 51435"/>
                <a:gd name="connsiteY5" fmla="*/ 12430 h 85725"/>
                <a:gd name="connsiteX6" fmla="*/ 51864 w 51435"/>
                <a:gd name="connsiteY6" fmla="*/ 28718 h 85725"/>
                <a:gd name="connsiteX7" fmla="*/ 45006 w 51435"/>
                <a:gd name="connsiteY7" fmla="*/ 45863 h 85725"/>
                <a:gd name="connsiteX8" fmla="*/ 25289 w 51435"/>
                <a:gd name="connsiteY8" fmla="*/ 52721 h 85725"/>
                <a:gd name="connsiteX9" fmla="*/ 15002 w 51435"/>
                <a:gd name="connsiteY9" fmla="*/ 52721 h 85725"/>
                <a:gd name="connsiteX10" fmla="*/ 15002 w 51435"/>
                <a:gd name="connsiteY10" fmla="*/ 15002 h 85725"/>
                <a:gd name="connsiteX11" fmla="*/ 15002 w 51435"/>
                <a:gd name="connsiteY11" fmla="*/ 45006 h 85725"/>
                <a:gd name="connsiteX12" fmla="*/ 24432 w 51435"/>
                <a:gd name="connsiteY12" fmla="*/ 45006 h 85725"/>
                <a:gd name="connsiteX13" fmla="*/ 38148 w 51435"/>
                <a:gd name="connsiteY13" fmla="*/ 40719 h 85725"/>
                <a:gd name="connsiteX14" fmla="*/ 42434 w 51435"/>
                <a:gd name="connsiteY14" fmla="*/ 29575 h 85725"/>
                <a:gd name="connsiteX15" fmla="*/ 25289 w 51435"/>
                <a:gd name="connsiteY15" fmla="*/ 15002 h 85725"/>
                <a:gd name="connsiteX16" fmla="*/ 15002 w 51435"/>
                <a:gd name="connsiteY16" fmla="*/ 15002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435" h="85725">
                  <a:moveTo>
                    <a:pt x="15002" y="52721"/>
                  </a:moveTo>
                  <a:lnTo>
                    <a:pt x="15002" y="80153"/>
                  </a:lnTo>
                  <a:lnTo>
                    <a:pt x="6429" y="80153"/>
                  </a:lnTo>
                  <a:lnTo>
                    <a:pt x="6429" y="6429"/>
                  </a:lnTo>
                  <a:lnTo>
                    <a:pt x="27004" y="6429"/>
                  </a:lnTo>
                  <a:cubicBezTo>
                    <a:pt x="34719" y="6429"/>
                    <a:pt x="40719" y="8144"/>
                    <a:pt x="45006" y="12430"/>
                  </a:cubicBezTo>
                  <a:cubicBezTo>
                    <a:pt x="49292" y="15859"/>
                    <a:pt x="51864" y="21860"/>
                    <a:pt x="51864" y="28718"/>
                  </a:cubicBezTo>
                  <a:cubicBezTo>
                    <a:pt x="51864" y="35576"/>
                    <a:pt x="49292" y="41577"/>
                    <a:pt x="45006" y="45863"/>
                  </a:cubicBezTo>
                  <a:cubicBezTo>
                    <a:pt x="39862" y="50149"/>
                    <a:pt x="33861" y="52721"/>
                    <a:pt x="25289" y="52721"/>
                  </a:cubicBezTo>
                  <a:lnTo>
                    <a:pt x="15002" y="52721"/>
                  </a:lnTo>
                  <a:close/>
                  <a:moveTo>
                    <a:pt x="15002" y="15002"/>
                  </a:moveTo>
                  <a:lnTo>
                    <a:pt x="15002" y="45006"/>
                  </a:lnTo>
                  <a:lnTo>
                    <a:pt x="24432" y="45006"/>
                  </a:lnTo>
                  <a:cubicBezTo>
                    <a:pt x="30432" y="45006"/>
                    <a:pt x="34719" y="43291"/>
                    <a:pt x="38148" y="40719"/>
                  </a:cubicBezTo>
                  <a:cubicBezTo>
                    <a:pt x="41577" y="38147"/>
                    <a:pt x="42434" y="33861"/>
                    <a:pt x="42434" y="29575"/>
                  </a:cubicBezTo>
                  <a:cubicBezTo>
                    <a:pt x="42434" y="20145"/>
                    <a:pt x="36433" y="15002"/>
                    <a:pt x="25289" y="15002"/>
                  </a:cubicBezTo>
                  <a:lnTo>
                    <a:pt x="15002" y="15002"/>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82" name="任意多边形: 形状 181">
              <a:extLst>
                <a:ext uri="{FF2B5EF4-FFF2-40B4-BE49-F238E27FC236}">
                  <a16:creationId xmlns:a16="http://schemas.microsoft.com/office/drawing/2014/main" id="{7E02CA8B-6E33-4398-AE4E-AE29182A7E50}"/>
                </a:ext>
              </a:extLst>
            </p:cNvPr>
            <p:cNvSpPr/>
            <p:nvPr/>
          </p:nvSpPr>
          <p:spPr>
            <a:xfrm>
              <a:off x="10800742" y="4278685"/>
              <a:ext cx="57630" cy="82327"/>
            </a:xfrm>
            <a:custGeom>
              <a:avLst/>
              <a:gdLst>
                <a:gd name="connsiteX0" fmla="*/ 61293 w 60007"/>
                <a:gd name="connsiteY0" fmla="*/ 80153 h 85725"/>
                <a:gd name="connsiteX1" fmla="*/ 52721 w 60007"/>
                <a:gd name="connsiteY1" fmla="*/ 80153 h 85725"/>
                <a:gd name="connsiteX2" fmla="*/ 52721 w 60007"/>
                <a:gd name="connsiteY2" fmla="*/ 46720 h 85725"/>
                <a:gd name="connsiteX3" fmla="*/ 15002 w 60007"/>
                <a:gd name="connsiteY3" fmla="*/ 46720 h 85725"/>
                <a:gd name="connsiteX4" fmla="*/ 15002 w 60007"/>
                <a:gd name="connsiteY4" fmla="*/ 80153 h 85725"/>
                <a:gd name="connsiteX5" fmla="*/ 6429 w 60007"/>
                <a:gd name="connsiteY5" fmla="*/ 80153 h 85725"/>
                <a:gd name="connsiteX6" fmla="*/ 6429 w 60007"/>
                <a:gd name="connsiteY6" fmla="*/ 6429 h 85725"/>
                <a:gd name="connsiteX7" fmla="*/ 15002 w 60007"/>
                <a:gd name="connsiteY7" fmla="*/ 6429 h 85725"/>
                <a:gd name="connsiteX8" fmla="*/ 15002 w 60007"/>
                <a:gd name="connsiteY8" fmla="*/ 39005 h 85725"/>
                <a:gd name="connsiteX9" fmla="*/ 52721 w 60007"/>
                <a:gd name="connsiteY9" fmla="*/ 39005 h 85725"/>
                <a:gd name="connsiteX10" fmla="*/ 52721 w 60007"/>
                <a:gd name="connsiteY10" fmla="*/ 6429 h 85725"/>
                <a:gd name="connsiteX11" fmla="*/ 61293 w 60007"/>
                <a:gd name="connsiteY11" fmla="*/ 6429 h 85725"/>
                <a:gd name="connsiteX12" fmla="*/ 61293 w 60007"/>
                <a:gd name="connsiteY12" fmla="*/ 8015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007" h="85725">
                  <a:moveTo>
                    <a:pt x="61293" y="80153"/>
                  </a:moveTo>
                  <a:lnTo>
                    <a:pt x="52721" y="80153"/>
                  </a:lnTo>
                  <a:lnTo>
                    <a:pt x="52721" y="46720"/>
                  </a:lnTo>
                  <a:lnTo>
                    <a:pt x="15002" y="46720"/>
                  </a:lnTo>
                  <a:lnTo>
                    <a:pt x="15002" y="80153"/>
                  </a:lnTo>
                  <a:lnTo>
                    <a:pt x="6429" y="80153"/>
                  </a:lnTo>
                  <a:lnTo>
                    <a:pt x="6429" y="6429"/>
                  </a:lnTo>
                  <a:lnTo>
                    <a:pt x="15002" y="6429"/>
                  </a:lnTo>
                  <a:lnTo>
                    <a:pt x="15002" y="39005"/>
                  </a:lnTo>
                  <a:lnTo>
                    <a:pt x="52721" y="39005"/>
                  </a:lnTo>
                  <a:lnTo>
                    <a:pt x="52721" y="6429"/>
                  </a:lnTo>
                  <a:lnTo>
                    <a:pt x="61293" y="6429"/>
                  </a:lnTo>
                  <a:lnTo>
                    <a:pt x="61293" y="80153"/>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83" name="任意多边形: 形状 182">
              <a:extLst>
                <a:ext uri="{FF2B5EF4-FFF2-40B4-BE49-F238E27FC236}">
                  <a16:creationId xmlns:a16="http://schemas.microsoft.com/office/drawing/2014/main" id="{6A689D7E-F9C5-4A22-8A18-5ED5C9D23B73}"/>
                </a:ext>
              </a:extLst>
            </p:cNvPr>
            <p:cNvSpPr/>
            <p:nvPr/>
          </p:nvSpPr>
          <p:spPr>
            <a:xfrm>
              <a:off x="10864957" y="4278685"/>
              <a:ext cx="32931" cy="82327"/>
            </a:xfrm>
            <a:custGeom>
              <a:avLst/>
              <a:gdLst>
                <a:gd name="connsiteX0" fmla="*/ 29575 w 34290"/>
                <a:gd name="connsiteY0" fmla="*/ 6429 h 85725"/>
                <a:gd name="connsiteX1" fmla="*/ 29575 w 34290"/>
                <a:gd name="connsiteY1" fmla="*/ 14145 h 85725"/>
                <a:gd name="connsiteX2" fmla="*/ 22717 w 34290"/>
                <a:gd name="connsiteY2" fmla="*/ 14145 h 85725"/>
                <a:gd name="connsiteX3" fmla="*/ 22717 w 34290"/>
                <a:gd name="connsiteY3" fmla="*/ 73295 h 85725"/>
                <a:gd name="connsiteX4" fmla="*/ 29575 w 34290"/>
                <a:gd name="connsiteY4" fmla="*/ 73295 h 85725"/>
                <a:gd name="connsiteX5" fmla="*/ 29575 w 34290"/>
                <a:gd name="connsiteY5" fmla="*/ 81010 h 85725"/>
                <a:gd name="connsiteX6" fmla="*/ 6429 w 34290"/>
                <a:gd name="connsiteY6" fmla="*/ 81010 h 85725"/>
                <a:gd name="connsiteX7" fmla="*/ 6429 w 34290"/>
                <a:gd name="connsiteY7" fmla="*/ 73295 h 85725"/>
                <a:gd name="connsiteX8" fmla="*/ 13287 w 34290"/>
                <a:gd name="connsiteY8" fmla="*/ 73295 h 85725"/>
                <a:gd name="connsiteX9" fmla="*/ 13287 w 34290"/>
                <a:gd name="connsiteY9" fmla="*/ 14145 h 85725"/>
                <a:gd name="connsiteX10" fmla="*/ 6429 w 34290"/>
                <a:gd name="connsiteY10" fmla="*/ 14145 h 85725"/>
                <a:gd name="connsiteX11" fmla="*/ 6429 w 34290"/>
                <a:gd name="connsiteY11" fmla="*/ 6429 h 85725"/>
                <a:gd name="connsiteX12" fmla="*/ 29575 w 34290"/>
                <a:gd name="connsiteY12" fmla="*/ 642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290" h="85725">
                  <a:moveTo>
                    <a:pt x="29575" y="6429"/>
                  </a:moveTo>
                  <a:lnTo>
                    <a:pt x="29575" y="14145"/>
                  </a:lnTo>
                  <a:lnTo>
                    <a:pt x="22717" y="14145"/>
                  </a:lnTo>
                  <a:lnTo>
                    <a:pt x="22717" y="73295"/>
                  </a:lnTo>
                  <a:lnTo>
                    <a:pt x="29575" y="73295"/>
                  </a:lnTo>
                  <a:lnTo>
                    <a:pt x="29575" y="81010"/>
                  </a:lnTo>
                  <a:lnTo>
                    <a:pt x="6429" y="81010"/>
                  </a:lnTo>
                  <a:lnTo>
                    <a:pt x="6429" y="73295"/>
                  </a:lnTo>
                  <a:lnTo>
                    <a:pt x="13287" y="73295"/>
                  </a:lnTo>
                  <a:lnTo>
                    <a:pt x="13287" y="14145"/>
                  </a:lnTo>
                  <a:lnTo>
                    <a:pt x="6429" y="14145"/>
                  </a:lnTo>
                  <a:lnTo>
                    <a:pt x="6429" y="6429"/>
                  </a:lnTo>
                  <a:lnTo>
                    <a:pt x="29575" y="6429"/>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84" name="任意多边形: 形状 183">
              <a:extLst>
                <a:ext uri="{FF2B5EF4-FFF2-40B4-BE49-F238E27FC236}">
                  <a16:creationId xmlns:a16="http://schemas.microsoft.com/office/drawing/2014/main" id="{DC206183-1783-467C-B776-17DD906AD496}"/>
                </a:ext>
              </a:extLst>
            </p:cNvPr>
            <p:cNvSpPr/>
            <p:nvPr/>
          </p:nvSpPr>
          <p:spPr>
            <a:xfrm>
              <a:off x="10893772" y="4277039"/>
              <a:ext cx="57630" cy="82327"/>
            </a:xfrm>
            <a:custGeom>
              <a:avLst/>
              <a:gdLst>
                <a:gd name="connsiteX0" fmla="*/ 61294 w 60007"/>
                <a:gd name="connsiteY0" fmla="*/ 78438 h 85725"/>
                <a:gd name="connsiteX1" fmla="*/ 40719 w 60007"/>
                <a:gd name="connsiteY1" fmla="*/ 82725 h 85725"/>
                <a:gd name="connsiteX2" fmla="*/ 15859 w 60007"/>
                <a:gd name="connsiteY2" fmla="*/ 72438 h 85725"/>
                <a:gd name="connsiteX3" fmla="*/ 6429 w 60007"/>
                <a:gd name="connsiteY3" fmla="*/ 45863 h 85725"/>
                <a:gd name="connsiteX4" fmla="*/ 16716 w 60007"/>
                <a:gd name="connsiteY4" fmla="*/ 17574 h 85725"/>
                <a:gd name="connsiteX5" fmla="*/ 43291 w 60007"/>
                <a:gd name="connsiteY5" fmla="*/ 6429 h 85725"/>
                <a:gd name="connsiteX6" fmla="*/ 60436 w 60007"/>
                <a:gd name="connsiteY6" fmla="*/ 9858 h 85725"/>
                <a:gd name="connsiteX7" fmla="*/ 60436 w 60007"/>
                <a:gd name="connsiteY7" fmla="*/ 19288 h 85725"/>
                <a:gd name="connsiteX8" fmla="*/ 43291 w 60007"/>
                <a:gd name="connsiteY8" fmla="*/ 15002 h 85725"/>
                <a:gd name="connsiteX9" fmla="*/ 22717 w 60007"/>
                <a:gd name="connsiteY9" fmla="*/ 23574 h 85725"/>
                <a:gd name="connsiteX10" fmla="*/ 15002 w 60007"/>
                <a:gd name="connsiteY10" fmla="*/ 45863 h 85725"/>
                <a:gd name="connsiteX11" fmla="*/ 22717 w 60007"/>
                <a:gd name="connsiteY11" fmla="*/ 67294 h 85725"/>
                <a:gd name="connsiteX12" fmla="*/ 42434 w 60007"/>
                <a:gd name="connsiteY12" fmla="*/ 75009 h 85725"/>
                <a:gd name="connsiteX13" fmla="*/ 61294 w 60007"/>
                <a:gd name="connsiteY13" fmla="*/ 69866 h 85725"/>
                <a:gd name="connsiteX14" fmla="*/ 61294 w 60007"/>
                <a:gd name="connsiteY14" fmla="*/ 7843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007" h="85725">
                  <a:moveTo>
                    <a:pt x="61294" y="78438"/>
                  </a:moveTo>
                  <a:cubicBezTo>
                    <a:pt x="56150" y="81010"/>
                    <a:pt x="49292" y="82725"/>
                    <a:pt x="40719" y="82725"/>
                  </a:cubicBezTo>
                  <a:cubicBezTo>
                    <a:pt x="30432" y="82725"/>
                    <a:pt x="21860" y="79296"/>
                    <a:pt x="15859" y="72438"/>
                  </a:cubicBezTo>
                  <a:cubicBezTo>
                    <a:pt x="9859" y="65580"/>
                    <a:pt x="6429" y="57007"/>
                    <a:pt x="6429" y="45863"/>
                  </a:cubicBezTo>
                  <a:cubicBezTo>
                    <a:pt x="6429" y="33861"/>
                    <a:pt x="9859" y="24432"/>
                    <a:pt x="16716" y="17574"/>
                  </a:cubicBezTo>
                  <a:cubicBezTo>
                    <a:pt x="23574" y="10716"/>
                    <a:pt x="33004" y="6429"/>
                    <a:pt x="43291" y="6429"/>
                  </a:cubicBezTo>
                  <a:cubicBezTo>
                    <a:pt x="50149" y="6429"/>
                    <a:pt x="56150" y="7287"/>
                    <a:pt x="60436" y="9858"/>
                  </a:cubicBezTo>
                  <a:lnTo>
                    <a:pt x="60436" y="19288"/>
                  </a:lnTo>
                  <a:cubicBezTo>
                    <a:pt x="55293" y="16716"/>
                    <a:pt x="49292" y="15002"/>
                    <a:pt x="43291" y="15002"/>
                  </a:cubicBezTo>
                  <a:cubicBezTo>
                    <a:pt x="34719" y="15002"/>
                    <a:pt x="27861" y="17574"/>
                    <a:pt x="22717" y="23574"/>
                  </a:cubicBezTo>
                  <a:cubicBezTo>
                    <a:pt x="17574" y="29575"/>
                    <a:pt x="15002" y="36433"/>
                    <a:pt x="15002" y="45863"/>
                  </a:cubicBezTo>
                  <a:cubicBezTo>
                    <a:pt x="15002" y="54435"/>
                    <a:pt x="17574" y="62151"/>
                    <a:pt x="22717" y="67294"/>
                  </a:cubicBezTo>
                  <a:cubicBezTo>
                    <a:pt x="27861" y="72438"/>
                    <a:pt x="33861" y="75009"/>
                    <a:pt x="42434" y="75009"/>
                  </a:cubicBezTo>
                  <a:cubicBezTo>
                    <a:pt x="50149" y="75009"/>
                    <a:pt x="56150" y="73295"/>
                    <a:pt x="61294" y="69866"/>
                  </a:cubicBezTo>
                  <a:lnTo>
                    <a:pt x="61294" y="78438"/>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85" name="任意多边形: 形状 184">
              <a:extLst>
                <a:ext uri="{FF2B5EF4-FFF2-40B4-BE49-F238E27FC236}">
                  <a16:creationId xmlns:a16="http://schemas.microsoft.com/office/drawing/2014/main" id="{E9AFBA07-7B3F-488D-A574-32CD25B6EE03}"/>
                </a:ext>
              </a:extLst>
            </p:cNvPr>
            <p:cNvSpPr/>
            <p:nvPr/>
          </p:nvSpPr>
          <p:spPr>
            <a:xfrm>
              <a:off x="10334769" y="3753437"/>
              <a:ext cx="288146" cy="238750"/>
            </a:xfrm>
            <a:custGeom>
              <a:avLst/>
              <a:gdLst>
                <a:gd name="connsiteX0" fmla="*/ 149590 w 300037"/>
                <a:gd name="connsiteY0" fmla="*/ 246459 h 248602"/>
                <a:gd name="connsiteX1" fmla="*/ 6429 w 300037"/>
                <a:gd name="connsiteY1" fmla="*/ 244745 h 248602"/>
                <a:gd name="connsiteX2" fmla="*/ 6429 w 300037"/>
                <a:gd name="connsiteY2" fmla="*/ 30432 h 248602"/>
                <a:gd name="connsiteX3" fmla="*/ 153019 w 300037"/>
                <a:gd name="connsiteY3" fmla="*/ 30432 h 248602"/>
                <a:gd name="connsiteX4" fmla="*/ 299609 w 300037"/>
                <a:gd name="connsiteY4" fmla="*/ 30432 h 248602"/>
                <a:gd name="connsiteX5" fmla="*/ 299609 w 300037"/>
                <a:gd name="connsiteY5" fmla="*/ 245602 h 248602"/>
                <a:gd name="connsiteX6" fmla="*/ 149590 w 300037"/>
                <a:gd name="connsiteY6" fmla="*/ 246459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037" h="248602">
                  <a:moveTo>
                    <a:pt x="149590" y="246459"/>
                  </a:moveTo>
                  <a:cubicBezTo>
                    <a:pt x="149590" y="246459"/>
                    <a:pt x="99013" y="195882"/>
                    <a:pt x="6429" y="244745"/>
                  </a:cubicBezTo>
                  <a:lnTo>
                    <a:pt x="6429" y="30432"/>
                  </a:lnTo>
                  <a:cubicBezTo>
                    <a:pt x="6429" y="30432"/>
                    <a:pt x="101584" y="-23574"/>
                    <a:pt x="153019" y="30432"/>
                  </a:cubicBezTo>
                  <a:lnTo>
                    <a:pt x="299609" y="30432"/>
                  </a:lnTo>
                  <a:lnTo>
                    <a:pt x="299609" y="245602"/>
                  </a:lnTo>
                  <a:lnTo>
                    <a:pt x="149590" y="246459"/>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86" name="任意多边形: 形状 185">
              <a:extLst>
                <a:ext uri="{FF2B5EF4-FFF2-40B4-BE49-F238E27FC236}">
                  <a16:creationId xmlns:a16="http://schemas.microsoft.com/office/drawing/2014/main" id="{D61D02DD-61AA-46BF-AD8A-A4018CC07A60}"/>
                </a:ext>
              </a:extLst>
            </p:cNvPr>
            <p:cNvSpPr/>
            <p:nvPr/>
          </p:nvSpPr>
          <p:spPr>
            <a:xfrm>
              <a:off x="9918193" y="4478741"/>
              <a:ext cx="1399565"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87" name="任意多边形: 形状 186">
              <a:extLst>
                <a:ext uri="{FF2B5EF4-FFF2-40B4-BE49-F238E27FC236}">
                  <a16:creationId xmlns:a16="http://schemas.microsoft.com/office/drawing/2014/main" id="{8775B386-35CB-449B-BA1A-D24ECECBAEB0}"/>
                </a:ext>
              </a:extLst>
            </p:cNvPr>
            <p:cNvSpPr/>
            <p:nvPr/>
          </p:nvSpPr>
          <p:spPr>
            <a:xfrm>
              <a:off x="9918193" y="4643395"/>
              <a:ext cx="1399565"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88" name="任意多边形: 形状 187">
              <a:extLst>
                <a:ext uri="{FF2B5EF4-FFF2-40B4-BE49-F238E27FC236}">
                  <a16:creationId xmlns:a16="http://schemas.microsoft.com/office/drawing/2014/main" id="{A9648096-A67B-487C-BF36-5E158368AE00}"/>
                </a:ext>
              </a:extLst>
            </p:cNvPr>
            <p:cNvSpPr/>
            <p:nvPr/>
          </p:nvSpPr>
          <p:spPr>
            <a:xfrm>
              <a:off x="9918193" y="4808050"/>
              <a:ext cx="1399565"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89" name="任意多边形: 形状 188">
              <a:extLst>
                <a:ext uri="{FF2B5EF4-FFF2-40B4-BE49-F238E27FC236}">
                  <a16:creationId xmlns:a16="http://schemas.microsoft.com/office/drawing/2014/main" id="{6496E474-E5E2-4179-8F0B-7C8C40E944F2}"/>
                </a:ext>
              </a:extLst>
            </p:cNvPr>
            <p:cNvSpPr/>
            <p:nvPr/>
          </p:nvSpPr>
          <p:spPr>
            <a:xfrm>
              <a:off x="9918193" y="4972705"/>
              <a:ext cx="1399565" cy="24699"/>
            </a:xfrm>
            <a:custGeom>
              <a:avLst/>
              <a:gdLst>
                <a:gd name="connsiteX0" fmla="*/ 6429 w 1457325"/>
                <a:gd name="connsiteY0" fmla="*/ 6429 h 25717"/>
                <a:gd name="connsiteX1" fmla="*/ 1455182 w 1457325"/>
                <a:gd name="connsiteY1" fmla="*/ 6429 h 25717"/>
                <a:gd name="connsiteX2" fmla="*/ 1455182 w 1457325"/>
                <a:gd name="connsiteY2" fmla="*/ 23574 h 25717"/>
                <a:gd name="connsiteX3" fmla="*/ 6429 w 1457325"/>
                <a:gd name="connsiteY3" fmla="*/ 23574 h 25717"/>
              </a:gdLst>
              <a:ahLst/>
              <a:cxnLst>
                <a:cxn ang="0">
                  <a:pos x="connsiteX0" y="connsiteY0"/>
                </a:cxn>
                <a:cxn ang="0">
                  <a:pos x="connsiteX1" y="connsiteY1"/>
                </a:cxn>
                <a:cxn ang="0">
                  <a:pos x="connsiteX2" y="connsiteY2"/>
                </a:cxn>
                <a:cxn ang="0">
                  <a:pos x="connsiteX3" y="connsiteY3"/>
                </a:cxn>
              </a:cxnLst>
              <a:rect l="l" t="t" r="r" b="b"/>
              <a:pathLst>
                <a:path w="1457325" h="25717">
                  <a:moveTo>
                    <a:pt x="6429" y="6429"/>
                  </a:moveTo>
                  <a:lnTo>
                    <a:pt x="1455182" y="6429"/>
                  </a:lnTo>
                  <a:lnTo>
                    <a:pt x="1455182" y="23574"/>
                  </a:lnTo>
                  <a:lnTo>
                    <a:pt x="6429" y="23574"/>
                  </a:lnTo>
                  <a:close/>
                </a:path>
              </a:pathLst>
            </a:custGeom>
            <a:solidFill>
              <a:schemeClr val="accent2">
                <a:lumMod val="75000"/>
              </a:schemeClr>
            </a:solidFill>
            <a:ln w="9525" cap="flat">
              <a:noFill/>
              <a:prstDash val="solid"/>
              <a:miter/>
            </a:ln>
          </p:spPr>
          <p:txBody>
            <a:bodyPr rtlCol="0" anchor="ctr"/>
            <a:lstStyle/>
            <a:p>
              <a:endParaRPr lang="zh-CN" altLang="en-US"/>
            </a:p>
          </p:txBody>
        </p:sp>
        <p:sp>
          <p:nvSpPr>
            <p:cNvPr id="190" name="任意多边形: 形状 189">
              <a:extLst>
                <a:ext uri="{FF2B5EF4-FFF2-40B4-BE49-F238E27FC236}">
                  <a16:creationId xmlns:a16="http://schemas.microsoft.com/office/drawing/2014/main" id="{581C7CF5-E457-4BAF-A51D-A8B88DF7A0E9}"/>
                </a:ext>
              </a:extLst>
            </p:cNvPr>
            <p:cNvSpPr/>
            <p:nvPr/>
          </p:nvSpPr>
          <p:spPr>
            <a:xfrm>
              <a:off x="10486251" y="5137359"/>
              <a:ext cx="831507" cy="24699"/>
            </a:xfrm>
            <a:custGeom>
              <a:avLst/>
              <a:gdLst>
                <a:gd name="connsiteX0" fmla="*/ 6429 w 865822"/>
                <a:gd name="connsiteY0" fmla="*/ 6429 h 25717"/>
                <a:gd name="connsiteX1" fmla="*/ 863679 w 865822"/>
                <a:gd name="connsiteY1" fmla="*/ 6429 h 25717"/>
                <a:gd name="connsiteX2" fmla="*/ 863679 w 865822"/>
                <a:gd name="connsiteY2" fmla="*/ 23574 h 25717"/>
                <a:gd name="connsiteX3" fmla="*/ 6429 w 865822"/>
                <a:gd name="connsiteY3" fmla="*/ 23574 h 25717"/>
              </a:gdLst>
              <a:ahLst/>
              <a:cxnLst>
                <a:cxn ang="0">
                  <a:pos x="connsiteX0" y="connsiteY0"/>
                </a:cxn>
                <a:cxn ang="0">
                  <a:pos x="connsiteX1" y="connsiteY1"/>
                </a:cxn>
                <a:cxn ang="0">
                  <a:pos x="connsiteX2" y="connsiteY2"/>
                </a:cxn>
                <a:cxn ang="0">
                  <a:pos x="connsiteX3" y="connsiteY3"/>
                </a:cxn>
              </a:cxnLst>
              <a:rect l="l" t="t" r="r" b="b"/>
              <a:pathLst>
                <a:path w="865822" h="25717">
                  <a:moveTo>
                    <a:pt x="6429" y="6429"/>
                  </a:moveTo>
                  <a:lnTo>
                    <a:pt x="863679" y="6429"/>
                  </a:lnTo>
                  <a:lnTo>
                    <a:pt x="863679" y="23574"/>
                  </a:lnTo>
                  <a:lnTo>
                    <a:pt x="6429" y="23574"/>
                  </a:lnTo>
                  <a:close/>
                </a:path>
              </a:pathLst>
            </a:custGeom>
            <a:solidFill>
              <a:schemeClr val="accent2">
                <a:lumMod val="75000"/>
              </a:schemeClr>
            </a:solidFill>
            <a:ln w="9525" cap="flat">
              <a:noFill/>
              <a:prstDash val="solid"/>
              <a:miter/>
            </a:ln>
          </p:spPr>
          <p:txBody>
            <a:bodyPr rtlCol="0" anchor="ctr"/>
            <a:lstStyle/>
            <a:p>
              <a:endParaRPr lang="zh-CN" altLang="en-US"/>
            </a:p>
          </p:txBody>
        </p:sp>
      </p:grpSp>
      <p:sp>
        <p:nvSpPr>
          <p:cNvPr id="191" name="文本框 190">
            <a:extLst>
              <a:ext uri="{FF2B5EF4-FFF2-40B4-BE49-F238E27FC236}">
                <a16:creationId xmlns:a16="http://schemas.microsoft.com/office/drawing/2014/main" id="{193A4518-C5D4-4831-A8A6-04FB2E0A68A6}"/>
              </a:ext>
            </a:extLst>
          </p:cNvPr>
          <p:cNvSpPr txBox="1"/>
          <p:nvPr userDrawn="1"/>
        </p:nvSpPr>
        <p:spPr>
          <a:xfrm>
            <a:off x="7174720" y="5148185"/>
            <a:ext cx="2943050" cy="1569660"/>
          </a:xfrm>
          <a:prstGeom prst="rect">
            <a:avLst/>
          </a:prstGeom>
          <a:noFill/>
        </p:spPr>
        <p:txBody>
          <a:bodyPr wrap="square" rtlCol="0">
            <a:spAutoFit/>
          </a:bodyPr>
          <a:lstStyle/>
          <a:p>
            <a:r>
              <a:rPr lang="en-US" altLang="zh-CN" sz="3200" b="1" dirty="0">
                <a:solidFill>
                  <a:schemeClr val="tx2"/>
                </a:solidFill>
              </a:rPr>
              <a:t>DESIGN PATTERN</a:t>
            </a:r>
          </a:p>
          <a:p>
            <a:endParaRPr lang="en-US" altLang="zh-CN" sz="3200" b="1" dirty="0">
              <a:solidFill>
                <a:schemeClr val="tx2"/>
              </a:solidFill>
            </a:endParaRP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endCondLst>
                                    <p:cond evt="onNext" delay="0">
                                      <p:tgtEl>
                                        <p:sldTgt/>
                                      </p:tgtEl>
                                    </p:cond>
                                  </p:endCondLst>
                                  <p:childTnLst>
                                    <p:animRot by="21600000">
                                      <p:cBhvr>
                                        <p:cTn id="6" dur="3000" fill="hold"/>
                                        <p:tgtEl>
                                          <p:spTgt spid="116"/>
                                        </p:tgtEl>
                                        <p:attrNameLst>
                                          <p:attrName>r</p:attrName>
                                        </p:attrNameLst>
                                      </p:cBhvr>
                                    </p:animRot>
                                  </p:childTnLst>
                                </p:cTn>
                              </p:par>
                              <p:par>
                                <p:cTn id="7" presetID="8" presetClass="emph" presetSubtype="0" repeatCount="indefinite" fill="hold" grpId="0" nodeType="withEffect">
                                  <p:stCondLst>
                                    <p:cond delay="0"/>
                                  </p:stCondLst>
                                  <p:endCondLst>
                                    <p:cond evt="onNext" delay="0">
                                      <p:tgtEl>
                                        <p:sldTgt/>
                                      </p:tgtEl>
                                    </p:cond>
                                  </p:endCondLst>
                                  <p:childTnLst>
                                    <p:animRot by="21600000">
                                      <p:cBhvr>
                                        <p:cTn id="8" dur="3000" fill="hold"/>
                                        <p:tgtEl>
                                          <p:spTgt spid="120"/>
                                        </p:tgtEl>
                                        <p:attrNameLst>
                                          <p:attrName>r</p:attrName>
                                        </p:attrNameLst>
                                      </p:cBhvr>
                                    </p:animRot>
                                  </p:childTnLst>
                                </p:cTn>
                              </p:par>
                              <p:par>
                                <p:cTn id="9" presetID="8" presetClass="emph" presetSubtype="0" repeatCount="indefinite" fill="hold" grpId="0" nodeType="withEffect">
                                  <p:stCondLst>
                                    <p:cond delay="0"/>
                                  </p:stCondLst>
                                  <p:endCondLst>
                                    <p:cond evt="onNext" delay="0">
                                      <p:tgtEl>
                                        <p:sldTgt/>
                                      </p:tgtEl>
                                    </p:cond>
                                  </p:endCondLst>
                                  <p:childTnLst>
                                    <p:animRot by="-21600000">
                                      <p:cBhvr>
                                        <p:cTn id="10" dur="3000" fill="hold"/>
                                        <p:tgtEl>
                                          <p:spTgt spid="11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8" grpId="0" animBg="1"/>
      <p:bldP spid="120" grpId="0" animBg="1"/>
    </p:bld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12/1</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69" r:id="rId2"/>
    <p:sldLayoutId id="2147483651"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vmlDrawing" Target="../drawings/vmlDrawing2.vml"/><Relationship Id="rId1" Type="http://schemas.openxmlformats.org/officeDocument/2006/relationships/themeOverride" Target="../theme/themeOverride2.x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13583"/>
        </a:solidFill>
        <a:effectLst/>
      </p:bgPr>
    </p:bg>
    <p:spTree>
      <p:nvGrpSpPr>
        <p:cNvPr id="1" name=""/>
        <p:cNvGrpSpPr/>
        <p:nvPr/>
      </p:nvGrpSpPr>
      <p:grpSpPr>
        <a:xfrm>
          <a:off x="0" y="0"/>
          <a:ext cx="0" cy="0"/>
          <a:chOff x="0" y="0"/>
          <a:chExt cx="0" cy="0"/>
        </a:xfrm>
      </p:grpSpPr>
      <p:sp>
        <p:nvSpPr>
          <p:cNvPr id="15" name="矩形 14">
            <a:extLst>
              <a:ext uri="{FF2B5EF4-FFF2-40B4-BE49-F238E27FC236}">
                <a16:creationId xmlns:a16="http://schemas.microsoft.com/office/drawing/2014/main" id="{0744B4B3-C1A1-4FF5-AFD2-AD5629006711}"/>
              </a:ext>
            </a:extLst>
          </p:cNvPr>
          <p:cNvSpPr/>
          <p:nvPr/>
        </p:nvSpPr>
        <p:spPr>
          <a:xfrm flipH="1">
            <a:off x="1026813" y="4519700"/>
            <a:ext cx="4726923" cy="1316867"/>
          </a:xfrm>
          <a:prstGeom prst="rect">
            <a:avLst/>
          </a:prstGeom>
          <a:gradFill flip="none" rotWithShape="1">
            <a:gsLst>
              <a:gs pos="100000">
                <a:schemeClr val="bg1">
                  <a:alpha val="0"/>
                </a:schemeClr>
              </a:gs>
              <a:gs pos="0">
                <a:schemeClr val="bg1">
                  <a:alpha val="0"/>
                </a:schemeClr>
              </a:gs>
              <a:gs pos="23000">
                <a:srgbClr val="01BADC">
                  <a:alpha val="27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80" name="think-cell Slide" r:id="rId7" imgW="347" imgH="348" progId="TCLayout.ActiveDocument.1">
                  <p:embed/>
                </p:oleObj>
              </mc:Choice>
              <mc:Fallback>
                <p:oleObj name="think-cell Slide" r:id="rId7"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80140" y="1082492"/>
            <a:ext cx="5694299" cy="1314320"/>
          </a:xfrm>
        </p:spPr>
        <p:txBody>
          <a:bodyPr>
            <a:normAutofit/>
          </a:bodyPr>
          <a:lstStyle/>
          <a:p>
            <a:pPr>
              <a:lnSpc>
                <a:spcPct val="100000"/>
              </a:lnSpc>
              <a:spcBef>
                <a:spcPts val="1800"/>
              </a:spcBef>
            </a:pPr>
            <a:r>
              <a:rPr lang="en-US" altLang="zh-CN" sz="1800" dirty="0"/>
              <a:t>Impact of Design Pattern Implementation Variants on the Retrieval Effectiveness of a Recovery Tool: </a:t>
            </a:r>
            <a:br>
              <a:rPr lang="en-US" altLang="zh-CN" sz="1800" dirty="0"/>
            </a:br>
            <a:r>
              <a:rPr lang="en-US" altLang="zh-CN" sz="1800" dirty="0"/>
              <a:t>An Exploratory Study</a:t>
            </a:r>
            <a:endParaRPr lang="zh-CN" altLang="en-US" sz="4400" dirty="0"/>
          </a:p>
        </p:txBody>
      </p:sp>
      <p:sp>
        <p:nvSpPr>
          <p:cNvPr id="5" name="副标题 4"/>
          <p:cNvSpPr>
            <a:spLocks noGrp="1"/>
          </p:cNvSpPr>
          <p:nvPr>
            <p:ph type="subTitle" idx="1"/>
          </p:nvPr>
        </p:nvSpPr>
        <p:spPr>
          <a:xfrm>
            <a:off x="1348104" y="4651667"/>
            <a:ext cx="1383064" cy="1149247"/>
          </a:xfrm>
        </p:spPr>
        <p:txBody>
          <a:bodyPr>
            <a:normAutofit/>
          </a:bodyPr>
          <a:lstStyle/>
          <a:p>
            <a:pPr>
              <a:spcBef>
                <a:spcPts val="1200"/>
              </a:spcBef>
            </a:pPr>
            <a:r>
              <a:rPr lang="zh-CN" altLang="en-US" sz="1400" dirty="0">
                <a:latin typeface="Monotype Corsiva" panose="03010101010201010101" pitchFamily="66" charset="0"/>
                <a:ea typeface="微软雅黑 Light" panose="020B0502040204020203" pitchFamily="34" charset="-122"/>
              </a:rPr>
              <a:t>李思佳</a:t>
            </a:r>
            <a:endParaRPr lang="en-US" altLang="zh-CN" sz="1400" dirty="0">
              <a:latin typeface="Monotype Corsiva" panose="03010101010201010101" pitchFamily="66" charset="0"/>
              <a:ea typeface="微软雅黑 Light" panose="020B0502040204020203" pitchFamily="34" charset="-122"/>
            </a:endParaRPr>
          </a:p>
          <a:p>
            <a:pPr>
              <a:spcBef>
                <a:spcPts val="1200"/>
              </a:spcBef>
            </a:pPr>
            <a:r>
              <a:rPr lang="zh-CN" altLang="en-US" sz="1400" dirty="0">
                <a:latin typeface="Monotype Corsiva" panose="03010101010201010101" pitchFamily="66" charset="0"/>
                <a:ea typeface="微软雅黑 Light" panose="020B0502040204020203" pitchFamily="34" charset="-122"/>
              </a:rPr>
              <a:t>刘    亮</a:t>
            </a:r>
            <a:endParaRPr lang="en-US" altLang="zh-CN" sz="1400" dirty="0">
              <a:latin typeface="Monotype Corsiva" panose="03010101010201010101" pitchFamily="66" charset="0"/>
              <a:ea typeface="微软雅黑 Light" panose="020B0502040204020203" pitchFamily="34" charset="-122"/>
            </a:endParaRPr>
          </a:p>
          <a:p>
            <a:pPr>
              <a:spcBef>
                <a:spcPts val="1200"/>
              </a:spcBef>
            </a:pPr>
            <a:r>
              <a:rPr lang="zh-CN" altLang="en-US" sz="1400" dirty="0">
                <a:latin typeface="Monotype Corsiva" panose="03010101010201010101" pitchFamily="66" charset="0"/>
                <a:ea typeface="微软雅黑 Light" panose="020B0502040204020203" pitchFamily="34" charset="-122"/>
              </a:rPr>
              <a:t>赵韦鑫</a:t>
            </a:r>
            <a:endParaRPr lang="en-US" altLang="zh-CN" sz="1400" dirty="0">
              <a:latin typeface="Monotype Corsiva" panose="03010101010201010101" pitchFamily="66" charset="0"/>
              <a:ea typeface="微软雅黑 Light" panose="020B0502040204020203" pitchFamily="34" charset="-122"/>
            </a:endParaRPr>
          </a:p>
        </p:txBody>
      </p:sp>
      <p:sp>
        <p:nvSpPr>
          <p:cNvPr id="16" name="矩形 15">
            <a:extLst>
              <a:ext uri="{FF2B5EF4-FFF2-40B4-BE49-F238E27FC236}">
                <a16:creationId xmlns:a16="http://schemas.microsoft.com/office/drawing/2014/main" id="{51339125-6182-4862-9AAB-302F6D1E4A5F}"/>
              </a:ext>
            </a:extLst>
          </p:cNvPr>
          <p:cNvSpPr/>
          <p:nvPr/>
        </p:nvSpPr>
        <p:spPr>
          <a:xfrm>
            <a:off x="676640" y="2199445"/>
            <a:ext cx="5533660" cy="553998"/>
          </a:xfrm>
          <a:prstGeom prst="rect">
            <a:avLst/>
          </a:prstGeom>
        </p:spPr>
        <p:txBody>
          <a:bodyPr wrap="square">
            <a:spAutoFit/>
          </a:bodyPr>
          <a:lstStyle/>
          <a:p>
            <a:r>
              <a:rPr lang="en-US" altLang="zh-CN" sz="1000" dirty="0">
                <a:solidFill>
                  <a:schemeClr val="bg1">
                    <a:lumMod val="85000"/>
                  </a:schemeClr>
                </a:solidFill>
                <a:latin typeface="Gabriola" panose="04040605051002020D02" pitchFamily="82" charset="0"/>
              </a:rPr>
              <a:t>De Lucia, A., </a:t>
            </a:r>
            <a:r>
              <a:rPr lang="en-US" altLang="zh-CN" sz="1000" dirty="0" err="1">
                <a:solidFill>
                  <a:schemeClr val="bg1">
                    <a:lumMod val="85000"/>
                  </a:schemeClr>
                </a:solidFill>
                <a:latin typeface="Gabriola" panose="04040605051002020D02" pitchFamily="82" charset="0"/>
              </a:rPr>
              <a:t>Deufemia</a:t>
            </a:r>
            <a:r>
              <a:rPr lang="en-US" altLang="zh-CN" sz="1000" dirty="0">
                <a:solidFill>
                  <a:schemeClr val="bg1">
                    <a:lumMod val="85000"/>
                  </a:schemeClr>
                </a:solidFill>
                <a:latin typeface="Gabriola" panose="04040605051002020D02" pitchFamily="82" charset="0"/>
              </a:rPr>
              <a:t>, V., </a:t>
            </a:r>
            <a:r>
              <a:rPr lang="en-US" altLang="zh-CN" sz="1000" dirty="0" err="1">
                <a:solidFill>
                  <a:schemeClr val="bg1">
                    <a:lumMod val="85000"/>
                  </a:schemeClr>
                </a:solidFill>
                <a:latin typeface="Gabriola" panose="04040605051002020D02" pitchFamily="82" charset="0"/>
              </a:rPr>
              <a:t>Gravino</a:t>
            </a:r>
            <a:r>
              <a:rPr lang="en-US" altLang="zh-CN" sz="1000" dirty="0">
                <a:solidFill>
                  <a:schemeClr val="bg1">
                    <a:lumMod val="85000"/>
                  </a:schemeClr>
                </a:solidFill>
                <a:latin typeface="Gabriola" panose="04040605051002020D02" pitchFamily="82" charset="0"/>
              </a:rPr>
              <a:t>, C., &amp; </a:t>
            </a:r>
            <a:r>
              <a:rPr lang="en-US" altLang="zh-CN" sz="1000" dirty="0" err="1">
                <a:solidFill>
                  <a:schemeClr val="bg1">
                    <a:lumMod val="85000"/>
                  </a:schemeClr>
                </a:solidFill>
                <a:latin typeface="Gabriola" panose="04040605051002020D02" pitchFamily="82" charset="0"/>
              </a:rPr>
              <a:t>Risi</a:t>
            </a:r>
            <a:r>
              <a:rPr lang="en-US" altLang="zh-CN" sz="1000" dirty="0">
                <a:solidFill>
                  <a:schemeClr val="bg1">
                    <a:lumMod val="85000"/>
                  </a:schemeClr>
                </a:solidFill>
                <a:latin typeface="Gabriola" panose="04040605051002020D02" pitchFamily="82" charset="0"/>
              </a:rPr>
              <a:t>, M. (2018). </a:t>
            </a:r>
            <a:r>
              <a:rPr lang="en-US" altLang="zh-CN" sz="1000" i="1" dirty="0">
                <a:solidFill>
                  <a:schemeClr val="bg1">
                    <a:lumMod val="85000"/>
                  </a:schemeClr>
                </a:solidFill>
                <a:latin typeface="Gabriola" panose="04040605051002020D02" pitchFamily="82" charset="0"/>
              </a:rPr>
              <a:t>Impact of Design Pattern Implementation Variants on the Retrieval Effectiveness of a Recovery Tool: An Exploratory Study. 2018 44th </a:t>
            </a:r>
            <a:r>
              <a:rPr lang="en-US" altLang="zh-CN" sz="1000" i="1" dirty="0" err="1">
                <a:solidFill>
                  <a:schemeClr val="bg1">
                    <a:lumMod val="85000"/>
                  </a:schemeClr>
                </a:solidFill>
                <a:latin typeface="Gabriola" panose="04040605051002020D02" pitchFamily="82" charset="0"/>
              </a:rPr>
              <a:t>Euromicro</a:t>
            </a:r>
            <a:r>
              <a:rPr lang="en-US" altLang="zh-CN" sz="1000" i="1" dirty="0">
                <a:solidFill>
                  <a:schemeClr val="bg1">
                    <a:lumMod val="85000"/>
                  </a:schemeClr>
                </a:solidFill>
                <a:latin typeface="Gabriola" panose="04040605051002020D02" pitchFamily="82" charset="0"/>
              </a:rPr>
              <a:t> Conference on Software Engineering and Advanced Applications (SEAA).</a:t>
            </a:r>
            <a:r>
              <a:rPr lang="en-US" altLang="zh-CN" sz="1000" dirty="0">
                <a:solidFill>
                  <a:schemeClr val="bg1">
                    <a:lumMod val="85000"/>
                  </a:schemeClr>
                </a:solidFill>
                <a:latin typeface="Gabriola" panose="04040605051002020D02" pitchFamily="82" charset="0"/>
              </a:rPr>
              <a:t> doi:10.1109/seaa.2018.00034 </a:t>
            </a:r>
            <a:endParaRPr lang="zh-CN" altLang="en-US" sz="1000" dirty="0">
              <a:solidFill>
                <a:schemeClr val="bg1">
                  <a:lumMod val="85000"/>
                </a:schemeClr>
              </a:solidFill>
              <a:latin typeface="Gabriola" panose="04040605051002020D02" pitchFamily="82" charset="0"/>
            </a:endParaRPr>
          </a:p>
        </p:txBody>
      </p:sp>
      <p:sp>
        <p:nvSpPr>
          <p:cNvPr id="17" name="矩形 16">
            <a:extLst>
              <a:ext uri="{FF2B5EF4-FFF2-40B4-BE49-F238E27FC236}">
                <a16:creationId xmlns:a16="http://schemas.microsoft.com/office/drawing/2014/main" id="{8AC72213-018E-4423-B9B8-DB250AFA1489}"/>
              </a:ext>
            </a:extLst>
          </p:cNvPr>
          <p:cNvSpPr/>
          <p:nvPr/>
        </p:nvSpPr>
        <p:spPr>
          <a:xfrm flipH="1">
            <a:off x="746126" y="4522134"/>
            <a:ext cx="122554" cy="1316867"/>
          </a:xfrm>
          <a:prstGeom prst="rect">
            <a:avLst/>
          </a:prstGeom>
          <a:gradFill flip="none" rotWithShape="1">
            <a:gsLst>
              <a:gs pos="100000">
                <a:schemeClr val="bg1">
                  <a:alpha val="0"/>
                </a:schemeClr>
              </a:gs>
              <a:gs pos="0">
                <a:srgbClr val="01BADC">
                  <a:alpha val="27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woman-with-collar_81990">
            <a:extLst>
              <a:ext uri="{FF2B5EF4-FFF2-40B4-BE49-F238E27FC236}">
                <a16:creationId xmlns:a16="http://schemas.microsoft.com/office/drawing/2014/main" id="{9FC9A5C7-30CE-4D94-878C-41E0B892B8F4}"/>
              </a:ext>
            </a:extLst>
          </p:cNvPr>
          <p:cNvSpPr>
            <a:spLocks noChangeAspect="1"/>
          </p:cNvSpPr>
          <p:nvPr/>
        </p:nvSpPr>
        <p:spPr bwMode="auto">
          <a:xfrm>
            <a:off x="1067434" y="4747485"/>
            <a:ext cx="174626" cy="250244"/>
          </a:xfrm>
          <a:custGeom>
            <a:avLst/>
            <a:gdLst>
              <a:gd name="T0" fmla="*/ 4027 w 4458"/>
              <a:gd name="T1" fmla="*/ 4195 h 6398"/>
              <a:gd name="T2" fmla="*/ 3564 w 4458"/>
              <a:gd name="T3" fmla="*/ 2441 h 6398"/>
              <a:gd name="T4" fmla="*/ 3645 w 4458"/>
              <a:gd name="T5" fmla="*/ 1697 h 6398"/>
              <a:gd name="T6" fmla="*/ 2229 w 4458"/>
              <a:gd name="T7" fmla="*/ 0 h 6398"/>
              <a:gd name="T8" fmla="*/ 813 w 4458"/>
              <a:gd name="T9" fmla="*/ 1697 h 6398"/>
              <a:gd name="T10" fmla="*/ 894 w 4458"/>
              <a:gd name="T11" fmla="*/ 2441 h 6398"/>
              <a:gd name="T12" fmla="*/ 431 w 4458"/>
              <a:gd name="T13" fmla="*/ 4195 h 6398"/>
              <a:gd name="T14" fmla="*/ 197 w 4458"/>
              <a:gd name="T15" fmla="*/ 6071 h 6398"/>
              <a:gd name="T16" fmla="*/ 3614 w 4458"/>
              <a:gd name="T17" fmla="*/ 6398 h 6398"/>
              <a:gd name="T18" fmla="*/ 4384 w 4458"/>
              <a:gd name="T19" fmla="*/ 5357 h 6398"/>
              <a:gd name="T20" fmla="*/ 1799 w 4458"/>
              <a:gd name="T21" fmla="*/ 4449 h 6398"/>
              <a:gd name="T22" fmla="*/ 1942 w 4458"/>
              <a:gd name="T23" fmla="*/ 4430 h 6398"/>
              <a:gd name="T24" fmla="*/ 2516 w 4458"/>
              <a:gd name="T25" fmla="*/ 4430 h 6398"/>
              <a:gd name="T26" fmla="*/ 2659 w 4458"/>
              <a:gd name="T27" fmla="*/ 4449 h 6398"/>
              <a:gd name="T28" fmla="*/ 3107 w 4458"/>
              <a:gd name="T29" fmla="*/ 4000 h 6398"/>
              <a:gd name="T30" fmla="*/ 3257 w 4458"/>
              <a:gd name="T31" fmla="*/ 3908 h 6398"/>
              <a:gd name="T32" fmla="*/ 2197 w 4458"/>
              <a:gd name="T33" fmla="*/ 5599 h 6398"/>
              <a:gd name="T34" fmla="*/ 1201 w 4458"/>
              <a:gd name="T35" fmla="*/ 3908 h 6398"/>
              <a:gd name="T36" fmla="*/ 1351 w 4458"/>
              <a:gd name="T37" fmla="*/ 4000 h 6398"/>
              <a:gd name="T38" fmla="*/ 2229 w 4458"/>
              <a:gd name="T39" fmla="*/ 1703 h 6398"/>
              <a:gd name="T40" fmla="*/ 3431 w 4458"/>
              <a:gd name="T41" fmla="*/ 2092 h 6398"/>
              <a:gd name="T42" fmla="*/ 3132 w 4458"/>
              <a:gd name="T43" fmla="*/ 2441 h 6398"/>
              <a:gd name="T44" fmla="*/ 2508 w 4458"/>
              <a:gd name="T45" fmla="*/ 3335 h 6398"/>
              <a:gd name="T46" fmla="*/ 2673 w 4458"/>
              <a:gd name="T47" fmla="*/ 3888 h 6398"/>
              <a:gd name="T48" fmla="*/ 2426 w 4458"/>
              <a:gd name="T49" fmla="*/ 4215 h 6398"/>
              <a:gd name="T50" fmla="*/ 2229 w 4458"/>
              <a:gd name="T51" fmla="*/ 4143 h 6398"/>
              <a:gd name="T52" fmla="*/ 2032 w 4458"/>
              <a:gd name="T53" fmla="*/ 4215 h 6398"/>
              <a:gd name="T54" fmla="*/ 1784 w 4458"/>
              <a:gd name="T55" fmla="*/ 3888 h 6398"/>
              <a:gd name="T56" fmla="*/ 1950 w 4458"/>
              <a:gd name="T57" fmla="*/ 3335 h 6398"/>
              <a:gd name="T58" fmla="*/ 1326 w 4458"/>
              <a:gd name="T59" fmla="*/ 2441 h 6398"/>
              <a:gd name="T60" fmla="*/ 1027 w 4458"/>
              <a:gd name="T61" fmla="*/ 2092 h 6398"/>
              <a:gd name="T62" fmla="*/ 2229 w 4458"/>
              <a:gd name="T63" fmla="*/ 1703 h 6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58" h="6398">
                <a:moveTo>
                  <a:pt x="4384" y="5357"/>
                </a:moveTo>
                <a:lnTo>
                  <a:pt x="4027" y="4195"/>
                </a:lnTo>
                <a:cubicBezTo>
                  <a:pt x="3955" y="3958"/>
                  <a:pt x="3782" y="3778"/>
                  <a:pt x="3564" y="3688"/>
                </a:cubicBezTo>
                <a:lnTo>
                  <a:pt x="3564" y="2441"/>
                </a:lnTo>
                <a:cubicBezTo>
                  <a:pt x="3630" y="2362"/>
                  <a:pt x="3682" y="2264"/>
                  <a:pt x="3706" y="2153"/>
                </a:cubicBezTo>
                <a:cubicBezTo>
                  <a:pt x="3743" y="1985"/>
                  <a:pt x="3716" y="1823"/>
                  <a:pt x="3645" y="1697"/>
                </a:cubicBezTo>
                <a:cubicBezTo>
                  <a:pt x="3666" y="1634"/>
                  <a:pt x="3678" y="1553"/>
                  <a:pt x="3678" y="1449"/>
                </a:cubicBezTo>
                <a:cubicBezTo>
                  <a:pt x="3678" y="649"/>
                  <a:pt x="3029" y="0"/>
                  <a:pt x="2229" y="0"/>
                </a:cubicBezTo>
                <a:cubicBezTo>
                  <a:pt x="1429" y="0"/>
                  <a:pt x="780" y="649"/>
                  <a:pt x="780" y="1449"/>
                </a:cubicBezTo>
                <a:cubicBezTo>
                  <a:pt x="780" y="1553"/>
                  <a:pt x="792" y="1634"/>
                  <a:pt x="813" y="1697"/>
                </a:cubicBezTo>
                <a:cubicBezTo>
                  <a:pt x="742" y="1823"/>
                  <a:pt x="715" y="1985"/>
                  <a:pt x="752" y="2153"/>
                </a:cubicBezTo>
                <a:cubicBezTo>
                  <a:pt x="776" y="2264"/>
                  <a:pt x="828" y="2362"/>
                  <a:pt x="894" y="2441"/>
                </a:cubicBezTo>
                <a:lnTo>
                  <a:pt x="894" y="3688"/>
                </a:lnTo>
                <a:cubicBezTo>
                  <a:pt x="676" y="3778"/>
                  <a:pt x="503" y="3958"/>
                  <a:pt x="431" y="4195"/>
                </a:cubicBezTo>
                <a:lnTo>
                  <a:pt x="74" y="5356"/>
                </a:lnTo>
                <a:cubicBezTo>
                  <a:pt x="0" y="5600"/>
                  <a:pt x="46" y="5867"/>
                  <a:pt x="197" y="6071"/>
                </a:cubicBezTo>
                <a:cubicBezTo>
                  <a:pt x="348" y="6276"/>
                  <a:pt x="590" y="6398"/>
                  <a:pt x="844" y="6398"/>
                </a:cubicBezTo>
                <a:lnTo>
                  <a:pt x="3614" y="6398"/>
                </a:lnTo>
                <a:cubicBezTo>
                  <a:pt x="3868" y="6398"/>
                  <a:pt x="4110" y="6276"/>
                  <a:pt x="4261" y="6071"/>
                </a:cubicBezTo>
                <a:cubicBezTo>
                  <a:pt x="4412" y="5867"/>
                  <a:pt x="4458" y="5600"/>
                  <a:pt x="4384" y="5357"/>
                </a:cubicBezTo>
                <a:close/>
                <a:moveTo>
                  <a:pt x="1569" y="4231"/>
                </a:moveTo>
                <a:cubicBezTo>
                  <a:pt x="1577" y="4352"/>
                  <a:pt x="1675" y="4449"/>
                  <a:pt x="1799" y="4449"/>
                </a:cubicBezTo>
                <a:cubicBezTo>
                  <a:pt x="1857" y="4449"/>
                  <a:pt x="1909" y="4425"/>
                  <a:pt x="1950" y="4390"/>
                </a:cubicBezTo>
                <a:cubicBezTo>
                  <a:pt x="1948" y="4404"/>
                  <a:pt x="1942" y="4416"/>
                  <a:pt x="1942" y="4430"/>
                </a:cubicBezTo>
                <a:cubicBezTo>
                  <a:pt x="1942" y="4589"/>
                  <a:pt x="2070" y="4718"/>
                  <a:pt x="2229" y="4718"/>
                </a:cubicBezTo>
                <a:cubicBezTo>
                  <a:pt x="2388" y="4718"/>
                  <a:pt x="2516" y="4589"/>
                  <a:pt x="2516" y="4430"/>
                </a:cubicBezTo>
                <a:cubicBezTo>
                  <a:pt x="2516" y="4416"/>
                  <a:pt x="2510" y="4404"/>
                  <a:pt x="2508" y="4390"/>
                </a:cubicBezTo>
                <a:cubicBezTo>
                  <a:pt x="2549" y="4425"/>
                  <a:pt x="2601" y="4449"/>
                  <a:pt x="2659" y="4449"/>
                </a:cubicBezTo>
                <a:cubicBezTo>
                  <a:pt x="2782" y="4449"/>
                  <a:pt x="2881" y="4352"/>
                  <a:pt x="2889" y="4231"/>
                </a:cubicBezTo>
                <a:cubicBezTo>
                  <a:pt x="3011" y="4222"/>
                  <a:pt x="3107" y="4124"/>
                  <a:pt x="3107" y="4000"/>
                </a:cubicBezTo>
                <a:cubicBezTo>
                  <a:pt x="3107" y="3967"/>
                  <a:pt x="3100" y="3936"/>
                  <a:pt x="3088" y="3908"/>
                </a:cubicBezTo>
                <a:lnTo>
                  <a:pt x="3257" y="3908"/>
                </a:lnTo>
                <a:cubicBezTo>
                  <a:pt x="3271" y="3908"/>
                  <a:pt x="3285" y="3910"/>
                  <a:pt x="3298" y="3911"/>
                </a:cubicBezTo>
                <a:cubicBezTo>
                  <a:pt x="3126" y="4341"/>
                  <a:pt x="2586" y="5604"/>
                  <a:pt x="2197" y="5599"/>
                </a:cubicBezTo>
                <a:cubicBezTo>
                  <a:pt x="1815" y="5594"/>
                  <a:pt x="1310" y="4342"/>
                  <a:pt x="1148" y="3912"/>
                </a:cubicBezTo>
                <a:cubicBezTo>
                  <a:pt x="1165" y="3910"/>
                  <a:pt x="1183" y="3908"/>
                  <a:pt x="1201" y="3908"/>
                </a:cubicBezTo>
                <a:lnTo>
                  <a:pt x="1370" y="3908"/>
                </a:lnTo>
                <a:cubicBezTo>
                  <a:pt x="1358" y="3936"/>
                  <a:pt x="1351" y="3967"/>
                  <a:pt x="1351" y="4000"/>
                </a:cubicBezTo>
                <a:cubicBezTo>
                  <a:pt x="1351" y="4124"/>
                  <a:pt x="1447" y="4222"/>
                  <a:pt x="1569" y="4231"/>
                </a:cubicBezTo>
                <a:close/>
                <a:moveTo>
                  <a:pt x="2229" y="1703"/>
                </a:moveTo>
                <a:cubicBezTo>
                  <a:pt x="2725" y="1703"/>
                  <a:pt x="3162" y="1912"/>
                  <a:pt x="3423" y="1881"/>
                </a:cubicBezTo>
                <a:cubicBezTo>
                  <a:pt x="3443" y="1941"/>
                  <a:pt x="3448" y="2016"/>
                  <a:pt x="3431" y="2092"/>
                </a:cubicBezTo>
                <a:cubicBezTo>
                  <a:pt x="3404" y="2217"/>
                  <a:pt x="3321" y="2320"/>
                  <a:pt x="3231" y="2344"/>
                </a:cubicBezTo>
                <a:cubicBezTo>
                  <a:pt x="3184" y="2357"/>
                  <a:pt x="3146" y="2393"/>
                  <a:pt x="3132" y="2441"/>
                </a:cubicBezTo>
                <a:cubicBezTo>
                  <a:pt x="3033" y="2779"/>
                  <a:pt x="2832" y="3049"/>
                  <a:pt x="2581" y="3182"/>
                </a:cubicBezTo>
                <a:cubicBezTo>
                  <a:pt x="2525" y="3211"/>
                  <a:pt x="2496" y="3273"/>
                  <a:pt x="2508" y="3335"/>
                </a:cubicBezTo>
                <a:lnTo>
                  <a:pt x="2603" y="3795"/>
                </a:lnTo>
                <a:cubicBezTo>
                  <a:pt x="2612" y="3836"/>
                  <a:pt x="2639" y="3868"/>
                  <a:pt x="2673" y="3888"/>
                </a:cubicBezTo>
                <a:cubicBezTo>
                  <a:pt x="2657" y="3917"/>
                  <a:pt x="2646" y="3949"/>
                  <a:pt x="2644" y="3985"/>
                </a:cubicBezTo>
                <a:cubicBezTo>
                  <a:pt x="2522" y="3993"/>
                  <a:pt x="2426" y="4092"/>
                  <a:pt x="2426" y="4215"/>
                </a:cubicBezTo>
                <a:cubicBezTo>
                  <a:pt x="2426" y="4218"/>
                  <a:pt x="2427" y="4221"/>
                  <a:pt x="2427" y="4224"/>
                </a:cubicBezTo>
                <a:cubicBezTo>
                  <a:pt x="2376" y="4174"/>
                  <a:pt x="2306" y="4143"/>
                  <a:pt x="2229" y="4143"/>
                </a:cubicBezTo>
                <a:cubicBezTo>
                  <a:pt x="2152" y="4143"/>
                  <a:pt x="2082" y="4174"/>
                  <a:pt x="2031" y="4224"/>
                </a:cubicBezTo>
                <a:cubicBezTo>
                  <a:pt x="2031" y="4221"/>
                  <a:pt x="2032" y="4218"/>
                  <a:pt x="2032" y="4215"/>
                </a:cubicBezTo>
                <a:cubicBezTo>
                  <a:pt x="2032" y="4092"/>
                  <a:pt x="1936" y="3993"/>
                  <a:pt x="1814" y="3985"/>
                </a:cubicBezTo>
                <a:cubicBezTo>
                  <a:pt x="1812" y="3949"/>
                  <a:pt x="1801" y="3917"/>
                  <a:pt x="1784" y="3888"/>
                </a:cubicBezTo>
                <a:cubicBezTo>
                  <a:pt x="1819" y="3868"/>
                  <a:pt x="1846" y="3836"/>
                  <a:pt x="1854" y="3795"/>
                </a:cubicBezTo>
                <a:lnTo>
                  <a:pt x="1950" y="3335"/>
                </a:lnTo>
                <a:cubicBezTo>
                  <a:pt x="1962" y="3273"/>
                  <a:pt x="1933" y="3211"/>
                  <a:pt x="1877" y="3182"/>
                </a:cubicBezTo>
                <a:cubicBezTo>
                  <a:pt x="1626" y="3049"/>
                  <a:pt x="1425" y="2779"/>
                  <a:pt x="1326" y="2441"/>
                </a:cubicBezTo>
                <a:cubicBezTo>
                  <a:pt x="1312" y="2393"/>
                  <a:pt x="1274" y="2357"/>
                  <a:pt x="1226" y="2344"/>
                </a:cubicBezTo>
                <a:cubicBezTo>
                  <a:pt x="1136" y="2321"/>
                  <a:pt x="1054" y="2217"/>
                  <a:pt x="1027" y="2092"/>
                </a:cubicBezTo>
                <a:cubicBezTo>
                  <a:pt x="1010" y="2016"/>
                  <a:pt x="1015" y="1941"/>
                  <a:pt x="1034" y="1881"/>
                </a:cubicBezTo>
                <a:cubicBezTo>
                  <a:pt x="1295" y="1912"/>
                  <a:pt x="1733" y="1703"/>
                  <a:pt x="2229" y="1703"/>
                </a:cubicBezTo>
                <a:close/>
              </a:path>
            </a:pathLst>
          </a:custGeom>
          <a:solidFill>
            <a:srgbClr val="FF6969"/>
          </a:solidFill>
          <a:ln>
            <a:noFill/>
          </a:ln>
        </p:spPr>
      </p:sp>
      <p:sp>
        <p:nvSpPr>
          <p:cNvPr id="21" name="specialist-user_80886">
            <a:extLst>
              <a:ext uri="{FF2B5EF4-FFF2-40B4-BE49-F238E27FC236}">
                <a16:creationId xmlns:a16="http://schemas.microsoft.com/office/drawing/2014/main" id="{A83E9FFB-4D9D-4797-ABF0-EED1878B8D8C}"/>
              </a:ext>
            </a:extLst>
          </p:cNvPr>
          <p:cNvSpPr>
            <a:spLocks noChangeAspect="1"/>
          </p:cNvSpPr>
          <p:nvPr/>
        </p:nvSpPr>
        <p:spPr bwMode="auto">
          <a:xfrm>
            <a:off x="1026813" y="5106926"/>
            <a:ext cx="215247" cy="250244"/>
          </a:xfrm>
          <a:custGeom>
            <a:avLst/>
            <a:gdLst>
              <a:gd name="connsiteX0" fmla="*/ 327615 w 521993"/>
              <a:gd name="connsiteY0" fmla="*/ 466652 h 606863"/>
              <a:gd name="connsiteX1" fmla="*/ 327615 w 521993"/>
              <a:gd name="connsiteY1" fmla="*/ 490607 h 606863"/>
              <a:gd name="connsiteX2" fmla="*/ 372201 w 521993"/>
              <a:gd name="connsiteY2" fmla="*/ 504537 h 606863"/>
              <a:gd name="connsiteX3" fmla="*/ 416917 w 521993"/>
              <a:gd name="connsiteY3" fmla="*/ 490607 h 606863"/>
              <a:gd name="connsiteX4" fmla="*/ 416917 w 521993"/>
              <a:gd name="connsiteY4" fmla="*/ 466652 h 606863"/>
              <a:gd name="connsiteX5" fmla="*/ 173129 w 521993"/>
              <a:gd name="connsiteY5" fmla="*/ 327483 h 606863"/>
              <a:gd name="connsiteX6" fmla="*/ 183819 w 521993"/>
              <a:gd name="connsiteY6" fmla="*/ 328394 h 606863"/>
              <a:gd name="connsiteX7" fmla="*/ 235315 w 521993"/>
              <a:gd name="connsiteY7" fmla="*/ 353260 h 606863"/>
              <a:gd name="connsiteX8" fmla="*/ 242355 w 521993"/>
              <a:gd name="connsiteY8" fmla="*/ 359379 h 606863"/>
              <a:gd name="connsiteX9" fmla="*/ 260997 w 521993"/>
              <a:gd name="connsiteY9" fmla="*/ 408459 h 606863"/>
              <a:gd name="connsiteX10" fmla="*/ 279640 w 521993"/>
              <a:gd name="connsiteY10" fmla="*/ 359379 h 606863"/>
              <a:gd name="connsiteX11" fmla="*/ 286680 w 521993"/>
              <a:gd name="connsiteY11" fmla="*/ 353260 h 606863"/>
              <a:gd name="connsiteX12" fmla="*/ 338175 w 521993"/>
              <a:gd name="connsiteY12" fmla="*/ 328394 h 606863"/>
              <a:gd name="connsiteX13" fmla="*/ 348865 w 521993"/>
              <a:gd name="connsiteY13" fmla="*/ 327483 h 606863"/>
              <a:gd name="connsiteX14" fmla="*/ 349387 w 521993"/>
              <a:gd name="connsiteY14" fmla="*/ 327743 h 606863"/>
              <a:gd name="connsiteX15" fmla="*/ 470368 w 521993"/>
              <a:gd name="connsiteY15" fmla="*/ 395440 h 606863"/>
              <a:gd name="connsiteX16" fmla="*/ 521863 w 521993"/>
              <a:gd name="connsiteY16" fmla="*/ 517816 h 606863"/>
              <a:gd name="connsiteX17" fmla="*/ 521472 w 521993"/>
              <a:gd name="connsiteY17" fmla="*/ 522633 h 606863"/>
              <a:gd name="connsiteX18" fmla="*/ 260997 w 521993"/>
              <a:gd name="connsiteY18" fmla="*/ 606863 h 606863"/>
              <a:gd name="connsiteX19" fmla="*/ 522 w 521993"/>
              <a:gd name="connsiteY19" fmla="*/ 522633 h 606863"/>
              <a:gd name="connsiteX20" fmla="*/ 131 w 521993"/>
              <a:gd name="connsiteY20" fmla="*/ 517816 h 606863"/>
              <a:gd name="connsiteX21" fmla="*/ 51757 w 521993"/>
              <a:gd name="connsiteY21" fmla="*/ 395440 h 606863"/>
              <a:gd name="connsiteX22" fmla="*/ 173129 w 521993"/>
              <a:gd name="connsiteY22" fmla="*/ 327483 h 606863"/>
              <a:gd name="connsiteX23" fmla="*/ 218629 w 521993"/>
              <a:gd name="connsiteY23" fmla="*/ 102451 h 606863"/>
              <a:gd name="connsiteX24" fmla="*/ 141455 w 521993"/>
              <a:gd name="connsiteY24" fmla="*/ 142547 h 606863"/>
              <a:gd name="connsiteX25" fmla="*/ 140933 w 521993"/>
              <a:gd name="connsiteY25" fmla="*/ 171186 h 606863"/>
              <a:gd name="connsiteX26" fmla="*/ 188907 w 521993"/>
              <a:gd name="connsiteY26" fmla="*/ 287046 h 606863"/>
              <a:gd name="connsiteX27" fmla="*/ 260997 w 521993"/>
              <a:gd name="connsiteY27" fmla="*/ 321805 h 606863"/>
              <a:gd name="connsiteX28" fmla="*/ 333088 w 521993"/>
              <a:gd name="connsiteY28" fmla="*/ 287046 h 606863"/>
              <a:gd name="connsiteX29" fmla="*/ 381061 w 521993"/>
              <a:gd name="connsiteY29" fmla="*/ 171186 h 606863"/>
              <a:gd name="connsiteX30" fmla="*/ 380409 w 521993"/>
              <a:gd name="connsiteY30" fmla="*/ 139032 h 606863"/>
              <a:gd name="connsiteX31" fmla="*/ 218629 w 521993"/>
              <a:gd name="connsiteY31" fmla="*/ 102451 h 606863"/>
              <a:gd name="connsiteX32" fmla="*/ 260997 w 521993"/>
              <a:gd name="connsiteY32" fmla="*/ 0 h 606863"/>
              <a:gd name="connsiteX33" fmla="*/ 401528 w 521993"/>
              <a:gd name="connsiteY33" fmla="*/ 171186 h 606863"/>
              <a:gd name="connsiteX34" fmla="*/ 260997 w 521993"/>
              <a:gd name="connsiteY34" fmla="*/ 342243 h 606863"/>
              <a:gd name="connsiteX35" fmla="*/ 120466 w 521993"/>
              <a:gd name="connsiteY35" fmla="*/ 171186 h 606863"/>
              <a:gd name="connsiteX36" fmla="*/ 260997 w 521993"/>
              <a:gd name="connsiteY36" fmla="*/ 0 h 60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21993" h="606863">
                <a:moveTo>
                  <a:pt x="327615" y="466652"/>
                </a:moveTo>
                <a:lnTo>
                  <a:pt x="327615" y="490607"/>
                </a:lnTo>
                <a:lnTo>
                  <a:pt x="372201" y="504537"/>
                </a:lnTo>
                <a:lnTo>
                  <a:pt x="416917" y="490607"/>
                </a:lnTo>
                <a:lnTo>
                  <a:pt x="416917" y="466652"/>
                </a:lnTo>
                <a:close/>
                <a:moveTo>
                  <a:pt x="173129" y="327483"/>
                </a:moveTo>
                <a:cubicBezTo>
                  <a:pt x="176649" y="325660"/>
                  <a:pt x="180821" y="326051"/>
                  <a:pt x="183819" y="328394"/>
                </a:cubicBezTo>
                <a:cubicBezTo>
                  <a:pt x="199724" y="340762"/>
                  <a:pt x="216933" y="349224"/>
                  <a:pt x="235315" y="353260"/>
                </a:cubicBezTo>
                <a:cubicBezTo>
                  <a:pt x="238574" y="353911"/>
                  <a:pt x="241181" y="356254"/>
                  <a:pt x="242355" y="359379"/>
                </a:cubicBezTo>
                <a:lnTo>
                  <a:pt x="260997" y="408459"/>
                </a:lnTo>
                <a:lnTo>
                  <a:pt x="279640" y="359379"/>
                </a:lnTo>
                <a:cubicBezTo>
                  <a:pt x="280813" y="356254"/>
                  <a:pt x="283551" y="353911"/>
                  <a:pt x="286680" y="353260"/>
                </a:cubicBezTo>
                <a:cubicBezTo>
                  <a:pt x="305062" y="349224"/>
                  <a:pt x="322401" y="340762"/>
                  <a:pt x="338175" y="328394"/>
                </a:cubicBezTo>
                <a:cubicBezTo>
                  <a:pt x="341174" y="326051"/>
                  <a:pt x="345476" y="325660"/>
                  <a:pt x="348865" y="327483"/>
                </a:cubicBezTo>
                <a:lnTo>
                  <a:pt x="349387" y="327743"/>
                </a:lnTo>
                <a:cubicBezTo>
                  <a:pt x="379502" y="343886"/>
                  <a:pt x="450161" y="381510"/>
                  <a:pt x="470368" y="395440"/>
                </a:cubicBezTo>
                <a:cubicBezTo>
                  <a:pt x="499962" y="415880"/>
                  <a:pt x="514693" y="473162"/>
                  <a:pt x="521863" y="517816"/>
                </a:cubicBezTo>
                <a:cubicBezTo>
                  <a:pt x="522124" y="519378"/>
                  <a:pt x="521994" y="521070"/>
                  <a:pt x="521472" y="522633"/>
                </a:cubicBezTo>
                <a:cubicBezTo>
                  <a:pt x="520299" y="526017"/>
                  <a:pt x="489011" y="606863"/>
                  <a:pt x="260997" y="606863"/>
                </a:cubicBezTo>
                <a:cubicBezTo>
                  <a:pt x="33114" y="606863"/>
                  <a:pt x="1826" y="526017"/>
                  <a:pt x="522" y="522633"/>
                </a:cubicBezTo>
                <a:cubicBezTo>
                  <a:pt x="1" y="521070"/>
                  <a:pt x="-130" y="519378"/>
                  <a:pt x="131" y="517816"/>
                </a:cubicBezTo>
                <a:cubicBezTo>
                  <a:pt x="2738" y="501412"/>
                  <a:pt x="17731" y="418353"/>
                  <a:pt x="51757" y="395440"/>
                </a:cubicBezTo>
                <a:cubicBezTo>
                  <a:pt x="71964" y="381771"/>
                  <a:pt x="143405" y="343366"/>
                  <a:pt x="173129" y="327483"/>
                </a:cubicBezTo>
                <a:close/>
                <a:moveTo>
                  <a:pt x="218629" y="102451"/>
                </a:moveTo>
                <a:cubicBezTo>
                  <a:pt x="172742" y="101540"/>
                  <a:pt x="151362" y="123540"/>
                  <a:pt x="141455" y="142547"/>
                </a:cubicBezTo>
                <a:cubicBezTo>
                  <a:pt x="141064" y="152050"/>
                  <a:pt x="140933" y="161553"/>
                  <a:pt x="140933" y="171186"/>
                </a:cubicBezTo>
                <a:cubicBezTo>
                  <a:pt x="140933" y="230158"/>
                  <a:pt x="167006" y="266738"/>
                  <a:pt x="188907" y="287046"/>
                </a:cubicBezTo>
                <a:cubicBezTo>
                  <a:pt x="216544" y="312562"/>
                  <a:pt x="247179" y="321805"/>
                  <a:pt x="260997" y="321805"/>
                </a:cubicBezTo>
                <a:cubicBezTo>
                  <a:pt x="274816" y="321805"/>
                  <a:pt x="305451" y="312562"/>
                  <a:pt x="333088" y="287046"/>
                </a:cubicBezTo>
                <a:cubicBezTo>
                  <a:pt x="354989" y="266738"/>
                  <a:pt x="381061" y="230158"/>
                  <a:pt x="381061" y="171186"/>
                </a:cubicBezTo>
                <a:cubicBezTo>
                  <a:pt x="381061" y="160381"/>
                  <a:pt x="380931" y="149576"/>
                  <a:pt x="380409" y="139032"/>
                </a:cubicBezTo>
                <a:cubicBezTo>
                  <a:pt x="246006" y="168713"/>
                  <a:pt x="218629" y="102451"/>
                  <a:pt x="218629" y="102451"/>
                </a:cubicBezTo>
                <a:close/>
                <a:moveTo>
                  <a:pt x="260997" y="0"/>
                </a:moveTo>
                <a:cubicBezTo>
                  <a:pt x="388753" y="0"/>
                  <a:pt x="401528" y="76676"/>
                  <a:pt x="401528" y="171186"/>
                </a:cubicBezTo>
                <a:cubicBezTo>
                  <a:pt x="401528" y="291863"/>
                  <a:pt x="302974" y="342243"/>
                  <a:pt x="260997" y="342243"/>
                </a:cubicBezTo>
                <a:cubicBezTo>
                  <a:pt x="219020" y="342243"/>
                  <a:pt x="120466" y="291863"/>
                  <a:pt x="120466" y="171186"/>
                </a:cubicBezTo>
                <a:cubicBezTo>
                  <a:pt x="120466" y="76676"/>
                  <a:pt x="133242" y="0"/>
                  <a:pt x="260997" y="0"/>
                </a:cubicBezTo>
                <a:close/>
              </a:path>
            </a:pathLst>
          </a:custGeom>
          <a:solidFill>
            <a:srgbClr val="01BADC"/>
          </a:solidFill>
          <a:ln>
            <a:noFill/>
          </a:ln>
        </p:spPr>
      </p:sp>
      <p:sp>
        <p:nvSpPr>
          <p:cNvPr id="22" name="specialist-user_80886">
            <a:extLst>
              <a:ext uri="{FF2B5EF4-FFF2-40B4-BE49-F238E27FC236}">
                <a16:creationId xmlns:a16="http://schemas.microsoft.com/office/drawing/2014/main" id="{EFEFB753-0A44-4B54-80FC-8F605CD32140}"/>
              </a:ext>
            </a:extLst>
          </p:cNvPr>
          <p:cNvSpPr>
            <a:spLocks noChangeAspect="1"/>
          </p:cNvSpPr>
          <p:nvPr/>
        </p:nvSpPr>
        <p:spPr bwMode="auto">
          <a:xfrm>
            <a:off x="1026813" y="5444163"/>
            <a:ext cx="215247" cy="250244"/>
          </a:xfrm>
          <a:custGeom>
            <a:avLst/>
            <a:gdLst>
              <a:gd name="connsiteX0" fmla="*/ 327615 w 521993"/>
              <a:gd name="connsiteY0" fmla="*/ 466652 h 606863"/>
              <a:gd name="connsiteX1" fmla="*/ 327615 w 521993"/>
              <a:gd name="connsiteY1" fmla="*/ 490607 h 606863"/>
              <a:gd name="connsiteX2" fmla="*/ 372201 w 521993"/>
              <a:gd name="connsiteY2" fmla="*/ 504537 h 606863"/>
              <a:gd name="connsiteX3" fmla="*/ 416917 w 521993"/>
              <a:gd name="connsiteY3" fmla="*/ 490607 h 606863"/>
              <a:gd name="connsiteX4" fmla="*/ 416917 w 521993"/>
              <a:gd name="connsiteY4" fmla="*/ 466652 h 606863"/>
              <a:gd name="connsiteX5" fmla="*/ 173129 w 521993"/>
              <a:gd name="connsiteY5" fmla="*/ 327483 h 606863"/>
              <a:gd name="connsiteX6" fmla="*/ 183819 w 521993"/>
              <a:gd name="connsiteY6" fmla="*/ 328394 h 606863"/>
              <a:gd name="connsiteX7" fmla="*/ 235315 w 521993"/>
              <a:gd name="connsiteY7" fmla="*/ 353260 h 606863"/>
              <a:gd name="connsiteX8" fmla="*/ 242355 w 521993"/>
              <a:gd name="connsiteY8" fmla="*/ 359379 h 606863"/>
              <a:gd name="connsiteX9" fmla="*/ 260997 w 521993"/>
              <a:gd name="connsiteY9" fmla="*/ 408459 h 606863"/>
              <a:gd name="connsiteX10" fmla="*/ 279640 w 521993"/>
              <a:gd name="connsiteY10" fmla="*/ 359379 h 606863"/>
              <a:gd name="connsiteX11" fmla="*/ 286680 w 521993"/>
              <a:gd name="connsiteY11" fmla="*/ 353260 h 606863"/>
              <a:gd name="connsiteX12" fmla="*/ 338175 w 521993"/>
              <a:gd name="connsiteY12" fmla="*/ 328394 h 606863"/>
              <a:gd name="connsiteX13" fmla="*/ 348865 w 521993"/>
              <a:gd name="connsiteY13" fmla="*/ 327483 h 606863"/>
              <a:gd name="connsiteX14" fmla="*/ 349387 w 521993"/>
              <a:gd name="connsiteY14" fmla="*/ 327743 h 606863"/>
              <a:gd name="connsiteX15" fmla="*/ 470368 w 521993"/>
              <a:gd name="connsiteY15" fmla="*/ 395440 h 606863"/>
              <a:gd name="connsiteX16" fmla="*/ 521863 w 521993"/>
              <a:gd name="connsiteY16" fmla="*/ 517816 h 606863"/>
              <a:gd name="connsiteX17" fmla="*/ 521472 w 521993"/>
              <a:gd name="connsiteY17" fmla="*/ 522633 h 606863"/>
              <a:gd name="connsiteX18" fmla="*/ 260997 w 521993"/>
              <a:gd name="connsiteY18" fmla="*/ 606863 h 606863"/>
              <a:gd name="connsiteX19" fmla="*/ 522 w 521993"/>
              <a:gd name="connsiteY19" fmla="*/ 522633 h 606863"/>
              <a:gd name="connsiteX20" fmla="*/ 131 w 521993"/>
              <a:gd name="connsiteY20" fmla="*/ 517816 h 606863"/>
              <a:gd name="connsiteX21" fmla="*/ 51757 w 521993"/>
              <a:gd name="connsiteY21" fmla="*/ 395440 h 606863"/>
              <a:gd name="connsiteX22" fmla="*/ 173129 w 521993"/>
              <a:gd name="connsiteY22" fmla="*/ 327483 h 606863"/>
              <a:gd name="connsiteX23" fmla="*/ 218629 w 521993"/>
              <a:gd name="connsiteY23" fmla="*/ 102451 h 606863"/>
              <a:gd name="connsiteX24" fmla="*/ 141455 w 521993"/>
              <a:gd name="connsiteY24" fmla="*/ 142547 h 606863"/>
              <a:gd name="connsiteX25" fmla="*/ 140933 w 521993"/>
              <a:gd name="connsiteY25" fmla="*/ 171186 h 606863"/>
              <a:gd name="connsiteX26" fmla="*/ 188907 w 521993"/>
              <a:gd name="connsiteY26" fmla="*/ 287046 h 606863"/>
              <a:gd name="connsiteX27" fmla="*/ 260997 w 521993"/>
              <a:gd name="connsiteY27" fmla="*/ 321805 h 606863"/>
              <a:gd name="connsiteX28" fmla="*/ 333088 w 521993"/>
              <a:gd name="connsiteY28" fmla="*/ 287046 h 606863"/>
              <a:gd name="connsiteX29" fmla="*/ 381061 w 521993"/>
              <a:gd name="connsiteY29" fmla="*/ 171186 h 606863"/>
              <a:gd name="connsiteX30" fmla="*/ 380409 w 521993"/>
              <a:gd name="connsiteY30" fmla="*/ 139032 h 606863"/>
              <a:gd name="connsiteX31" fmla="*/ 218629 w 521993"/>
              <a:gd name="connsiteY31" fmla="*/ 102451 h 606863"/>
              <a:gd name="connsiteX32" fmla="*/ 260997 w 521993"/>
              <a:gd name="connsiteY32" fmla="*/ 0 h 606863"/>
              <a:gd name="connsiteX33" fmla="*/ 401528 w 521993"/>
              <a:gd name="connsiteY33" fmla="*/ 171186 h 606863"/>
              <a:gd name="connsiteX34" fmla="*/ 260997 w 521993"/>
              <a:gd name="connsiteY34" fmla="*/ 342243 h 606863"/>
              <a:gd name="connsiteX35" fmla="*/ 120466 w 521993"/>
              <a:gd name="connsiteY35" fmla="*/ 171186 h 606863"/>
              <a:gd name="connsiteX36" fmla="*/ 260997 w 521993"/>
              <a:gd name="connsiteY36" fmla="*/ 0 h 60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21993" h="606863">
                <a:moveTo>
                  <a:pt x="327615" y="466652"/>
                </a:moveTo>
                <a:lnTo>
                  <a:pt x="327615" y="490607"/>
                </a:lnTo>
                <a:lnTo>
                  <a:pt x="372201" y="504537"/>
                </a:lnTo>
                <a:lnTo>
                  <a:pt x="416917" y="490607"/>
                </a:lnTo>
                <a:lnTo>
                  <a:pt x="416917" y="466652"/>
                </a:lnTo>
                <a:close/>
                <a:moveTo>
                  <a:pt x="173129" y="327483"/>
                </a:moveTo>
                <a:cubicBezTo>
                  <a:pt x="176649" y="325660"/>
                  <a:pt x="180821" y="326051"/>
                  <a:pt x="183819" y="328394"/>
                </a:cubicBezTo>
                <a:cubicBezTo>
                  <a:pt x="199724" y="340762"/>
                  <a:pt x="216933" y="349224"/>
                  <a:pt x="235315" y="353260"/>
                </a:cubicBezTo>
                <a:cubicBezTo>
                  <a:pt x="238574" y="353911"/>
                  <a:pt x="241181" y="356254"/>
                  <a:pt x="242355" y="359379"/>
                </a:cubicBezTo>
                <a:lnTo>
                  <a:pt x="260997" y="408459"/>
                </a:lnTo>
                <a:lnTo>
                  <a:pt x="279640" y="359379"/>
                </a:lnTo>
                <a:cubicBezTo>
                  <a:pt x="280813" y="356254"/>
                  <a:pt x="283551" y="353911"/>
                  <a:pt x="286680" y="353260"/>
                </a:cubicBezTo>
                <a:cubicBezTo>
                  <a:pt x="305062" y="349224"/>
                  <a:pt x="322401" y="340762"/>
                  <a:pt x="338175" y="328394"/>
                </a:cubicBezTo>
                <a:cubicBezTo>
                  <a:pt x="341174" y="326051"/>
                  <a:pt x="345476" y="325660"/>
                  <a:pt x="348865" y="327483"/>
                </a:cubicBezTo>
                <a:lnTo>
                  <a:pt x="349387" y="327743"/>
                </a:lnTo>
                <a:cubicBezTo>
                  <a:pt x="379502" y="343886"/>
                  <a:pt x="450161" y="381510"/>
                  <a:pt x="470368" y="395440"/>
                </a:cubicBezTo>
                <a:cubicBezTo>
                  <a:pt x="499962" y="415880"/>
                  <a:pt x="514693" y="473162"/>
                  <a:pt x="521863" y="517816"/>
                </a:cubicBezTo>
                <a:cubicBezTo>
                  <a:pt x="522124" y="519378"/>
                  <a:pt x="521994" y="521070"/>
                  <a:pt x="521472" y="522633"/>
                </a:cubicBezTo>
                <a:cubicBezTo>
                  <a:pt x="520299" y="526017"/>
                  <a:pt x="489011" y="606863"/>
                  <a:pt x="260997" y="606863"/>
                </a:cubicBezTo>
                <a:cubicBezTo>
                  <a:pt x="33114" y="606863"/>
                  <a:pt x="1826" y="526017"/>
                  <a:pt x="522" y="522633"/>
                </a:cubicBezTo>
                <a:cubicBezTo>
                  <a:pt x="1" y="521070"/>
                  <a:pt x="-130" y="519378"/>
                  <a:pt x="131" y="517816"/>
                </a:cubicBezTo>
                <a:cubicBezTo>
                  <a:pt x="2738" y="501412"/>
                  <a:pt x="17731" y="418353"/>
                  <a:pt x="51757" y="395440"/>
                </a:cubicBezTo>
                <a:cubicBezTo>
                  <a:pt x="71964" y="381771"/>
                  <a:pt x="143405" y="343366"/>
                  <a:pt x="173129" y="327483"/>
                </a:cubicBezTo>
                <a:close/>
                <a:moveTo>
                  <a:pt x="218629" y="102451"/>
                </a:moveTo>
                <a:cubicBezTo>
                  <a:pt x="172742" y="101540"/>
                  <a:pt x="151362" y="123540"/>
                  <a:pt x="141455" y="142547"/>
                </a:cubicBezTo>
                <a:cubicBezTo>
                  <a:pt x="141064" y="152050"/>
                  <a:pt x="140933" y="161553"/>
                  <a:pt x="140933" y="171186"/>
                </a:cubicBezTo>
                <a:cubicBezTo>
                  <a:pt x="140933" y="230158"/>
                  <a:pt x="167006" y="266738"/>
                  <a:pt x="188907" y="287046"/>
                </a:cubicBezTo>
                <a:cubicBezTo>
                  <a:pt x="216544" y="312562"/>
                  <a:pt x="247179" y="321805"/>
                  <a:pt x="260997" y="321805"/>
                </a:cubicBezTo>
                <a:cubicBezTo>
                  <a:pt x="274816" y="321805"/>
                  <a:pt x="305451" y="312562"/>
                  <a:pt x="333088" y="287046"/>
                </a:cubicBezTo>
                <a:cubicBezTo>
                  <a:pt x="354989" y="266738"/>
                  <a:pt x="381061" y="230158"/>
                  <a:pt x="381061" y="171186"/>
                </a:cubicBezTo>
                <a:cubicBezTo>
                  <a:pt x="381061" y="160381"/>
                  <a:pt x="380931" y="149576"/>
                  <a:pt x="380409" y="139032"/>
                </a:cubicBezTo>
                <a:cubicBezTo>
                  <a:pt x="246006" y="168713"/>
                  <a:pt x="218629" y="102451"/>
                  <a:pt x="218629" y="102451"/>
                </a:cubicBezTo>
                <a:close/>
                <a:moveTo>
                  <a:pt x="260997" y="0"/>
                </a:moveTo>
                <a:cubicBezTo>
                  <a:pt x="388753" y="0"/>
                  <a:pt x="401528" y="76676"/>
                  <a:pt x="401528" y="171186"/>
                </a:cubicBezTo>
                <a:cubicBezTo>
                  <a:pt x="401528" y="291863"/>
                  <a:pt x="302974" y="342243"/>
                  <a:pt x="260997" y="342243"/>
                </a:cubicBezTo>
                <a:cubicBezTo>
                  <a:pt x="219020" y="342243"/>
                  <a:pt x="120466" y="291863"/>
                  <a:pt x="120466" y="171186"/>
                </a:cubicBezTo>
                <a:cubicBezTo>
                  <a:pt x="120466" y="76676"/>
                  <a:pt x="133242" y="0"/>
                  <a:pt x="260997" y="0"/>
                </a:cubicBezTo>
                <a:close/>
              </a:path>
            </a:pathLst>
          </a:custGeom>
          <a:solidFill>
            <a:srgbClr val="01BADC"/>
          </a:solidFill>
          <a:ln>
            <a:noFill/>
          </a:ln>
        </p:spPr>
      </p:sp>
      <p:sp>
        <p:nvSpPr>
          <p:cNvPr id="12" name="标题 3">
            <a:extLst>
              <a:ext uri="{FF2B5EF4-FFF2-40B4-BE49-F238E27FC236}">
                <a16:creationId xmlns:a16="http://schemas.microsoft.com/office/drawing/2014/main" id="{E726E260-35FA-4B45-8D43-047AEDDFB7F3}"/>
              </a:ext>
            </a:extLst>
          </p:cNvPr>
          <p:cNvSpPr txBox="1">
            <a:spLocks/>
          </p:cNvSpPr>
          <p:nvPr/>
        </p:nvSpPr>
        <p:spPr>
          <a:xfrm>
            <a:off x="676640" y="3069139"/>
            <a:ext cx="5864243" cy="886805"/>
          </a:xfrm>
          <a:prstGeom prst="rect">
            <a:avLst/>
          </a:prstGeom>
          <a:noFill/>
        </p:spPr>
        <p:txBody>
          <a:bodyPr vert="horz" lIns="91440" tIns="45720" rIns="91440" bIns="45720" rtlCol="0" anchor="ctr">
            <a:normAutofit/>
          </a:bodyPr>
          <a:lstStyle>
            <a:lvl1pPr algn="l" defTabSz="914354" rtl="0" eaLnBrk="1" latinLnBrk="0" hangingPunct="1">
              <a:lnSpc>
                <a:spcPct val="90000"/>
              </a:lnSpc>
              <a:spcBef>
                <a:spcPct val="0"/>
              </a:spcBef>
              <a:buNone/>
              <a:defRPr sz="3200" b="1" kern="1200">
                <a:solidFill>
                  <a:schemeClr val="bg1"/>
                </a:solidFill>
                <a:latin typeface="+mj-lt"/>
                <a:ea typeface="+mj-ea"/>
                <a:cs typeface="+mj-cs"/>
              </a:defRPr>
            </a:lvl1pPr>
          </a:lstStyle>
          <a:p>
            <a:pPr>
              <a:lnSpc>
                <a:spcPts val="1000"/>
              </a:lnSpc>
              <a:spcBef>
                <a:spcPts val="1800"/>
              </a:spcBef>
            </a:pPr>
            <a:r>
              <a:rPr lang="zh-CN" altLang="en-US" sz="2000" b="0" dirty="0"/>
              <a:t>设计模式实现变体对恢复工具检索效率的影响</a:t>
            </a:r>
            <a:endParaRPr lang="en-US" altLang="zh-CN" sz="2000" b="0" dirty="0"/>
          </a:p>
          <a:p>
            <a:pPr>
              <a:lnSpc>
                <a:spcPts val="1000"/>
              </a:lnSpc>
              <a:spcBef>
                <a:spcPts val="1800"/>
              </a:spcBef>
            </a:pPr>
            <a:r>
              <a:rPr lang="en-US" altLang="zh-CN" sz="2000" b="0" dirty="0"/>
              <a:t>—— </a:t>
            </a:r>
            <a:r>
              <a:rPr lang="zh-CN" altLang="en-US" sz="2000" b="0" dirty="0"/>
              <a:t>探索性研究</a:t>
            </a:r>
            <a:endParaRPr lang="zh-CN" altLang="en-US" dirty="0"/>
          </a:p>
        </p:txBody>
      </p:sp>
    </p:spTree>
    <p:extLst>
      <p:ext uri="{BB962C8B-B14F-4D97-AF65-F5344CB8AC3E}">
        <p14:creationId xmlns:p14="http://schemas.microsoft.com/office/powerpoint/2010/main" val="2271741893"/>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27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1C291222-701B-4C9E-A888-2AD0CFAF6B83}"/>
              </a:ext>
            </a:extLst>
          </p:cNvPr>
          <p:cNvGrpSpPr>
            <a:grpSpLocks noChangeAspect="1"/>
          </p:cNvGrpSpPr>
          <p:nvPr>
            <p:custDataLst>
              <p:tags r:id="rId1"/>
            </p:custDataLst>
          </p:nvPr>
        </p:nvGrpSpPr>
        <p:grpSpPr>
          <a:xfrm>
            <a:off x="370565" y="1465745"/>
            <a:ext cx="11466256" cy="4528144"/>
            <a:chOff x="725744" y="1595285"/>
            <a:chExt cx="11466256" cy="4528144"/>
          </a:xfrm>
        </p:grpSpPr>
        <p:cxnSp>
          <p:nvCxnSpPr>
            <p:cNvPr id="12" name="直接连接符 11">
              <a:extLst>
                <a:ext uri="{FF2B5EF4-FFF2-40B4-BE49-F238E27FC236}">
                  <a16:creationId xmlns:a16="http://schemas.microsoft.com/office/drawing/2014/main" id="{B7C29165-54C3-4ED4-8672-7697AA813665}"/>
                </a:ext>
              </a:extLst>
            </p:cNvPr>
            <p:cNvCxnSpPr/>
            <p:nvPr/>
          </p:nvCxnSpPr>
          <p:spPr>
            <a:xfrm>
              <a:off x="960558" y="3212976"/>
              <a:ext cx="11231442" cy="0"/>
            </a:xfrm>
            <a:prstGeom prst="line">
              <a:avLst/>
            </a:prstGeom>
            <a:ln w="28575" cap="rnd">
              <a:solidFill>
                <a:srgbClr val="95A5A6"/>
              </a:solidFill>
              <a:prstDash val="sysDot"/>
            </a:ln>
          </p:spPr>
          <p:style>
            <a:lnRef idx="1">
              <a:schemeClr val="accent1"/>
            </a:lnRef>
            <a:fillRef idx="0">
              <a:schemeClr val="accent1"/>
            </a:fillRef>
            <a:effectRef idx="0">
              <a:schemeClr val="accent1"/>
            </a:effectRef>
            <a:fontRef idx="minor">
              <a:schemeClr val="tx1"/>
            </a:fontRef>
          </p:style>
        </p:cxnSp>
        <p:sp>
          <p:nvSpPr>
            <p:cNvPr id="15" name="îṣ1iḍe">
              <a:extLst>
                <a:ext uri="{FF2B5EF4-FFF2-40B4-BE49-F238E27FC236}">
                  <a16:creationId xmlns:a16="http://schemas.microsoft.com/office/drawing/2014/main" id="{3A94839A-2089-4E29-A19A-B90CE5F45AA4}"/>
                </a:ext>
              </a:extLst>
            </p:cNvPr>
            <p:cNvSpPr/>
            <p:nvPr/>
          </p:nvSpPr>
          <p:spPr>
            <a:xfrm>
              <a:off x="725744" y="3099528"/>
              <a:ext cx="226898" cy="22689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6" name="îşlíḓé">
              <a:extLst>
                <a:ext uri="{FF2B5EF4-FFF2-40B4-BE49-F238E27FC236}">
                  <a16:creationId xmlns:a16="http://schemas.microsoft.com/office/drawing/2014/main" id="{811A44B5-7292-42AC-B5E4-8A352A95FD3A}"/>
                </a:ext>
              </a:extLst>
            </p:cNvPr>
            <p:cNvSpPr/>
            <p:nvPr/>
          </p:nvSpPr>
          <p:spPr>
            <a:xfrm>
              <a:off x="1459016" y="3099528"/>
              <a:ext cx="226898" cy="22689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7" name="íŝḻíde">
              <a:extLst>
                <a:ext uri="{FF2B5EF4-FFF2-40B4-BE49-F238E27FC236}">
                  <a16:creationId xmlns:a16="http://schemas.microsoft.com/office/drawing/2014/main" id="{B382DAE9-82A7-40AF-978B-2AF04BF3B7DA}"/>
                </a:ext>
              </a:extLst>
            </p:cNvPr>
            <p:cNvSpPr/>
            <p:nvPr/>
          </p:nvSpPr>
          <p:spPr>
            <a:xfrm>
              <a:off x="2751993" y="3099528"/>
              <a:ext cx="226898" cy="22689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8" name="îṥľíḍê">
              <a:extLst>
                <a:ext uri="{FF2B5EF4-FFF2-40B4-BE49-F238E27FC236}">
                  <a16:creationId xmlns:a16="http://schemas.microsoft.com/office/drawing/2014/main" id="{9E060225-5412-4842-84D5-F6316BD70BD0}"/>
                </a:ext>
              </a:extLst>
            </p:cNvPr>
            <p:cNvSpPr/>
            <p:nvPr/>
          </p:nvSpPr>
          <p:spPr>
            <a:xfrm>
              <a:off x="4689944" y="3099528"/>
              <a:ext cx="226898" cy="22689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9" name="ïṧļiḍé">
              <a:extLst>
                <a:ext uri="{FF2B5EF4-FFF2-40B4-BE49-F238E27FC236}">
                  <a16:creationId xmlns:a16="http://schemas.microsoft.com/office/drawing/2014/main" id="{0AB3B02A-C795-4B00-867B-585F8F3685A9}"/>
                </a:ext>
              </a:extLst>
            </p:cNvPr>
            <p:cNvSpPr/>
            <p:nvPr/>
          </p:nvSpPr>
          <p:spPr>
            <a:xfrm>
              <a:off x="6020027" y="3099528"/>
              <a:ext cx="226898" cy="22689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0" name="iṧļîḋè">
              <a:extLst>
                <a:ext uri="{FF2B5EF4-FFF2-40B4-BE49-F238E27FC236}">
                  <a16:creationId xmlns:a16="http://schemas.microsoft.com/office/drawing/2014/main" id="{9FB2314A-2B6D-420C-AD0A-7DD9FF676755}"/>
                </a:ext>
              </a:extLst>
            </p:cNvPr>
            <p:cNvSpPr/>
            <p:nvPr/>
          </p:nvSpPr>
          <p:spPr>
            <a:xfrm>
              <a:off x="7117579" y="3099528"/>
              <a:ext cx="226898" cy="22689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1" name="íš1îďè">
              <a:extLst>
                <a:ext uri="{FF2B5EF4-FFF2-40B4-BE49-F238E27FC236}">
                  <a16:creationId xmlns:a16="http://schemas.microsoft.com/office/drawing/2014/main" id="{2CE535A5-AFF5-4C7B-8D26-BC95D64BEB81}"/>
                </a:ext>
              </a:extLst>
            </p:cNvPr>
            <p:cNvSpPr/>
            <p:nvPr/>
          </p:nvSpPr>
          <p:spPr>
            <a:xfrm>
              <a:off x="9563232" y="3093040"/>
              <a:ext cx="226898" cy="22689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2" name="íśḷiḍê">
              <a:extLst>
                <a:ext uri="{FF2B5EF4-FFF2-40B4-BE49-F238E27FC236}">
                  <a16:creationId xmlns:a16="http://schemas.microsoft.com/office/drawing/2014/main" id="{9BA876D3-CC1C-4A24-8C5D-773A770B1EF1}"/>
                </a:ext>
              </a:extLst>
            </p:cNvPr>
            <p:cNvSpPr/>
            <p:nvPr/>
          </p:nvSpPr>
          <p:spPr>
            <a:xfrm>
              <a:off x="11079497" y="3099528"/>
              <a:ext cx="226898" cy="22689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cxnSp>
          <p:nvCxnSpPr>
            <p:cNvPr id="23" name="直接连接符 22">
              <a:extLst>
                <a:ext uri="{FF2B5EF4-FFF2-40B4-BE49-F238E27FC236}">
                  <a16:creationId xmlns:a16="http://schemas.microsoft.com/office/drawing/2014/main" id="{4BBF79A7-37CC-4A41-9095-6754FFDD2B05}"/>
                </a:ext>
              </a:extLst>
            </p:cNvPr>
            <p:cNvCxnSpPr/>
            <p:nvPr/>
          </p:nvCxnSpPr>
          <p:spPr>
            <a:xfrm flipH="1">
              <a:off x="847109" y="3326425"/>
              <a:ext cx="7916" cy="1699095"/>
            </a:xfrm>
            <a:prstGeom prst="line">
              <a:avLst/>
            </a:prstGeom>
            <a:ln w="3175">
              <a:solidFill>
                <a:srgbClr val="95A5A6"/>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4" name="直接连接符 23">
              <a:extLst>
                <a:ext uri="{FF2B5EF4-FFF2-40B4-BE49-F238E27FC236}">
                  <a16:creationId xmlns:a16="http://schemas.microsoft.com/office/drawing/2014/main" id="{BAACD92B-3E35-46FA-B7D6-B33C72D2E6BF}"/>
                </a:ext>
              </a:extLst>
            </p:cNvPr>
            <p:cNvCxnSpPr/>
            <p:nvPr/>
          </p:nvCxnSpPr>
          <p:spPr>
            <a:xfrm>
              <a:off x="1572464" y="3332835"/>
              <a:ext cx="7916" cy="1055338"/>
            </a:xfrm>
            <a:prstGeom prst="line">
              <a:avLst/>
            </a:prstGeom>
            <a:ln w="3175">
              <a:solidFill>
                <a:srgbClr val="95A5A6"/>
              </a:solidFill>
              <a:prstDash val="dash"/>
            </a:ln>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a16="http://schemas.microsoft.com/office/drawing/2014/main" id="{3F8BB986-5444-4BE1-A2AD-4972BD77D4A9}"/>
                </a:ext>
              </a:extLst>
            </p:cNvPr>
            <p:cNvCxnSpPr/>
            <p:nvPr/>
          </p:nvCxnSpPr>
          <p:spPr>
            <a:xfrm>
              <a:off x="1602156" y="4388173"/>
              <a:ext cx="791450" cy="0"/>
            </a:xfrm>
            <a:prstGeom prst="line">
              <a:avLst/>
            </a:prstGeom>
            <a:ln>
              <a:solidFill>
                <a:srgbClr val="95A5A6"/>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0C0FBCC7-4127-42A7-BEBE-399A498F8E8C}"/>
                </a:ext>
              </a:extLst>
            </p:cNvPr>
            <p:cNvCxnSpPr/>
            <p:nvPr/>
          </p:nvCxnSpPr>
          <p:spPr>
            <a:xfrm>
              <a:off x="2854035" y="2044190"/>
              <a:ext cx="7916" cy="1055338"/>
            </a:xfrm>
            <a:prstGeom prst="line">
              <a:avLst/>
            </a:prstGeom>
            <a:ln w="3175">
              <a:solidFill>
                <a:srgbClr val="95A5A6"/>
              </a:solidFill>
              <a:prstDash val="dash"/>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8397BC41-AD35-448C-8942-EB5F511B1392}"/>
                </a:ext>
              </a:extLst>
            </p:cNvPr>
            <p:cNvCxnSpPr/>
            <p:nvPr/>
          </p:nvCxnSpPr>
          <p:spPr>
            <a:xfrm>
              <a:off x="2861950" y="2044951"/>
              <a:ext cx="791450" cy="0"/>
            </a:xfrm>
            <a:prstGeom prst="line">
              <a:avLst/>
            </a:prstGeom>
            <a:ln>
              <a:solidFill>
                <a:srgbClr val="95A5A6"/>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0CE9602A-018B-487B-A181-078C3191BD63}"/>
                </a:ext>
              </a:extLst>
            </p:cNvPr>
            <p:cNvCxnSpPr>
              <a:cxnSpLocks/>
            </p:cNvCxnSpPr>
            <p:nvPr/>
          </p:nvCxnSpPr>
          <p:spPr>
            <a:xfrm>
              <a:off x="4795477" y="3337547"/>
              <a:ext cx="3958" cy="351719"/>
            </a:xfrm>
            <a:prstGeom prst="line">
              <a:avLst/>
            </a:prstGeom>
            <a:ln w="3175">
              <a:solidFill>
                <a:srgbClr val="95A5A6"/>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5CF0D062-083E-48B5-9D2D-2A25B48B2A6F}"/>
                </a:ext>
              </a:extLst>
            </p:cNvPr>
            <p:cNvCxnSpPr/>
            <p:nvPr/>
          </p:nvCxnSpPr>
          <p:spPr>
            <a:xfrm>
              <a:off x="6135233" y="1997724"/>
              <a:ext cx="7916" cy="1055338"/>
            </a:xfrm>
            <a:prstGeom prst="line">
              <a:avLst/>
            </a:prstGeom>
            <a:ln w="3175">
              <a:solidFill>
                <a:srgbClr val="95A5A6"/>
              </a:solidFill>
              <a:prstDash val="dash"/>
            </a:ln>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2D8B2801-9352-4C1E-8250-B7198AAF329B}"/>
                </a:ext>
              </a:extLst>
            </p:cNvPr>
            <p:cNvCxnSpPr/>
            <p:nvPr/>
          </p:nvCxnSpPr>
          <p:spPr>
            <a:xfrm>
              <a:off x="6133476" y="1971081"/>
              <a:ext cx="791450" cy="0"/>
            </a:xfrm>
            <a:prstGeom prst="line">
              <a:avLst/>
            </a:prstGeom>
            <a:ln>
              <a:solidFill>
                <a:srgbClr val="95A5A6"/>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A6684303-7889-46D1-84F4-A531BC0181DF}"/>
                </a:ext>
              </a:extLst>
            </p:cNvPr>
            <p:cNvCxnSpPr/>
            <p:nvPr/>
          </p:nvCxnSpPr>
          <p:spPr>
            <a:xfrm flipH="1">
              <a:off x="7220911" y="3356397"/>
              <a:ext cx="7916" cy="1361387"/>
            </a:xfrm>
            <a:prstGeom prst="line">
              <a:avLst/>
            </a:prstGeom>
            <a:ln w="3175">
              <a:solidFill>
                <a:srgbClr val="95A5A6"/>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6276EE16-55C7-47D5-BC25-33509838AE94}"/>
                </a:ext>
              </a:extLst>
            </p:cNvPr>
            <p:cNvCxnSpPr/>
            <p:nvPr/>
          </p:nvCxnSpPr>
          <p:spPr>
            <a:xfrm>
              <a:off x="11192946" y="3341685"/>
              <a:ext cx="7916" cy="1055338"/>
            </a:xfrm>
            <a:prstGeom prst="line">
              <a:avLst/>
            </a:prstGeom>
            <a:ln w="3175">
              <a:solidFill>
                <a:srgbClr val="95A5A6"/>
              </a:solidFill>
              <a:prstDash val="dash"/>
            </a:ln>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FC2D3826-567B-44D3-9439-3EEBE9337E8B}"/>
                </a:ext>
              </a:extLst>
            </p:cNvPr>
            <p:cNvCxnSpPr/>
            <p:nvPr/>
          </p:nvCxnSpPr>
          <p:spPr>
            <a:xfrm>
              <a:off x="10377254" y="4388173"/>
              <a:ext cx="791450" cy="0"/>
            </a:xfrm>
            <a:prstGeom prst="line">
              <a:avLst/>
            </a:prstGeom>
            <a:ln>
              <a:solidFill>
                <a:srgbClr val="95A5A6"/>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4F7D0709-FB5F-41C2-A6D9-3B80C293C8D9}"/>
                </a:ext>
              </a:extLst>
            </p:cNvPr>
            <p:cNvCxnSpPr/>
            <p:nvPr/>
          </p:nvCxnSpPr>
          <p:spPr>
            <a:xfrm>
              <a:off x="9668765" y="2749127"/>
              <a:ext cx="7916" cy="363036"/>
            </a:xfrm>
            <a:prstGeom prst="line">
              <a:avLst/>
            </a:prstGeom>
            <a:ln w="3175">
              <a:solidFill>
                <a:srgbClr val="95A5A6"/>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35" name="íṩlidê">
              <a:extLst>
                <a:ext uri="{FF2B5EF4-FFF2-40B4-BE49-F238E27FC236}">
                  <a16:creationId xmlns:a16="http://schemas.microsoft.com/office/drawing/2014/main" id="{5500D5E4-AE8B-4B92-BB67-B89C9338B064}"/>
                </a:ext>
              </a:extLst>
            </p:cNvPr>
            <p:cNvSpPr txBox="1"/>
            <p:nvPr/>
          </p:nvSpPr>
          <p:spPr>
            <a:xfrm>
              <a:off x="2462856" y="4002769"/>
              <a:ext cx="1977408" cy="715015"/>
            </a:xfrm>
            <a:prstGeom prst="rect">
              <a:avLst/>
            </a:prstGeom>
            <a:noFill/>
          </p:spPr>
          <p:txBody>
            <a:bodyPr wrap="square" anchor="ctr">
              <a:normAutofit/>
            </a:bodyPr>
            <a:lstStyle/>
            <a:p>
              <a:pPr>
                <a:lnSpc>
                  <a:spcPct val="120000"/>
                </a:lnSpc>
              </a:pPr>
              <a:r>
                <a:rPr lang="en-US" altLang="zh-CN" sz="1200" b="1" dirty="0"/>
                <a:t>A2 </a:t>
              </a:r>
              <a:r>
                <a:rPr lang="zh-CN" altLang="en-US" sz="1000" dirty="0"/>
                <a:t>将上述对象适配器模式的三个</a:t>
              </a:r>
              <a:r>
                <a:rPr lang="en-US" altLang="zh-CN" sz="1000" dirty="0"/>
                <a:t>NC</a:t>
              </a:r>
              <a:r>
                <a:rPr lang="zh-CN" altLang="en-US" sz="1000" dirty="0"/>
                <a:t>添加到定义</a:t>
              </a:r>
              <a:r>
                <a:rPr lang="en-US" altLang="zh-CN" sz="1000" dirty="0"/>
                <a:t>A1</a:t>
              </a:r>
              <a:r>
                <a:rPr lang="zh-CN" altLang="en-US" sz="1000" dirty="0"/>
                <a:t>。</a:t>
              </a:r>
              <a:endParaRPr lang="en-US" altLang="zh-CN" sz="1000" dirty="0"/>
            </a:p>
          </p:txBody>
        </p:sp>
        <p:sp>
          <p:nvSpPr>
            <p:cNvPr id="36" name="iśḷídè">
              <a:extLst>
                <a:ext uri="{FF2B5EF4-FFF2-40B4-BE49-F238E27FC236}">
                  <a16:creationId xmlns:a16="http://schemas.microsoft.com/office/drawing/2014/main" id="{AF16B313-F6B9-4627-8B76-9909AA240685}"/>
                </a:ext>
              </a:extLst>
            </p:cNvPr>
            <p:cNvSpPr txBox="1"/>
            <p:nvPr/>
          </p:nvSpPr>
          <p:spPr>
            <a:xfrm>
              <a:off x="4651270" y="3658707"/>
              <a:ext cx="1977408" cy="853613"/>
            </a:xfrm>
            <a:prstGeom prst="rect">
              <a:avLst/>
            </a:prstGeom>
            <a:noFill/>
          </p:spPr>
          <p:txBody>
            <a:bodyPr wrap="square" anchor="ctr">
              <a:normAutofit/>
            </a:bodyPr>
            <a:lstStyle/>
            <a:p>
              <a:pPr>
                <a:lnSpc>
                  <a:spcPct val="120000"/>
                </a:lnSpc>
              </a:pPr>
              <a:r>
                <a:rPr lang="en-US" altLang="zh-CN" sz="1200" b="1" dirty="0"/>
                <a:t>A5</a:t>
              </a:r>
              <a:r>
                <a:rPr lang="en-US" altLang="zh-CN" sz="1000" dirty="0"/>
                <a:t> </a:t>
              </a:r>
              <a:r>
                <a:rPr lang="zh-CN" altLang="en-US" sz="1000" dirty="0"/>
                <a:t>通过放宽对</a:t>
              </a:r>
              <a:r>
                <a:rPr lang="en-US" altLang="zh-CN" sz="1000" dirty="0"/>
                <a:t>Adapter </a:t>
              </a:r>
              <a:r>
                <a:rPr lang="zh-CN" altLang="en-US" sz="1000" dirty="0"/>
                <a:t>和</a:t>
              </a:r>
              <a:r>
                <a:rPr lang="en-US" altLang="zh-CN" sz="1000" dirty="0" err="1"/>
                <a:t>Adaptee</a:t>
              </a:r>
              <a:r>
                <a:rPr lang="zh-CN" altLang="en-US" sz="1000" dirty="0"/>
                <a:t>的约束来扩展定义</a:t>
              </a:r>
              <a:r>
                <a:rPr lang="en-US" altLang="zh-CN" sz="1000" dirty="0"/>
                <a:t>A3</a:t>
              </a:r>
              <a:r>
                <a:rPr lang="zh-CN" altLang="en-US" sz="1000" dirty="0"/>
                <a:t>，适配器和适配器也可以是抽象类。</a:t>
              </a:r>
              <a:endParaRPr lang="en-US" altLang="zh-CN" sz="1000" dirty="0"/>
            </a:p>
          </p:txBody>
        </p:sp>
        <p:sp>
          <p:nvSpPr>
            <p:cNvPr id="37" name="iṧḻïḋé">
              <a:extLst>
                <a:ext uri="{FF2B5EF4-FFF2-40B4-BE49-F238E27FC236}">
                  <a16:creationId xmlns:a16="http://schemas.microsoft.com/office/drawing/2014/main" id="{DC61AD30-2417-468F-8190-4F498885E64F}"/>
                </a:ext>
              </a:extLst>
            </p:cNvPr>
            <p:cNvSpPr txBox="1"/>
            <p:nvPr/>
          </p:nvSpPr>
          <p:spPr>
            <a:xfrm>
              <a:off x="8443707" y="4012543"/>
              <a:ext cx="2199829" cy="715015"/>
            </a:xfrm>
            <a:prstGeom prst="rect">
              <a:avLst/>
            </a:prstGeom>
            <a:noFill/>
          </p:spPr>
          <p:txBody>
            <a:bodyPr wrap="square" anchor="ctr">
              <a:normAutofit/>
            </a:bodyPr>
            <a:lstStyle/>
            <a:p>
              <a:pPr>
                <a:lnSpc>
                  <a:spcPct val="120000"/>
                </a:lnSpc>
              </a:pPr>
              <a:r>
                <a:rPr lang="en-US" altLang="zh-CN" sz="1200" b="1" dirty="0"/>
                <a:t>A9</a:t>
              </a:r>
              <a:r>
                <a:rPr lang="zh-CN" altLang="en-US" sz="1000" dirty="0"/>
                <a:t> 通过排除</a:t>
              </a:r>
              <a:r>
                <a:rPr lang="en-US" altLang="zh-CN" sz="1000" dirty="0"/>
                <a:t>NC</a:t>
              </a:r>
              <a:r>
                <a:rPr lang="zh-CN" altLang="en-US" sz="1000" dirty="0"/>
                <a:t>扩展定义</a:t>
              </a:r>
              <a:r>
                <a:rPr lang="en-US" altLang="zh-CN" sz="1000" dirty="0"/>
                <a:t>A8</a:t>
              </a:r>
              <a:r>
                <a:rPr lang="zh-CN" altLang="en-US" sz="1000" dirty="0"/>
                <a:t>。</a:t>
              </a:r>
              <a:endParaRPr lang="en-US" altLang="zh-CN" sz="1000" dirty="0"/>
            </a:p>
          </p:txBody>
        </p:sp>
        <p:sp>
          <p:nvSpPr>
            <p:cNvPr id="38" name="îṥľíḍê">
              <a:extLst>
                <a:ext uri="{FF2B5EF4-FFF2-40B4-BE49-F238E27FC236}">
                  <a16:creationId xmlns:a16="http://schemas.microsoft.com/office/drawing/2014/main" id="{7D969D29-C618-4C89-B1AB-DE024C9DC61C}"/>
                </a:ext>
              </a:extLst>
            </p:cNvPr>
            <p:cNvSpPr/>
            <p:nvPr/>
          </p:nvSpPr>
          <p:spPr>
            <a:xfrm>
              <a:off x="2093716" y="3105937"/>
              <a:ext cx="226898" cy="22689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39" name="íš1îďè">
              <a:extLst>
                <a:ext uri="{FF2B5EF4-FFF2-40B4-BE49-F238E27FC236}">
                  <a16:creationId xmlns:a16="http://schemas.microsoft.com/office/drawing/2014/main" id="{01F7D7BF-531E-4549-9551-A60B907C52DC}"/>
                </a:ext>
              </a:extLst>
            </p:cNvPr>
            <p:cNvSpPr/>
            <p:nvPr/>
          </p:nvSpPr>
          <p:spPr>
            <a:xfrm>
              <a:off x="11635748" y="3088183"/>
              <a:ext cx="226898" cy="22689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40" name="íṩlidê">
              <a:extLst>
                <a:ext uri="{FF2B5EF4-FFF2-40B4-BE49-F238E27FC236}">
                  <a16:creationId xmlns:a16="http://schemas.microsoft.com/office/drawing/2014/main" id="{51A5FD06-6D1F-46C3-9B02-5525554EC1F6}"/>
                </a:ext>
              </a:extLst>
            </p:cNvPr>
            <p:cNvSpPr txBox="1"/>
            <p:nvPr/>
          </p:nvSpPr>
          <p:spPr>
            <a:xfrm>
              <a:off x="725744" y="5025519"/>
              <a:ext cx="2813706" cy="1061745"/>
            </a:xfrm>
            <a:prstGeom prst="rect">
              <a:avLst/>
            </a:prstGeom>
            <a:noFill/>
          </p:spPr>
          <p:txBody>
            <a:bodyPr wrap="square" anchor="ctr">
              <a:noAutofit/>
            </a:bodyPr>
            <a:lstStyle/>
            <a:p>
              <a:pPr>
                <a:lnSpc>
                  <a:spcPct val="120000"/>
                </a:lnSpc>
              </a:pPr>
              <a:r>
                <a:rPr lang="en-US" altLang="zh-CN" sz="1200" b="1" dirty="0"/>
                <a:t>A1 </a:t>
              </a:r>
              <a:r>
                <a:rPr lang="zh-CN" altLang="en-US" sz="1000" dirty="0"/>
                <a:t>对象适配器模式的严格定义如图</a:t>
              </a:r>
              <a:r>
                <a:rPr lang="en-US" altLang="zh-CN" sz="1000" dirty="0"/>
                <a:t>1(a)</a:t>
              </a:r>
              <a:r>
                <a:rPr lang="zh-CN" altLang="en-US" sz="1000" dirty="0"/>
                <a:t>所示的</a:t>
              </a:r>
              <a:r>
                <a:rPr lang="en-US" altLang="zh-CN" sz="1000" dirty="0"/>
                <a:t>Gamma</a:t>
              </a:r>
              <a:r>
                <a:rPr lang="zh-CN" altLang="en-US" sz="1000" dirty="0"/>
                <a:t>定义的结构部分中所示。 特别是，在</a:t>
              </a:r>
              <a:r>
                <a:rPr lang="en-US" altLang="zh-CN" sz="1000" dirty="0"/>
                <a:t>Target</a:t>
              </a:r>
              <a:r>
                <a:rPr lang="zh-CN" altLang="en-US" sz="1000" dirty="0"/>
                <a:t>和</a:t>
              </a:r>
              <a:r>
                <a:rPr lang="en-US" altLang="zh-CN" sz="1000" dirty="0"/>
                <a:t>Adapter</a:t>
              </a:r>
              <a:r>
                <a:rPr lang="zh-CN" altLang="en-US" sz="1000" dirty="0"/>
                <a:t>类之间没有</a:t>
              </a:r>
              <a:r>
                <a:rPr lang="en-US" altLang="zh-CN" sz="1000" dirty="0"/>
                <a:t>MLI</a:t>
              </a:r>
              <a:r>
                <a:rPr lang="zh-CN" altLang="en-US" sz="1000" dirty="0"/>
                <a:t>，</a:t>
              </a:r>
              <a:r>
                <a:rPr lang="en-US" altLang="zh-CN" sz="1000" dirty="0"/>
                <a:t>Target</a:t>
              </a:r>
              <a:r>
                <a:rPr lang="zh-CN" altLang="en-US" sz="1000" dirty="0"/>
                <a:t>是接口，而</a:t>
              </a:r>
              <a:r>
                <a:rPr lang="en-US" altLang="zh-CN" sz="1000" dirty="0"/>
                <a:t>Adapter</a:t>
              </a:r>
              <a:r>
                <a:rPr lang="zh-CN" altLang="en-US" sz="1000" dirty="0"/>
                <a:t>和</a:t>
              </a:r>
              <a:r>
                <a:rPr lang="en-US" altLang="zh-CN" sz="1000" dirty="0" err="1"/>
                <a:t>Adaptee</a:t>
              </a:r>
              <a:r>
                <a:rPr lang="zh-CN" altLang="en-US" sz="1000" dirty="0"/>
                <a:t>是具体类。</a:t>
              </a:r>
              <a:endParaRPr lang="en-US" altLang="zh-CN" sz="1000" dirty="0"/>
            </a:p>
          </p:txBody>
        </p:sp>
        <p:sp>
          <p:nvSpPr>
            <p:cNvPr id="41" name="iśḷídè">
              <a:extLst>
                <a:ext uri="{FF2B5EF4-FFF2-40B4-BE49-F238E27FC236}">
                  <a16:creationId xmlns:a16="http://schemas.microsoft.com/office/drawing/2014/main" id="{B9CE86F7-96FF-466C-8F48-78860AA079DD}"/>
                </a:ext>
              </a:extLst>
            </p:cNvPr>
            <p:cNvSpPr txBox="1"/>
            <p:nvPr/>
          </p:nvSpPr>
          <p:spPr>
            <a:xfrm>
              <a:off x="3794373" y="1613573"/>
              <a:ext cx="2225654" cy="862698"/>
            </a:xfrm>
            <a:prstGeom prst="rect">
              <a:avLst/>
            </a:prstGeom>
            <a:noFill/>
          </p:spPr>
          <p:txBody>
            <a:bodyPr wrap="square" anchor="ctr">
              <a:normAutofit/>
            </a:bodyPr>
            <a:lstStyle/>
            <a:p>
              <a:pPr>
                <a:lnSpc>
                  <a:spcPct val="120000"/>
                </a:lnSpc>
              </a:pPr>
              <a:r>
                <a:rPr lang="en-US" altLang="zh-CN" sz="1200" b="1" dirty="0"/>
                <a:t>A4 </a:t>
              </a:r>
              <a:r>
                <a:rPr lang="zh-CN" altLang="en-US" sz="1000" dirty="0"/>
                <a:t>包含定义</a:t>
              </a:r>
              <a:r>
                <a:rPr lang="en-US" altLang="zh-CN" sz="1000" dirty="0"/>
                <a:t>A3</a:t>
              </a:r>
              <a:r>
                <a:rPr lang="zh-CN" altLang="en-US" sz="1000" dirty="0"/>
                <a:t>指定的相同约束，但</a:t>
              </a:r>
              <a:r>
                <a:rPr lang="en-US" altLang="zh-CN" sz="1000" dirty="0"/>
                <a:t>Target</a:t>
              </a:r>
              <a:r>
                <a:rPr lang="zh-CN" altLang="en-US" sz="1000" dirty="0"/>
                <a:t>类也可以是抽象类。</a:t>
              </a:r>
              <a:endParaRPr lang="en-US" altLang="zh-CN" sz="1000" dirty="0"/>
            </a:p>
          </p:txBody>
        </p:sp>
        <p:sp>
          <p:nvSpPr>
            <p:cNvPr id="42" name="iśḷídè">
              <a:extLst>
                <a:ext uri="{FF2B5EF4-FFF2-40B4-BE49-F238E27FC236}">
                  <a16:creationId xmlns:a16="http://schemas.microsoft.com/office/drawing/2014/main" id="{91020FFE-EF7A-4578-A0EC-76BE0A709636}"/>
                </a:ext>
              </a:extLst>
            </p:cNvPr>
            <p:cNvSpPr txBox="1"/>
            <p:nvPr/>
          </p:nvSpPr>
          <p:spPr>
            <a:xfrm>
              <a:off x="7056618" y="1595285"/>
              <a:ext cx="2008377" cy="1307696"/>
            </a:xfrm>
            <a:prstGeom prst="rect">
              <a:avLst/>
            </a:prstGeom>
            <a:noFill/>
          </p:spPr>
          <p:txBody>
            <a:bodyPr wrap="square" anchor="ctr">
              <a:normAutofit/>
            </a:bodyPr>
            <a:lstStyle/>
            <a:p>
              <a:pPr>
                <a:lnSpc>
                  <a:spcPct val="120000"/>
                </a:lnSpc>
              </a:pPr>
              <a:r>
                <a:rPr lang="en-US" altLang="zh-CN" sz="1200" b="1" dirty="0"/>
                <a:t>A6</a:t>
              </a:r>
              <a:r>
                <a:rPr lang="en-US" altLang="zh-CN" sz="1000" dirty="0"/>
                <a:t> </a:t>
              </a:r>
              <a:r>
                <a:rPr lang="zh-CN" altLang="en-US" sz="1000" dirty="0"/>
                <a:t>通过允许目标是一个抽象类，而</a:t>
              </a:r>
              <a:r>
                <a:rPr lang="en-US" altLang="zh-CN" sz="1000" dirty="0"/>
                <a:t>Adapter</a:t>
              </a:r>
              <a:r>
                <a:rPr lang="zh-CN" altLang="en-US" sz="1000" dirty="0"/>
                <a:t>和</a:t>
              </a:r>
              <a:r>
                <a:rPr lang="en-US" altLang="zh-CN" sz="1000" dirty="0" err="1"/>
                <a:t>Adaptee</a:t>
              </a:r>
              <a:r>
                <a:rPr lang="zh-CN" altLang="en-US" sz="1000" dirty="0"/>
                <a:t>是抽象类</a:t>
              </a:r>
              <a:r>
                <a:rPr lang="en-US" altLang="zh-CN" sz="1000" dirty="0"/>
                <a:t>(</a:t>
              </a:r>
              <a:r>
                <a:rPr lang="zh-CN" altLang="en-US" sz="1000" dirty="0"/>
                <a:t>它合并了定义</a:t>
              </a:r>
              <a:r>
                <a:rPr lang="en-US" altLang="zh-CN" sz="1000" dirty="0"/>
                <a:t>A4</a:t>
              </a:r>
              <a:r>
                <a:rPr lang="zh-CN" altLang="en-US" sz="1000" dirty="0"/>
                <a:t>和</a:t>
              </a:r>
              <a:r>
                <a:rPr lang="en-US" altLang="zh-CN" sz="1000" dirty="0"/>
                <a:t>A5</a:t>
              </a:r>
              <a:r>
                <a:rPr lang="zh-CN" altLang="en-US" sz="1000" dirty="0"/>
                <a:t>中包含的约束</a:t>
              </a:r>
              <a:r>
                <a:rPr lang="en-US" altLang="zh-CN" sz="1000" dirty="0"/>
                <a:t>)</a:t>
              </a:r>
              <a:r>
                <a:rPr lang="zh-CN" altLang="en-US" sz="1000" dirty="0"/>
                <a:t>，从而放宽了定义</a:t>
              </a:r>
              <a:r>
                <a:rPr lang="en-US" altLang="zh-CN" sz="1000" dirty="0"/>
                <a:t>A3</a:t>
              </a:r>
              <a:r>
                <a:rPr lang="zh-CN" altLang="en-US" sz="1000" dirty="0"/>
                <a:t>。</a:t>
              </a:r>
              <a:endParaRPr lang="en-US" altLang="zh-CN" sz="1000" dirty="0"/>
            </a:p>
          </p:txBody>
        </p:sp>
        <p:sp>
          <p:nvSpPr>
            <p:cNvPr id="43" name="iṧḻïḋé">
              <a:extLst>
                <a:ext uri="{FF2B5EF4-FFF2-40B4-BE49-F238E27FC236}">
                  <a16:creationId xmlns:a16="http://schemas.microsoft.com/office/drawing/2014/main" id="{5B3139C2-5FAF-40F0-B2D3-F45F7415B5E8}"/>
                </a:ext>
              </a:extLst>
            </p:cNvPr>
            <p:cNvSpPr txBox="1"/>
            <p:nvPr/>
          </p:nvSpPr>
          <p:spPr>
            <a:xfrm>
              <a:off x="6388992" y="4496775"/>
              <a:ext cx="2276553" cy="1321776"/>
            </a:xfrm>
            <a:prstGeom prst="rect">
              <a:avLst/>
            </a:prstGeom>
            <a:noFill/>
          </p:spPr>
          <p:txBody>
            <a:bodyPr wrap="square" anchor="ctr">
              <a:normAutofit/>
            </a:bodyPr>
            <a:lstStyle/>
            <a:p>
              <a:pPr>
                <a:lnSpc>
                  <a:spcPct val="120000"/>
                </a:lnSpc>
              </a:pPr>
              <a:r>
                <a:rPr lang="en-US" altLang="zh-CN" sz="1200" b="1" dirty="0"/>
                <a:t>A7 </a:t>
              </a:r>
              <a:r>
                <a:rPr lang="zh-CN" altLang="en-US" sz="1000" dirty="0"/>
                <a:t>通过在</a:t>
              </a:r>
              <a:r>
                <a:rPr lang="en-US" altLang="zh-CN" sz="1000" dirty="0"/>
                <a:t>Adapter</a:t>
              </a:r>
              <a:r>
                <a:rPr lang="zh-CN" altLang="en-US" sz="1000" dirty="0"/>
                <a:t>和</a:t>
              </a:r>
              <a:r>
                <a:rPr lang="en-US" altLang="zh-CN" sz="1000" dirty="0" err="1"/>
                <a:t>Adaptee</a:t>
              </a:r>
              <a:r>
                <a:rPr lang="zh-CN" altLang="en-US" sz="1000" dirty="0"/>
                <a:t>之间添加参考约束（</a:t>
              </a:r>
              <a:r>
                <a:rPr lang="en-US" altLang="zh-CN" sz="1000" dirty="0"/>
                <a:t>RC</a:t>
              </a:r>
              <a:r>
                <a:rPr lang="zh-CN" altLang="en-US" sz="1000" dirty="0"/>
                <a:t>）来扩展定义</a:t>
              </a:r>
              <a:r>
                <a:rPr lang="en-US" altLang="zh-CN" sz="1000" dirty="0"/>
                <a:t>A3</a:t>
              </a:r>
              <a:r>
                <a:rPr lang="zh-CN" altLang="en-US" sz="1000" dirty="0"/>
                <a:t>。 这样的约束指定</a:t>
              </a:r>
              <a:r>
                <a:rPr lang="en-US" altLang="zh-CN" sz="1000" dirty="0"/>
                <a:t>Adapter</a:t>
              </a:r>
              <a:r>
                <a:rPr lang="zh-CN" altLang="en-US" sz="1000" dirty="0"/>
                <a:t>类包含类型为</a:t>
              </a:r>
              <a:r>
                <a:rPr lang="en-US" altLang="zh-CN" sz="1000" dirty="0" err="1"/>
                <a:t>Adaptee</a:t>
              </a:r>
              <a:r>
                <a:rPr lang="zh-CN" altLang="en-US" sz="1000" dirty="0"/>
                <a:t>的实例变量。</a:t>
              </a:r>
              <a:endParaRPr lang="zh-CN" altLang="en-US" sz="500" dirty="0"/>
            </a:p>
          </p:txBody>
        </p:sp>
        <p:cxnSp>
          <p:nvCxnSpPr>
            <p:cNvPr id="44" name="直接连接符 43">
              <a:extLst>
                <a:ext uri="{FF2B5EF4-FFF2-40B4-BE49-F238E27FC236}">
                  <a16:creationId xmlns:a16="http://schemas.microsoft.com/office/drawing/2014/main" id="{C277E5E2-9886-4F07-8147-92047D419734}"/>
                </a:ext>
              </a:extLst>
            </p:cNvPr>
            <p:cNvCxnSpPr/>
            <p:nvPr/>
          </p:nvCxnSpPr>
          <p:spPr>
            <a:xfrm>
              <a:off x="2183918" y="2725147"/>
              <a:ext cx="7916" cy="363036"/>
            </a:xfrm>
            <a:prstGeom prst="line">
              <a:avLst/>
            </a:prstGeom>
            <a:ln w="3175">
              <a:solidFill>
                <a:srgbClr val="95A5A6"/>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45" name="iśḷídè">
              <a:extLst>
                <a:ext uri="{FF2B5EF4-FFF2-40B4-BE49-F238E27FC236}">
                  <a16:creationId xmlns:a16="http://schemas.microsoft.com/office/drawing/2014/main" id="{E34F2FEE-3AEA-443C-93A5-A841059DE6DD}"/>
                </a:ext>
              </a:extLst>
            </p:cNvPr>
            <p:cNvSpPr txBox="1"/>
            <p:nvPr/>
          </p:nvSpPr>
          <p:spPr>
            <a:xfrm>
              <a:off x="796707" y="1832481"/>
              <a:ext cx="1999488" cy="862702"/>
            </a:xfrm>
            <a:prstGeom prst="rect">
              <a:avLst/>
            </a:prstGeom>
            <a:noFill/>
          </p:spPr>
          <p:txBody>
            <a:bodyPr wrap="square" anchor="ctr">
              <a:normAutofit/>
            </a:bodyPr>
            <a:lstStyle/>
            <a:p>
              <a:pPr>
                <a:lnSpc>
                  <a:spcPct val="120000"/>
                </a:lnSpc>
              </a:pPr>
              <a:r>
                <a:rPr lang="en-US" altLang="zh-CN" sz="1200" b="1" dirty="0"/>
                <a:t>A3</a:t>
              </a:r>
              <a:r>
                <a:rPr lang="en-US" altLang="zh-CN" sz="1000" b="1" dirty="0"/>
                <a:t> </a:t>
              </a:r>
              <a:r>
                <a:rPr lang="zh-CN" altLang="en-US" sz="1000" dirty="0"/>
                <a:t>通过允许在</a:t>
              </a:r>
              <a:r>
                <a:rPr lang="en-US" altLang="zh-CN" sz="1000" dirty="0"/>
                <a:t>Target</a:t>
              </a:r>
              <a:r>
                <a:rPr lang="zh-CN" altLang="en-US" sz="1000" dirty="0"/>
                <a:t>和</a:t>
              </a:r>
              <a:r>
                <a:rPr lang="en-US" altLang="zh-CN" sz="1000" dirty="0"/>
                <a:t>Adapter</a:t>
              </a:r>
              <a:r>
                <a:rPr lang="zh-CN" altLang="en-US" sz="1000" dirty="0"/>
                <a:t>类之间存在</a:t>
              </a:r>
              <a:r>
                <a:rPr lang="en-US" altLang="zh-CN" sz="1000" dirty="0"/>
                <a:t>MLI</a:t>
              </a:r>
              <a:r>
                <a:rPr lang="zh-CN" altLang="en-US" sz="1000" dirty="0"/>
                <a:t>扩展定义</a:t>
              </a:r>
              <a:r>
                <a:rPr lang="en-US" altLang="zh-CN" sz="1000" dirty="0"/>
                <a:t>A2</a:t>
              </a:r>
              <a:r>
                <a:rPr lang="zh-CN" altLang="en-US" sz="1000" dirty="0"/>
                <a:t>。</a:t>
              </a:r>
              <a:endParaRPr lang="en-US" altLang="zh-CN" sz="1000" dirty="0"/>
            </a:p>
          </p:txBody>
        </p:sp>
        <p:sp>
          <p:nvSpPr>
            <p:cNvPr id="46" name="iśḷídè">
              <a:extLst>
                <a:ext uri="{FF2B5EF4-FFF2-40B4-BE49-F238E27FC236}">
                  <a16:creationId xmlns:a16="http://schemas.microsoft.com/office/drawing/2014/main" id="{4ACFA3E1-DAFC-4304-8BFD-13A0272932AE}"/>
                </a:ext>
              </a:extLst>
            </p:cNvPr>
            <p:cNvSpPr txBox="1"/>
            <p:nvPr/>
          </p:nvSpPr>
          <p:spPr>
            <a:xfrm>
              <a:off x="9235078" y="2256259"/>
              <a:ext cx="2152299" cy="348503"/>
            </a:xfrm>
            <a:prstGeom prst="rect">
              <a:avLst/>
            </a:prstGeom>
            <a:noFill/>
          </p:spPr>
          <p:txBody>
            <a:bodyPr wrap="square" anchor="ctr">
              <a:normAutofit/>
            </a:bodyPr>
            <a:lstStyle/>
            <a:p>
              <a:pPr>
                <a:lnSpc>
                  <a:spcPct val="120000"/>
                </a:lnSpc>
              </a:pPr>
              <a:r>
                <a:rPr lang="en-US" altLang="zh-CN" sz="1200" b="1" dirty="0"/>
                <a:t>A8</a:t>
              </a:r>
              <a:r>
                <a:rPr lang="zh-CN" altLang="en-US" sz="1200" b="1" dirty="0"/>
                <a:t> </a:t>
              </a:r>
              <a:r>
                <a:rPr lang="zh-CN" altLang="en-US" sz="1000" dirty="0"/>
                <a:t>合并定义</a:t>
              </a:r>
              <a:r>
                <a:rPr lang="en-US" altLang="zh-CN" sz="1000" dirty="0"/>
                <a:t>A6</a:t>
              </a:r>
              <a:r>
                <a:rPr lang="zh-CN" altLang="en-US" sz="1000" dirty="0"/>
                <a:t>和</a:t>
              </a:r>
              <a:r>
                <a:rPr lang="en-US" altLang="zh-CN" sz="1000" dirty="0"/>
                <a:t>A7</a:t>
              </a:r>
              <a:r>
                <a:rPr lang="zh-CN" altLang="en-US" sz="1000" dirty="0"/>
                <a:t>中包含的约束。</a:t>
              </a:r>
              <a:endParaRPr lang="en-US" altLang="zh-CN" sz="700" dirty="0"/>
            </a:p>
          </p:txBody>
        </p:sp>
        <p:cxnSp>
          <p:nvCxnSpPr>
            <p:cNvPr id="47" name="直接连接符 46">
              <a:extLst>
                <a:ext uri="{FF2B5EF4-FFF2-40B4-BE49-F238E27FC236}">
                  <a16:creationId xmlns:a16="http://schemas.microsoft.com/office/drawing/2014/main" id="{608636F6-2686-4641-9C68-B899A12CAD0B}"/>
                </a:ext>
              </a:extLst>
            </p:cNvPr>
            <p:cNvCxnSpPr>
              <a:cxnSpLocks/>
            </p:cNvCxnSpPr>
            <p:nvPr/>
          </p:nvCxnSpPr>
          <p:spPr>
            <a:xfrm>
              <a:off x="11728952" y="3341685"/>
              <a:ext cx="0" cy="1972040"/>
            </a:xfrm>
            <a:prstGeom prst="line">
              <a:avLst/>
            </a:prstGeom>
            <a:ln w="3175">
              <a:solidFill>
                <a:srgbClr val="95A5A6"/>
              </a:solidFill>
              <a:prstDash val="dash"/>
            </a:ln>
          </p:spPr>
          <p:style>
            <a:lnRef idx="1">
              <a:schemeClr val="accent1"/>
            </a:lnRef>
            <a:fillRef idx="0">
              <a:schemeClr val="accent1"/>
            </a:fillRef>
            <a:effectRef idx="0">
              <a:schemeClr val="accent1"/>
            </a:effectRef>
            <a:fontRef idx="minor">
              <a:schemeClr val="tx1"/>
            </a:fontRef>
          </p:style>
        </p:cxnSp>
        <p:cxnSp>
          <p:nvCxnSpPr>
            <p:cNvPr id="48" name="直接连接符 47">
              <a:extLst>
                <a:ext uri="{FF2B5EF4-FFF2-40B4-BE49-F238E27FC236}">
                  <a16:creationId xmlns:a16="http://schemas.microsoft.com/office/drawing/2014/main" id="{85D1BC67-2C3C-434D-959B-9F42AED9E2B1}"/>
                </a:ext>
              </a:extLst>
            </p:cNvPr>
            <p:cNvCxnSpPr>
              <a:cxnSpLocks/>
            </p:cNvCxnSpPr>
            <p:nvPr/>
          </p:nvCxnSpPr>
          <p:spPr>
            <a:xfrm>
              <a:off x="11243455" y="5313725"/>
              <a:ext cx="505742" cy="0"/>
            </a:xfrm>
            <a:prstGeom prst="line">
              <a:avLst/>
            </a:prstGeom>
            <a:ln>
              <a:solidFill>
                <a:srgbClr val="95A5A6"/>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
          <p:nvSpPr>
            <p:cNvPr id="49" name="iśḷídè">
              <a:extLst>
                <a:ext uri="{FF2B5EF4-FFF2-40B4-BE49-F238E27FC236}">
                  <a16:creationId xmlns:a16="http://schemas.microsoft.com/office/drawing/2014/main" id="{F25EA694-9B1A-40AD-857A-358766330D36}"/>
                </a:ext>
              </a:extLst>
            </p:cNvPr>
            <p:cNvSpPr txBox="1"/>
            <p:nvPr/>
          </p:nvSpPr>
          <p:spPr>
            <a:xfrm>
              <a:off x="8752710" y="4576233"/>
              <a:ext cx="2514307" cy="1547196"/>
            </a:xfrm>
            <a:prstGeom prst="rect">
              <a:avLst/>
            </a:prstGeom>
            <a:noFill/>
          </p:spPr>
          <p:txBody>
            <a:bodyPr wrap="square" anchor="ctr">
              <a:normAutofit/>
            </a:bodyPr>
            <a:lstStyle/>
            <a:p>
              <a:pPr>
                <a:lnSpc>
                  <a:spcPct val="120000"/>
                </a:lnSpc>
              </a:pPr>
              <a:r>
                <a:rPr lang="en-US" altLang="zh-CN" sz="1300" b="1" dirty="0"/>
                <a:t>A10</a:t>
              </a:r>
              <a:r>
                <a:rPr lang="zh-CN" altLang="en-US" sz="1300" b="1" dirty="0"/>
                <a:t> </a:t>
              </a:r>
              <a:r>
                <a:rPr lang="zh-CN" altLang="en-US" sz="1000" dirty="0"/>
                <a:t>通过放宽</a:t>
              </a:r>
              <a:r>
                <a:rPr lang="en-US" altLang="zh-CN" sz="1000" dirty="0"/>
                <a:t>Adapter</a:t>
              </a:r>
              <a:r>
                <a:rPr lang="zh-CN" altLang="en-US" sz="1000" dirty="0"/>
                <a:t>和</a:t>
              </a:r>
              <a:r>
                <a:rPr lang="en-US" altLang="zh-CN" sz="1000" dirty="0" err="1"/>
                <a:t>Adaptee</a:t>
              </a:r>
              <a:r>
                <a:rPr lang="zh-CN" altLang="en-US" sz="1000" dirty="0"/>
                <a:t>之间的委派关联来扩展定义</a:t>
              </a:r>
              <a:r>
                <a:rPr lang="en-US" altLang="zh-CN" sz="1000" dirty="0"/>
                <a:t>A6</a:t>
              </a:r>
              <a:r>
                <a:rPr lang="zh-CN" altLang="en-US" sz="1000" dirty="0"/>
                <a:t>。实际上，这样的定义认为</a:t>
              </a:r>
              <a:r>
                <a:rPr lang="en-US" altLang="zh-CN" sz="1000" dirty="0" err="1"/>
                <a:t>Adaptee</a:t>
              </a:r>
              <a:r>
                <a:rPr lang="zh-CN" altLang="en-US" sz="1000" dirty="0"/>
                <a:t>和</a:t>
              </a:r>
              <a:r>
                <a:rPr lang="en-US" altLang="zh-CN" sz="1000" dirty="0"/>
                <a:t>Adapter</a:t>
              </a:r>
              <a:r>
                <a:rPr lang="zh-CN" altLang="en-US" sz="1000" dirty="0"/>
                <a:t>之间的委托和继承关系都是有效的。 换句话说，它包含带有适当</a:t>
              </a:r>
              <a:r>
                <a:rPr lang="en-US" altLang="zh-CN" sz="1000" dirty="0"/>
                <a:t>NC</a:t>
              </a:r>
              <a:r>
                <a:rPr lang="zh-CN" altLang="en-US" sz="1000" dirty="0"/>
                <a:t>的类</a:t>
              </a:r>
              <a:r>
                <a:rPr lang="en-US" altLang="zh-CN" sz="1000" dirty="0"/>
                <a:t>Adapter</a:t>
              </a:r>
              <a:r>
                <a:rPr lang="zh-CN" altLang="en-US" sz="1000" dirty="0"/>
                <a:t>设计模式。</a:t>
              </a:r>
              <a:endParaRPr lang="en-US" altLang="zh-CN" sz="1000" dirty="0"/>
            </a:p>
          </p:txBody>
        </p:sp>
      </p:grpSp>
      <p:grpSp>
        <p:nvGrpSpPr>
          <p:cNvPr id="4" name="组合 3">
            <a:extLst>
              <a:ext uri="{FF2B5EF4-FFF2-40B4-BE49-F238E27FC236}">
                <a16:creationId xmlns:a16="http://schemas.microsoft.com/office/drawing/2014/main" id="{B12DF150-BA7B-49EF-8191-4DCB694FF52B}"/>
              </a:ext>
            </a:extLst>
          </p:cNvPr>
          <p:cNvGrpSpPr/>
          <p:nvPr/>
        </p:nvGrpSpPr>
        <p:grpSpPr>
          <a:xfrm>
            <a:off x="-43962" y="-2"/>
            <a:ext cx="12265321" cy="1081456"/>
            <a:chOff x="-43962" y="-2"/>
            <a:chExt cx="12265321" cy="1081456"/>
          </a:xfrm>
        </p:grpSpPr>
        <p:grpSp>
          <p:nvGrpSpPr>
            <p:cNvPr id="5" name="组合 4">
              <a:extLst>
                <a:ext uri="{FF2B5EF4-FFF2-40B4-BE49-F238E27FC236}">
                  <a16:creationId xmlns:a16="http://schemas.microsoft.com/office/drawing/2014/main" id="{A02D8D5F-9092-40A1-BEE7-2E18BC595794}"/>
                </a:ext>
              </a:extLst>
            </p:cNvPr>
            <p:cNvGrpSpPr/>
            <p:nvPr/>
          </p:nvGrpSpPr>
          <p:grpSpPr>
            <a:xfrm rot="10800000">
              <a:off x="-43962" y="-2"/>
              <a:ext cx="12265321" cy="1081456"/>
              <a:chOff x="1" y="5010588"/>
              <a:chExt cx="12265322" cy="1905823"/>
            </a:xfrm>
          </p:grpSpPr>
          <p:sp>
            <p:nvSpPr>
              <p:cNvPr id="6" name="îṧļiḑe">
                <a:extLst>
                  <a:ext uri="{FF2B5EF4-FFF2-40B4-BE49-F238E27FC236}">
                    <a16:creationId xmlns:a16="http://schemas.microsoft.com/office/drawing/2014/main" id="{49F6E0D8-E3BC-4BD3-84FB-161A76550555}"/>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îṩľiḑê">
                <a:extLst>
                  <a:ext uri="{FF2B5EF4-FFF2-40B4-BE49-F238E27FC236}">
                    <a16:creationId xmlns:a16="http://schemas.microsoft.com/office/drawing/2014/main" id="{E47AD772-61D7-455A-AF1D-07952261DFE2}"/>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sp>
          <p:nvSpPr>
            <p:cNvPr id="9" name="矩形 8">
              <a:extLst>
                <a:ext uri="{FF2B5EF4-FFF2-40B4-BE49-F238E27FC236}">
                  <a16:creationId xmlns:a16="http://schemas.microsoft.com/office/drawing/2014/main" id="{559493B6-54D5-4BFB-8173-8ADF4B215E18}"/>
                </a:ext>
              </a:extLst>
            </p:cNvPr>
            <p:cNvSpPr/>
            <p:nvPr/>
          </p:nvSpPr>
          <p:spPr>
            <a:xfrm>
              <a:off x="1028700" y="139985"/>
              <a:ext cx="9944100" cy="369332"/>
            </a:xfrm>
            <a:prstGeom prst="rect">
              <a:avLst/>
            </a:prstGeom>
          </p:spPr>
          <p:txBody>
            <a:bodyPr wrap="square">
              <a:spAutoFit/>
            </a:bodyPr>
            <a:lstStyle/>
            <a:p>
              <a:r>
                <a:rPr lang="sv-SE" altLang="zh-CN" dirty="0">
                  <a:solidFill>
                    <a:schemeClr val="bg1"/>
                  </a:solidFill>
                </a:rPr>
                <a:t>A.</a:t>
              </a:r>
              <a:r>
                <a:rPr lang="zh-CN" altLang="en-US" dirty="0">
                  <a:solidFill>
                    <a:schemeClr val="bg1"/>
                  </a:solidFill>
                </a:rPr>
                <a:t>适配器模式变体定义</a:t>
              </a:r>
              <a:endParaRPr lang="en-US" altLang="zh-CN" dirty="0">
                <a:solidFill>
                  <a:schemeClr val="bg1"/>
                </a:solidFill>
              </a:endParaRPr>
            </a:p>
          </p:txBody>
        </p:sp>
        <p:sp>
          <p:nvSpPr>
            <p:cNvPr id="50" name="ïṥ1iḓe">
              <a:extLst>
                <a:ext uri="{FF2B5EF4-FFF2-40B4-BE49-F238E27FC236}">
                  <a16:creationId xmlns:a16="http://schemas.microsoft.com/office/drawing/2014/main" id="{C618F997-11DF-41D3-A3AE-5A1DA296CC00}"/>
                </a:ext>
              </a:extLst>
            </p:cNvPr>
            <p:cNvSpPr/>
            <p:nvPr/>
          </p:nvSpPr>
          <p:spPr bwMode="auto">
            <a:xfrm>
              <a:off x="434340" y="65577"/>
              <a:ext cx="539484" cy="538668"/>
            </a:xfrm>
            <a:custGeom>
              <a:avLst/>
              <a:gdLst>
                <a:gd name="T0" fmla="*/ 5980 w 6635"/>
                <a:gd name="T1" fmla="*/ 2663 h 6635"/>
                <a:gd name="T2" fmla="*/ 5420 w 6635"/>
                <a:gd name="T3" fmla="*/ 2986 h 6635"/>
                <a:gd name="T4" fmla="*/ 4403 w 6635"/>
                <a:gd name="T5" fmla="*/ 2986 h 6635"/>
                <a:gd name="T6" fmla="*/ 4229 w 6635"/>
                <a:gd name="T7" fmla="*/ 2640 h 6635"/>
                <a:gd name="T8" fmla="*/ 5219 w 6635"/>
                <a:gd name="T9" fmla="*/ 1650 h 6635"/>
                <a:gd name="T10" fmla="*/ 5663 w 6635"/>
                <a:gd name="T11" fmla="*/ 1558 h 6635"/>
                <a:gd name="T12" fmla="*/ 5663 w 6635"/>
                <a:gd name="T13" fmla="*/ 972 h 6635"/>
                <a:gd name="T14" fmla="*/ 5077 w 6635"/>
                <a:gd name="T15" fmla="*/ 972 h 6635"/>
                <a:gd name="T16" fmla="*/ 4984 w 6635"/>
                <a:gd name="T17" fmla="*/ 1416 h 6635"/>
                <a:gd name="T18" fmla="*/ 3995 w 6635"/>
                <a:gd name="T19" fmla="*/ 2405 h 6635"/>
                <a:gd name="T20" fmla="*/ 3649 w 6635"/>
                <a:gd name="T21" fmla="*/ 2232 h 6635"/>
                <a:gd name="T22" fmla="*/ 3649 w 6635"/>
                <a:gd name="T23" fmla="*/ 1215 h 6635"/>
                <a:gd name="T24" fmla="*/ 3972 w 6635"/>
                <a:gd name="T25" fmla="*/ 654 h 6635"/>
                <a:gd name="T26" fmla="*/ 3317 w 6635"/>
                <a:gd name="T27" fmla="*/ 0 h 6635"/>
                <a:gd name="T28" fmla="*/ 2663 w 6635"/>
                <a:gd name="T29" fmla="*/ 654 h 6635"/>
                <a:gd name="T30" fmla="*/ 2986 w 6635"/>
                <a:gd name="T31" fmla="*/ 1215 h 6635"/>
                <a:gd name="T32" fmla="*/ 2986 w 6635"/>
                <a:gd name="T33" fmla="*/ 2232 h 6635"/>
                <a:gd name="T34" fmla="*/ 2640 w 6635"/>
                <a:gd name="T35" fmla="*/ 2405 h 6635"/>
                <a:gd name="T36" fmla="*/ 1650 w 6635"/>
                <a:gd name="T37" fmla="*/ 1416 h 6635"/>
                <a:gd name="T38" fmla="*/ 1558 w 6635"/>
                <a:gd name="T39" fmla="*/ 972 h 6635"/>
                <a:gd name="T40" fmla="*/ 972 w 6635"/>
                <a:gd name="T41" fmla="*/ 972 h 6635"/>
                <a:gd name="T42" fmla="*/ 972 w 6635"/>
                <a:gd name="T43" fmla="*/ 1558 h 6635"/>
                <a:gd name="T44" fmla="*/ 1416 w 6635"/>
                <a:gd name="T45" fmla="*/ 1651 h 6635"/>
                <a:gd name="T46" fmla="*/ 2405 w 6635"/>
                <a:gd name="T47" fmla="*/ 2640 h 6635"/>
                <a:gd name="T48" fmla="*/ 2232 w 6635"/>
                <a:gd name="T49" fmla="*/ 2986 h 6635"/>
                <a:gd name="T50" fmla="*/ 1215 w 6635"/>
                <a:gd name="T51" fmla="*/ 2986 h 6635"/>
                <a:gd name="T52" fmla="*/ 654 w 6635"/>
                <a:gd name="T53" fmla="*/ 2663 h 6635"/>
                <a:gd name="T54" fmla="*/ 0 w 6635"/>
                <a:gd name="T55" fmla="*/ 3317 h 6635"/>
                <a:gd name="T56" fmla="*/ 654 w 6635"/>
                <a:gd name="T57" fmla="*/ 3972 h 6635"/>
                <a:gd name="T58" fmla="*/ 1215 w 6635"/>
                <a:gd name="T59" fmla="*/ 3649 h 6635"/>
                <a:gd name="T60" fmla="*/ 2232 w 6635"/>
                <a:gd name="T61" fmla="*/ 3649 h 6635"/>
                <a:gd name="T62" fmla="*/ 2405 w 6635"/>
                <a:gd name="T63" fmla="*/ 3995 h 6635"/>
                <a:gd name="T64" fmla="*/ 1416 w 6635"/>
                <a:gd name="T65" fmla="*/ 4984 h 6635"/>
                <a:gd name="T66" fmla="*/ 972 w 6635"/>
                <a:gd name="T67" fmla="*/ 5077 h 6635"/>
                <a:gd name="T68" fmla="*/ 972 w 6635"/>
                <a:gd name="T69" fmla="*/ 5663 h 6635"/>
                <a:gd name="T70" fmla="*/ 1558 w 6635"/>
                <a:gd name="T71" fmla="*/ 5663 h 6635"/>
                <a:gd name="T72" fmla="*/ 1651 w 6635"/>
                <a:gd name="T73" fmla="*/ 5219 h 6635"/>
                <a:gd name="T74" fmla="*/ 2640 w 6635"/>
                <a:gd name="T75" fmla="*/ 4230 h 6635"/>
                <a:gd name="T76" fmla="*/ 2986 w 6635"/>
                <a:gd name="T77" fmla="*/ 4403 h 6635"/>
                <a:gd name="T78" fmla="*/ 2986 w 6635"/>
                <a:gd name="T79" fmla="*/ 5419 h 6635"/>
                <a:gd name="T80" fmla="*/ 2663 w 6635"/>
                <a:gd name="T81" fmla="*/ 5980 h 6635"/>
                <a:gd name="T82" fmla="*/ 3317 w 6635"/>
                <a:gd name="T83" fmla="*/ 6635 h 6635"/>
                <a:gd name="T84" fmla="*/ 3972 w 6635"/>
                <a:gd name="T85" fmla="*/ 5980 h 6635"/>
                <a:gd name="T86" fmla="*/ 3649 w 6635"/>
                <a:gd name="T87" fmla="*/ 5420 h 6635"/>
                <a:gd name="T88" fmla="*/ 3649 w 6635"/>
                <a:gd name="T89" fmla="*/ 4403 h 6635"/>
                <a:gd name="T90" fmla="*/ 3995 w 6635"/>
                <a:gd name="T91" fmla="*/ 4229 h 6635"/>
                <a:gd name="T92" fmla="*/ 4984 w 6635"/>
                <a:gd name="T93" fmla="*/ 5219 h 6635"/>
                <a:gd name="T94" fmla="*/ 5077 w 6635"/>
                <a:gd name="T95" fmla="*/ 5663 h 6635"/>
                <a:gd name="T96" fmla="*/ 5663 w 6635"/>
                <a:gd name="T97" fmla="*/ 5663 h 6635"/>
                <a:gd name="T98" fmla="*/ 5663 w 6635"/>
                <a:gd name="T99" fmla="*/ 5077 h 6635"/>
                <a:gd name="T100" fmla="*/ 5219 w 6635"/>
                <a:gd name="T101" fmla="*/ 4984 h 6635"/>
                <a:gd name="T102" fmla="*/ 4229 w 6635"/>
                <a:gd name="T103" fmla="*/ 3995 h 6635"/>
                <a:gd name="T104" fmla="*/ 4403 w 6635"/>
                <a:gd name="T105" fmla="*/ 3649 h 6635"/>
                <a:gd name="T106" fmla="*/ 5420 w 6635"/>
                <a:gd name="T107" fmla="*/ 3649 h 6635"/>
                <a:gd name="T108" fmla="*/ 5981 w 6635"/>
                <a:gd name="T109" fmla="*/ 3972 h 6635"/>
                <a:gd name="T110" fmla="*/ 6635 w 6635"/>
                <a:gd name="T111" fmla="*/ 3317 h 6635"/>
                <a:gd name="T112" fmla="*/ 5980 w 6635"/>
                <a:gd name="T113" fmla="*/ 2663 h 6635"/>
                <a:gd name="T114" fmla="*/ 3317 w 6635"/>
                <a:gd name="T115" fmla="*/ 4016 h 6635"/>
                <a:gd name="T116" fmla="*/ 2619 w 6635"/>
                <a:gd name="T117" fmla="*/ 3317 h 6635"/>
                <a:gd name="T118" fmla="*/ 3317 w 6635"/>
                <a:gd name="T119" fmla="*/ 2619 h 6635"/>
                <a:gd name="T120" fmla="*/ 4015 w 6635"/>
                <a:gd name="T121" fmla="*/ 3317 h 6635"/>
                <a:gd name="T122" fmla="*/ 3317 w 6635"/>
                <a:gd name="T123" fmla="*/ 4016 h 6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35" h="6635">
                  <a:moveTo>
                    <a:pt x="5980" y="2663"/>
                  </a:moveTo>
                  <a:cubicBezTo>
                    <a:pt x="5741" y="2663"/>
                    <a:pt x="5533" y="2793"/>
                    <a:pt x="5420" y="2986"/>
                  </a:cubicBezTo>
                  <a:lnTo>
                    <a:pt x="4403" y="2986"/>
                  </a:lnTo>
                  <a:cubicBezTo>
                    <a:pt x="4364" y="2860"/>
                    <a:pt x="4306" y="2743"/>
                    <a:pt x="4229" y="2640"/>
                  </a:cubicBezTo>
                  <a:lnTo>
                    <a:pt x="5219" y="1650"/>
                  </a:lnTo>
                  <a:cubicBezTo>
                    <a:pt x="5368" y="1709"/>
                    <a:pt x="5543" y="1678"/>
                    <a:pt x="5663" y="1558"/>
                  </a:cubicBezTo>
                  <a:cubicBezTo>
                    <a:pt x="5825" y="1396"/>
                    <a:pt x="5825" y="1134"/>
                    <a:pt x="5663" y="972"/>
                  </a:cubicBezTo>
                  <a:cubicBezTo>
                    <a:pt x="5501" y="810"/>
                    <a:pt x="5239" y="810"/>
                    <a:pt x="5077" y="972"/>
                  </a:cubicBezTo>
                  <a:cubicBezTo>
                    <a:pt x="4957" y="1092"/>
                    <a:pt x="4926" y="1267"/>
                    <a:pt x="4984" y="1416"/>
                  </a:cubicBezTo>
                  <a:lnTo>
                    <a:pt x="3995" y="2405"/>
                  </a:lnTo>
                  <a:cubicBezTo>
                    <a:pt x="3892" y="2328"/>
                    <a:pt x="3775" y="2271"/>
                    <a:pt x="3649" y="2232"/>
                  </a:cubicBezTo>
                  <a:lnTo>
                    <a:pt x="3649" y="1215"/>
                  </a:lnTo>
                  <a:cubicBezTo>
                    <a:pt x="3841" y="1101"/>
                    <a:pt x="3972" y="894"/>
                    <a:pt x="3972" y="654"/>
                  </a:cubicBezTo>
                  <a:cubicBezTo>
                    <a:pt x="3972" y="293"/>
                    <a:pt x="3679" y="0"/>
                    <a:pt x="3317" y="0"/>
                  </a:cubicBezTo>
                  <a:cubicBezTo>
                    <a:pt x="2956" y="0"/>
                    <a:pt x="2663" y="293"/>
                    <a:pt x="2663" y="654"/>
                  </a:cubicBezTo>
                  <a:cubicBezTo>
                    <a:pt x="2663" y="894"/>
                    <a:pt x="2793" y="1101"/>
                    <a:pt x="2986" y="1215"/>
                  </a:cubicBezTo>
                  <a:lnTo>
                    <a:pt x="2986" y="2232"/>
                  </a:lnTo>
                  <a:cubicBezTo>
                    <a:pt x="2860" y="2271"/>
                    <a:pt x="2743" y="2328"/>
                    <a:pt x="2640" y="2405"/>
                  </a:cubicBezTo>
                  <a:lnTo>
                    <a:pt x="1650" y="1416"/>
                  </a:lnTo>
                  <a:cubicBezTo>
                    <a:pt x="1709" y="1267"/>
                    <a:pt x="1678" y="1092"/>
                    <a:pt x="1558" y="972"/>
                  </a:cubicBezTo>
                  <a:cubicBezTo>
                    <a:pt x="1396" y="810"/>
                    <a:pt x="1133" y="810"/>
                    <a:pt x="972" y="972"/>
                  </a:cubicBezTo>
                  <a:cubicBezTo>
                    <a:pt x="810" y="1134"/>
                    <a:pt x="810" y="1396"/>
                    <a:pt x="972" y="1558"/>
                  </a:cubicBezTo>
                  <a:cubicBezTo>
                    <a:pt x="1092" y="1678"/>
                    <a:pt x="1267" y="1709"/>
                    <a:pt x="1416" y="1651"/>
                  </a:cubicBezTo>
                  <a:lnTo>
                    <a:pt x="2405" y="2640"/>
                  </a:lnTo>
                  <a:cubicBezTo>
                    <a:pt x="2328" y="2743"/>
                    <a:pt x="2271" y="2860"/>
                    <a:pt x="2232" y="2986"/>
                  </a:cubicBezTo>
                  <a:lnTo>
                    <a:pt x="1215" y="2986"/>
                  </a:lnTo>
                  <a:cubicBezTo>
                    <a:pt x="1101" y="2793"/>
                    <a:pt x="894" y="2663"/>
                    <a:pt x="654" y="2663"/>
                  </a:cubicBezTo>
                  <a:cubicBezTo>
                    <a:pt x="293" y="2663"/>
                    <a:pt x="0" y="2956"/>
                    <a:pt x="0" y="3317"/>
                  </a:cubicBezTo>
                  <a:cubicBezTo>
                    <a:pt x="0" y="3679"/>
                    <a:pt x="293" y="3972"/>
                    <a:pt x="654" y="3972"/>
                  </a:cubicBezTo>
                  <a:cubicBezTo>
                    <a:pt x="894" y="3972"/>
                    <a:pt x="1101" y="3842"/>
                    <a:pt x="1215" y="3649"/>
                  </a:cubicBezTo>
                  <a:lnTo>
                    <a:pt x="2232" y="3649"/>
                  </a:lnTo>
                  <a:cubicBezTo>
                    <a:pt x="2271" y="3775"/>
                    <a:pt x="2328" y="3892"/>
                    <a:pt x="2405" y="3995"/>
                  </a:cubicBezTo>
                  <a:lnTo>
                    <a:pt x="1416" y="4984"/>
                  </a:lnTo>
                  <a:cubicBezTo>
                    <a:pt x="1267" y="4926"/>
                    <a:pt x="1092" y="4956"/>
                    <a:pt x="972" y="5077"/>
                  </a:cubicBezTo>
                  <a:cubicBezTo>
                    <a:pt x="810" y="5238"/>
                    <a:pt x="810" y="5501"/>
                    <a:pt x="972" y="5663"/>
                  </a:cubicBezTo>
                  <a:cubicBezTo>
                    <a:pt x="1134" y="5825"/>
                    <a:pt x="1396" y="5825"/>
                    <a:pt x="1558" y="5663"/>
                  </a:cubicBezTo>
                  <a:cubicBezTo>
                    <a:pt x="1678" y="5543"/>
                    <a:pt x="1709" y="5367"/>
                    <a:pt x="1651" y="5219"/>
                  </a:cubicBezTo>
                  <a:lnTo>
                    <a:pt x="2640" y="4230"/>
                  </a:lnTo>
                  <a:cubicBezTo>
                    <a:pt x="2743" y="4307"/>
                    <a:pt x="2860" y="4364"/>
                    <a:pt x="2986" y="4403"/>
                  </a:cubicBezTo>
                  <a:lnTo>
                    <a:pt x="2986" y="5419"/>
                  </a:lnTo>
                  <a:cubicBezTo>
                    <a:pt x="2793" y="5533"/>
                    <a:pt x="2663" y="5741"/>
                    <a:pt x="2663" y="5980"/>
                  </a:cubicBezTo>
                  <a:cubicBezTo>
                    <a:pt x="2663" y="6342"/>
                    <a:pt x="2956" y="6635"/>
                    <a:pt x="3317" y="6635"/>
                  </a:cubicBezTo>
                  <a:cubicBezTo>
                    <a:pt x="3679" y="6635"/>
                    <a:pt x="3972" y="6342"/>
                    <a:pt x="3972" y="5980"/>
                  </a:cubicBezTo>
                  <a:cubicBezTo>
                    <a:pt x="3972" y="5741"/>
                    <a:pt x="3841" y="5533"/>
                    <a:pt x="3649" y="5420"/>
                  </a:cubicBezTo>
                  <a:lnTo>
                    <a:pt x="3649" y="4403"/>
                  </a:lnTo>
                  <a:cubicBezTo>
                    <a:pt x="3775" y="4364"/>
                    <a:pt x="3892" y="4307"/>
                    <a:pt x="3995" y="4229"/>
                  </a:cubicBezTo>
                  <a:lnTo>
                    <a:pt x="4984" y="5219"/>
                  </a:lnTo>
                  <a:cubicBezTo>
                    <a:pt x="4926" y="5367"/>
                    <a:pt x="4957" y="5543"/>
                    <a:pt x="5077" y="5663"/>
                  </a:cubicBezTo>
                  <a:cubicBezTo>
                    <a:pt x="5239" y="5825"/>
                    <a:pt x="5501" y="5825"/>
                    <a:pt x="5663" y="5663"/>
                  </a:cubicBezTo>
                  <a:cubicBezTo>
                    <a:pt x="5825" y="5501"/>
                    <a:pt x="5825" y="5238"/>
                    <a:pt x="5663" y="5077"/>
                  </a:cubicBezTo>
                  <a:cubicBezTo>
                    <a:pt x="5543" y="4956"/>
                    <a:pt x="5367" y="4926"/>
                    <a:pt x="5219" y="4984"/>
                  </a:cubicBezTo>
                  <a:lnTo>
                    <a:pt x="4229" y="3995"/>
                  </a:lnTo>
                  <a:cubicBezTo>
                    <a:pt x="4307" y="3892"/>
                    <a:pt x="4364" y="3775"/>
                    <a:pt x="4403" y="3649"/>
                  </a:cubicBezTo>
                  <a:lnTo>
                    <a:pt x="5420" y="3649"/>
                  </a:lnTo>
                  <a:cubicBezTo>
                    <a:pt x="5534" y="3842"/>
                    <a:pt x="5741" y="3972"/>
                    <a:pt x="5981" y="3972"/>
                  </a:cubicBezTo>
                  <a:cubicBezTo>
                    <a:pt x="6342" y="3972"/>
                    <a:pt x="6635" y="3679"/>
                    <a:pt x="6635" y="3317"/>
                  </a:cubicBezTo>
                  <a:cubicBezTo>
                    <a:pt x="6635" y="2956"/>
                    <a:pt x="6342" y="2663"/>
                    <a:pt x="5980" y="2663"/>
                  </a:cubicBezTo>
                  <a:close/>
                  <a:moveTo>
                    <a:pt x="3317" y="4016"/>
                  </a:moveTo>
                  <a:cubicBezTo>
                    <a:pt x="2932" y="4016"/>
                    <a:pt x="2619" y="3702"/>
                    <a:pt x="2619" y="3317"/>
                  </a:cubicBezTo>
                  <a:cubicBezTo>
                    <a:pt x="2619" y="2932"/>
                    <a:pt x="2932" y="2619"/>
                    <a:pt x="3317" y="2619"/>
                  </a:cubicBezTo>
                  <a:cubicBezTo>
                    <a:pt x="3702" y="2619"/>
                    <a:pt x="4015" y="2932"/>
                    <a:pt x="4015" y="3317"/>
                  </a:cubicBezTo>
                  <a:cubicBezTo>
                    <a:pt x="4015" y="3702"/>
                    <a:pt x="3702" y="4016"/>
                    <a:pt x="3317" y="4016"/>
                  </a:cubicBezTo>
                  <a:close/>
                </a:path>
              </a:pathLst>
            </a:custGeom>
            <a:solidFill>
              <a:schemeClr val="bg1"/>
            </a:solidFill>
            <a:ln>
              <a:noFill/>
            </a:ln>
            <a:effectLst>
              <a:outerShdw blurRad="63500" sx="102000" sy="102000" algn="ctr" rotWithShape="0">
                <a:prstClr val="black">
                  <a:alpha val="40000"/>
                </a:prstClr>
              </a:outerShdw>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Tree>
    <p:extLst>
      <p:ext uri="{BB962C8B-B14F-4D97-AF65-F5344CB8AC3E}">
        <p14:creationId xmlns:p14="http://schemas.microsoft.com/office/powerpoint/2010/main" val="8184253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5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a:extLst>
              <a:ext uri="{FF2B5EF4-FFF2-40B4-BE49-F238E27FC236}">
                <a16:creationId xmlns:a16="http://schemas.microsoft.com/office/drawing/2014/main" id="{767EC6F7-CCF1-4754-90D2-DD37710517A7}"/>
              </a:ext>
            </a:extLst>
          </p:cNvPr>
          <p:cNvSpPr txBox="1"/>
          <p:nvPr/>
        </p:nvSpPr>
        <p:spPr>
          <a:xfrm>
            <a:off x="6000748" y="1930271"/>
            <a:ext cx="4374643" cy="613373"/>
          </a:xfrm>
          <a:prstGeom prst="rect">
            <a:avLst/>
          </a:prstGeom>
          <a:noFill/>
        </p:spPr>
        <p:txBody>
          <a:bodyPr wrap="square" rtlCol="0">
            <a:spAutoFit/>
          </a:bodyPr>
          <a:lstStyle/>
          <a:p>
            <a:pPr>
              <a:lnSpc>
                <a:spcPct val="150000"/>
              </a:lnSpc>
            </a:pPr>
            <a:r>
              <a:rPr lang="zh-CN" altLang="en-US" sz="1200" dirty="0">
                <a:solidFill>
                  <a:schemeClr val="tx1">
                    <a:lumMod val="65000"/>
                    <a:lumOff val="35000"/>
                  </a:schemeClr>
                </a:solidFill>
                <a:latin typeface="Arial" panose="020B0604020202020204" pitchFamily="34" charset="0"/>
                <a:cs typeface="Arial" panose="020B0604020202020204" pitchFamily="34" charset="0"/>
              </a:rPr>
              <a:t>图</a:t>
            </a:r>
            <a:r>
              <a:rPr lang="en-US" altLang="zh-CN" sz="1200" dirty="0">
                <a:solidFill>
                  <a:schemeClr val="tx1">
                    <a:lumMod val="65000"/>
                    <a:lumOff val="35000"/>
                  </a:schemeClr>
                </a:solidFill>
                <a:latin typeface="Arial" panose="020B0604020202020204" pitchFamily="34" charset="0"/>
                <a:cs typeface="Arial" panose="020B0604020202020204" pitchFamily="34" charset="0"/>
              </a:rPr>
              <a:t>3</a:t>
            </a:r>
            <a:r>
              <a:rPr lang="zh-CN" altLang="en-US" sz="1200" dirty="0">
                <a:solidFill>
                  <a:schemeClr val="tx1">
                    <a:lumMod val="65000"/>
                    <a:lumOff val="35000"/>
                  </a:schemeClr>
                </a:solidFill>
                <a:latin typeface="Arial" panose="020B0604020202020204" pitchFamily="34" charset="0"/>
                <a:cs typeface="Arial" panose="020B0604020202020204" pitchFamily="34" charset="0"/>
              </a:rPr>
              <a:t>分别以类图和序列图的形式给出了观察者模式的结构和行为，图</a:t>
            </a:r>
            <a:r>
              <a:rPr lang="en-US" altLang="zh-CN" sz="1200" dirty="0">
                <a:solidFill>
                  <a:schemeClr val="tx1">
                    <a:lumMod val="65000"/>
                    <a:lumOff val="35000"/>
                  </a:schemeClr>
                </a:solidFill>
                <a:latin typeface="Arial" panose="020B0604020202020204" pitchFamily="34" charset="0"/>
                <a:cs typeface="Arial" panose="020B0604020202020204" pitchFamily="34" charset="0"/>
              </a:rPr>
              <a:t>4</a:t>
            </a:r>
            <a:r>
              <a:rPr lang="zh-CN" altLang="en-US" sz="1200" dirty="0">
                <a:solidFill>
                  <a:schemeClr val="tx1">
                    <a:lumMod val="65000"/>
                    <a:lumOff val="35000"/>
                  </a:schemeClr>
                </a:solidFill>
                <a:latin typeface="Arial" panose="020B0604020202020204" pitchFamily="34" charset="0"/>
                <a:cs typeface="Arial" panose="020B0604020202020204" pitchFamily="34" charset="0"/>
              </a:rPr>
              <a:t>给出了描述所考虑的定义之间依赖关系的图。</a:t>
            </a:r>
          </a:p>
        </p:txBody>
      </p:sp>
      <p:sp>
        <p:nvSpPr>
          <p:cNvPr id="14" name="text-quotes_13895">
            <a:extLst>
              <a:ext uri="{FF2B5EF4-FFF2-40B4-BE49-F238E27FC236}">
                <a16:creationId xmlns:a16="http://schemas.microsoft.com/office/drawing/2014/main" id="{4A0F48CB-EE78-46AC-9F26-41F2BF046A2E}"/>
              </a:ext>
            </a:extLst>
          </p:cNvPr>
          <p:cNvSpPr>
            <a:spLocks noChangeAspect="1"/>
          </p:cNvSpPr>
          <p:nvPr/>
        </p:nvSpPr>
        <p:spPr bwMode="auto">
          <a:xfrm rot="10800000">
            <a:off x="5695907" y="1310320"/>
            <a:ext cx="609685" cy="391270"/>
          </a:xfrm>
          <a:custGeom>
            <a:avLst/>
            <a:gdLst>
              <a:gd name="connsiteX0" fmla="*/ 439987 w 568260"/>
              <a:gd name="connsiteY0" fmla="*/ 0 h 364686"/>
              <a:gd name="connsiteX1" fmla="*/ 568260 w 568260"/>
              <a:gd name="connsiteY1" fmla="*/ 130771 h 364686"/>
              <a:gd name="connsiteX2" fmla="*/ 568260 w 568260"/>
              <a:gd name="connsiteY2" fmla="*/ 131692 h 364686"/>
              <a:gd name="connsiteX3" fmla="*/ 337553 w 568260"/>
              <a:gd name="connsiteY3" fmla="*/ 364686 h 364686"/>
              <a:gd name="connsiteX4" fmla="*/ 308023 w 568260"/>
              <a:gd name="connsiteY4" fmla="*/ 331533 h 364686"/>
              <a:gd name="connsiteX5" fmla="*/ 340322 w 568260"/>
              <a:gd name="connsiteY5" fmla="*/ 299301 h 364686"/>
              <a:gd name="connsiteX6" fmla="*/ 444601 w 568260"/>
              <a:gd name="connsiteY6" fmla="*/ 262464 h 364686"/>
              <a:gd name="connsiteX7" fmla="*/ 441833 w 568260"/>
              <a:gd name="connsiteY7" fmla="*/ 262464 h 364686"/>
              <a:gd name="connsiteX8" fmla="*/ 309869 w 568260"/>
              <a:gd name="connsiteY8" fmla="*/ 131692 h 364686"/>
              <a:gd name="connsiteX9" fmla="*/ 439987 w 568260"/>
              <a:gd name="connsiteY9" fmla="*/ 0 h 364686"/>
              <a:gd name="connsiteX10" fmla="*/ 131871 w 568260"/>
              <a:gd name="connsiteY10" fmla="*/ 0 h 364686"/>
              <a:gd name="connsiteX11" fmla="*/ 260976 w 568260"/>
              <a:gd name="connsiteY11" fmla="*/ 130771 h 364686"/>
              <a:gd name="connsiteX12" fmla="*/ 260976 w 568260"/>
              <a:gd name="connsiteY12" fmla="*/ 131692 h 364686"/>
              <a:gd name="connsiteX13" fmla="*/ 30432 w 568260"/>
              <a:gd name="connsiteY13" fmla="*/ 364686 h 364686"/>
              <a:gd name="connsiteX14" fmla="*/ 0 w 568260"/>
              <a:gd name="connsiteY14" fmla="*/ 331533 h 364686"/>
              <a:gd name="connsiteX15" fmla="*/ 33198 w 568260"/>
              <a:gd name="connsiteY15" fmla="*/ 299301 h 364686"/>
              <a:gd name="connsiteX16" fmla="*/ 136482 w 568260"/>
              <a:gd name="connsiteY16" fmla="*/ 262464 h 364686"/>
              <a:gd name="connsiteX17" fmla="*/ 134638 w 568260"/>
              <a:gd name="connsiteY17" fmla="*/ 262464 h 364686"/>
              <a:gd name="connsiteX18" fmla="*/ 1844 w 568260"/>
              <a:gd name="connsiteY18" fmla="*/ 131692 h 364686"/>
              <a:gd name="connsiteX19" fmla="*/ 131871 w 568260"/>
              <a:gd name="connsiteY19" fmla="*/ 0 h 36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8260" h="364686">
                <a:moveTo>
                  <a:pt x="439987" y="0"/>
                </a:moveTo>
                <a:cubicBezTo>
                  <a:pt x="511968" y="0"/>
                  <a:pt x="568260" y="58939"/>
                  <a:pt x="568260" y="130771"/>
                </a:cubicBezTo>
                <a:lnTo>
                  <a:pt x="568260" y="131692"/>
                </a:lnTo>
                <a:cubicBezTo>
                  <a:pt x="568260" y="259701"/>
                  <a:pt x="466749" y="364686"/>
                  <a:pt x="337553" y="364686"/>
                </a:cubicBezTo>
                <a:cubicBezTo>
                  <a:pt x="319097" y="364686"/>
                  <a:pt x="308023" y="349951"/>
                  <a:pt x="308023" y="331533"/>
                </a:cubicBezTo>
                <a:cubicBezTo>
                  <a:pt x="308023" y="313114"/>
                  <a:pt x="322788" y="299301"/>
                  <a:pt x="340322" y="299301"/>
                </a:cubicBezTo>
                <a:cubicBezTo>
                  <a:pt x="380003" y="299301"/>
                  <a:pt x="415994" y="285487"/>
                  <a:pt x="444601" y="262464"/>
                </a:cubicBezTo>
                <a:cubicBezTo>
                  <a:pt x="443678" y="262464"/>
                  <a:pt x="442756" y="262464"/>
                  <a:pt x="441833" y="262464"/>
                </a:cubicBezTo>
                <a:cubicBezTo>
                  <a:pt x="369852" y="262464"/>
                  <a:pt x="309869" y="203524"/>
                  <a:pt x="309869" y="131692"/>
                </a:cubicBezTo>
                <a:cubicBezTo>
                  <a:pt x="309869" y="58939"/>
                  <a:pt x="367084" y="0"/>
                  <a:pt x="439987" y="0"/>
                </a:cubicBezTo>
                <a:close/>
                <a:moveTo>
                  <a:pt x="131871" y="0"/>
                </a:moveTo>
                <a:cubicBezTo>
                  <a:pt x="204723" y="0"/>
                  <a:pt x="260976" y="58939"/>
                  <a:pt x="260976" y="130771"/>
                </a:cubicBezTo>
                <a:lnTo>
                  <a:pt x="260976" y="131692"/>
                </a:lnTo>
                <a:cubicBezTo>
                  <a:pt x="260976" y="259701"/>
                  <a:pt x="158614" y="364686"/>
                  <a:pt x="30432" y="364686"/>
                </a:cubicBezTo>
                <a:cubicBezTo>
                  <a:pt x="11988" y="364686"/>
                  <a:pt x="0" y="349951"/>
                  <a:pt x="0" y="331533"/>
                </a:cubicBezTo>
                <a:cubicBezTo>
                  <a:pt x="0" y="313114"/>
                  <a:pt x="14755" y="299301"/>
                  <a:pt x="33198" y="299301"/>
                </a:cubicBezTo>
                <a:cubicBezTo>
                  <a:pt x="71930" y="299301"/>
                  <a:pt x="107895" y="285487"/>
                  <a:pt x="136482" y="262464"/>
                </a:cubicBezTo>
                <a:cubicBezTo>
                  <a:pt x="136482" y="262464"/>
                  <a:pt x="134638" y="262464"/>
                  <a:pt x="134638" y="262464"/>
                </a:cubicBezTo>
                <a:cubicBezTo>
                  <a:pt x="61786" y="262464"/>
                  <a:pt x="1844" y="203524"/>
                  <a:pt x="1844" y="131692"/>
                </a:cubicBezTo>
                <a:cubicBezTo>
                  <a:pt x="1844" y="58939"/>
                  <a:pt x="59941" y="0"/>
                  <a:pt x="131871" y="0"/>
                </a:cubicBezTo>
                <a:close/>
              </a:path>
            </a:pathLst>
          </a:custGeom>
          <a:solidFill>
            <a:schemeClr val="accent1"/>
          </a:solidFill>
          <a:ln>
            <a:noFill/>
          </a:ln>
        </p:spPr>
      </p:sp>
      <p:pic>
        <p:nvPicPr>
          <p:cNvPr id="3" name="图片 2">
            <a:extLst>
              <a:ext uri="{FF2B5EF4-FFF2-40B4-BE49-F238E27FC236}">
                <a16:creationId xmlns:a16="http://schemas.microsoft.com/office/drawing/2014/main" id="{3BBCC4DA-EA43-4851-8975-0542FF7C5C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9261" y="1437650"/>
            <a:ext cx="4605220" cy="4771045"/>
          </a:xfrm>
          <a:prstGeom prst="rect">
            <a:avLst/>
          </a:prstGeom>
        </p:spPr>
      </p:pic>
      <p:pic>
        <p:nvPicPr>
          <p:cNvPr id="4" name="图片 3">
            <a:extLst>
              <a:ext uri="{FF2B5EF4-FFF2-40B4-BE49-F238E27FC236}">
                <a16:creationId xmlns:a16="http://schemas.microsoft.com/office/drawing/2014/main" id="{84E187A5-1C9D-4C41-8212-C6970D4BBF36}"/>
              </a:ext>
            </a:extLst>
          </p:cNvPr>
          <p:cNvPicPr>
            <a:picLocks noChangeAspect="1"/>
          </p:cNvPicPr>
          <p:nvPr/>
        </p:nvPicPr>
        <p:blipFill>
          <a:blip r:embed="rId3"/>
          <a:stretch>
            <a:fillRect/>
          </a:stretch>
        </p:blipFill>
        <p:spPr>
          <a:xfrm>
            <a:off x="6305592" y="3339026"/>
            <a:ext cx="4872948" cy="2953896"/>
          </a:xfrm>
          <a:prstGeom prst="rect">
            <a:avLst/>
          </a:prstGeom>
        </p:spPr>
      </p:pic>
      <p:grpSp>
        <p:nvGrpSpPr>
          <p:cNvPr id="2" name="组合 1">
            <a:extLst>
              <a:ext uri="{FF2B5EF4-FFF2-40B4-BE49-F238E27FC236}">
                <a16:creationId xmlns:a16="http://schemas.microsoft.com/office/drawing/2014/main" id="{A76E1A66-EFCF-4191-93C8-FB625A2DF21B}"/>
              </a:ext>
            </a:extLst>
          </p:cNvPr>
          <p:cNvGrpSpPr/>
          <p:nvPr/>
        </p:nvGrpSpPr>
        <p:grpSpPr>
          <a:xfrm>
            <a:off x="-43962" y="-2"/>
            <a:ext cx="12265321" cy="1081456"/>
            <a:chOff x="-43962" y="-2"/>
            <a:chExt cx="12265321" cy="1081456"/>
          </a:xfrm>
        </p:grpSpPr>
        <p:grpSp>
          <p:nvGrpSpPr>
            <p:cNvPr id="5" name="组合 4">
              <a:extLst>
                <a:ext uri="{FF2B5EF4-FFF2-40B4-BE49-F238E27FC236}">
                  <a16:creationId xmlns:a16="http://schemas.microsoft.com/office/drawing/2014/main" id="{A02D8D5F-9092-40A1-BEE7-2E18BC595794}"/>
                </a:ext>
              </a:extLst>
            </p:cNvPr>
            <p:cNvGrpSpPr/>
            <p:nvPr/>
          </p:nvGrpSpPr>
          <p:grpSpPr>
            <a:xfrm rot="10800000">
              <a:off x="-43962" y="-2"/>
              <a:ext cx="12265321" cy="1081456"/>
              <a:chOff x="1" y="5010588"/>
              <a:chExt cx="12265322" cy="1905823"/>
            </a:xfrm>
          </p:grpSpPr>
          <p:sp>
            <p:nvSpPr>
              <p:cNvPr id="6" name="îṧļiḑe">
                <a:extLst>
                  <a:ext uri="{FF2B5EF4-FFF2-40B4-BE49-F238E27FC236}">
                    <a16:creationId xmlns:a16="http://schemas.microsoft.com/office/drawing/2014/main" id="{49F6E0D8-E3BC-4BD3-84FB-161A76550555}"/>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îṩľiḑê">
                <a:extLst>
                  <a:ext uri="{FF2B5EF4-FFF2-40B4-BE49-F238E27FC236}">
                    <a16:creationId xmlns:a16="http://schemas.microsoft.com/office/drawing/2014/main" id="{E47AD772-61D7-455A-AF1D-07952261DFE2}"/>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sp>
          <p:nvSpPr>
            <p:cNvPr id="9" name="矩形 8">
              <a:extLst>
                <a:ext uri="{FF2B5EF4-FFF2-40B4-BE49-F238E27FC236}">
                  <a16:creationId xmlns:a16="http://schemas.microsoft.com/office/drawing/2014/main" id="{559493B6-54D5-4BFB-8173-8ADF4B215E18}"/>
                </a:ext>
              </a:extLst>
            </p:cNvPr>
            <p:cNvSpPr/>
            <p:nvPr/>
          </p:nvSpPr>
          <p:spPr>
            <a:xfrm>
              <a:off x="1028700" y="139985"/>
              <a:ext cx="9944100" cy="369332"/>
            </a:xfrm>
            <a:prstGeom prst="rect">
              <a:avLst/>
            </a:prstGeom>
          </p:spPr>
          <p:txBody>
            <a:bodyPr wrap="square">
              <a:spAutoFit/>
            </a:bodyPr>
            <a:lstStyle/>
            <a:p>
              <a:r>
                <a:rPr lang="sv-SE" altLang="zh-CN" dirty="0">
                  <a:solidFill>
                    <a:schemeClr val="bg1"/>
                  </a:solidFill>
                </a:rPr>
                <a:t>B.</a:t>
              </a:r>
              <a:r>
                <a:rPr lang="zh-CN" altLang="en-US" dirty="0">
                  <a:solidFill>
                    <a:schemeClr val="bg1"/>
                  </a:solidFill>
                </a:rPr>
                <a:t>观察者设计模式变体</a:t>
              </a:r>
              <a:endParaRPr lang="sv-SE" altLang="zh-CN" dirty="0">
                <a:solidFill>
                  <a:schemeClr val="bg1"/>
                </a:solidFill>
              </a:endParaRPr>
            </a:p>
          </p:txBody>
        </p:sp>
        <p:sp>
          <p:nvSpPr>
            <p:cNvPr id="15" name="ïṥ1iḓe">
              <a:extLst>
                <a:ext uri="{FF2B5EF4-FFF2-40B4-BE49-F238E27FC236}">
                  <a16:creationId xmlns:a16="http://schemas.microsoft.com/office/drawing/2014/main" id="{F9B3EB36-16FF-4740-B863-580AE8E0F168}"/>
                </a:ext>
              </a:extLst>
            </p:cNvPr>
            <p:cNvSpPr/>
            <p:nvPr/>
          </p:nvSpPr>
          <p:spPr bwMode="auto">
            <a:xfrm>
              <a:off x="434340" y="65577"/>
              <a:ext cx="539484" cy="538668"/>
            </a:xfrm>
            <a:custGeom>
              <a:avLst/>
              <a:gdLst>
                <a:gd name="T0" fmla="*/ 5980 w 6635"/>
                <a:gd name="T1" fmla="*/ 2663 h 6635"/>
                <a:gd name="T2" fmla="*/ 5420 w 6635"/>
                <a:gd name="T3" fmla="*/ 2986 h 6635"/>
                <a:gd name="T4" fmla="*/ 4403 w 6635"/>
                <a:gd name="T5" fmla="*/ 2986 h 6635"/>
                <a:gd name="T6" fmla="*/ 4229 w 6635"/>
                <a:gd name="T7" fmla="*/ 2640 h 6635"/>
                <a:gd name="T8" fmla="*/ 5219 w 6635"/>
                <a:gd name="T9" fmla="*/ 1650 h 6635"/>
                <a:gd name="T10" fmla="*/ 5663 w 6635"/>
                <a:gd name="T11" fmla="*/ 1558 h 6635"/>
                <a:gd name="T12" fmla="*/ 5663 w 6635"/>
                <a:gd name="T13" fmla="*/ 972 h 6635"/>
                <a:gd name="T14" fmla="*/ 5077 w 6635"/>
                <a:gd name="T15" fmla="*/ 972 h 6635"/>
                <a:gd name="T16" fmla="*/ 4984 w 6635"/>
                <a:gd name="T17" fmla="*/ 1416 h 6635"/>
                <a:gd name="T18" fmla="*/ 3995 w 6635"/>
                <a:gd name="T19" fmla="*/ 2405 h 6635"/>
                <a:gd name="T20" fmla="*/ 3649 w 6635"/>
                <a:gd name="T21" fmla="*/ 2232 h 6635"/>
                <a:gd name="T22" fmla="*/ 3649 w 6635"/>
                <a:gd name="T23" fmla="*/ 1215 h 6635"/>
                <a:gd name="T24" fmla="*/ 3972 w 6635"/>
                <a:gd name="T25" fmla="*/ 654 h 6635"/>
                <a:gd name="T26" fmla="*/ 3317 w 6635"/>
                <a:gd name="T27" fmla="*/ 0 h 6635"/>
                <a:gd name="T28" fmla="*/ 2663 w 6635"/>
                <a:gd name="T29" fmla="*/ 654 h 6635"/>
                <a:gd name="T30" fmla="*/ 2986 w 6635"/>
                <a:gd name="T31" fmla="*/ 1215 h 6635"/>
                <a:gd name="T32" fmla="*/ 2986 w 6635"/>
                <a:gd name="T33" fmla="*/ 2232 h 6635"/>
                <a:gd name="T34" fmla="*/ 2640 w 6635"/>
                <a:gd name="T35" fmla="*/ 2405 h 6635"/>
                <a:gd name="T36" fmla="*/ 1650 w 6635"/>
                <a:gd name="T37" fmla="*/ 1416 h 6635"/>
                <a:gd name="T38" fmla="*/ 1558 w 6635"/>
                <a:gd name="T39" fmla="*/ 972 h 6635"/>
                <a:gd name="T40" fmla="*/ 972 w 6635"/>
                <a:gd name="T41" fmla="*/ 972 h 6635"/>
                <a:gd name="T42" fmla="*/ 972 w 6635"/>
                <a:gd name="T43" fmla="*/ 1558 h 6635"/>
                <a:gd name="T44" fmla="*/ 1416 w 6635"/>
                <a:gd name="T45" fmla="*/ 1651 h 6635"/>
                <a:gd name="T46" fmla="*/ 2405 w 6635"/>
                <a:gd name="T47" fmla="*/ 2640 h 6635"/>
                <a:gd name="T48" fmla="*/ 2232 w 6635"/>
                <a:gd name="T49" fmla="*/ 2986 h 6635"/>
                <a:gd name="T50" fmla="*/ 1215 w 6635"/>
                <a:gd name="T51" fmla="*/ 2986 h 6635"/>
                <a:gd name="T52" fmla="*/ 654 w 6635"/>
                <a:gd name="T53" fmla="*/ 2663 h 6635"/>
                <a:gd name="T54" fmla="*/ 0 w 6635"/>
                <a:gd name="T55" fmla="*/ 3317 h 6635"/>
                <a:gd name="T56" fmla="*/ 654 w 6635"/>
                <a:gd name="T57" fmla="*/ 3972 h 6635"/>
                <a:gd name="T58" fmla="*/ 1215 w 6635"/>
                <a:gd name="T59" fmla="*/ 3649 h 6635"/>
                <a:gd name="T60" fmla="*/ 2232 w 6635"/>
                <a:gd name="T61" fmla="*/ 3649 h 6635"/>
                <a:gd name="T62" fmla="*/ 2405 w 6635"/>
                <a:gd name="T63" fmla="*/ 3995 h 6635"/>
                <a:gd name="T64" fmla="*/ 1416 w 6635"/>
                <a:gd name="T65" fmla="*/ 4984 h 6635"/>
                <a:gd name="T66" fmla="*/ 972 w 6635"/>
                <a:gd name="T67" fmla="*/ 5077 h 6635"/>
                <a:gd name="T68" fmla="*/ 972 w 6635"/>
                <a:gd name="T69" fmla="*/ 5663 h 6635"/>
                <a:gd name="T70" fmla="*/ 1558 w 6635"/>
                <a:gd name="T71" fmla="*/ 5663 h 6635"/>
                <a:gd name="T72" fmla="*/ 1651 w 6635"/>
                <a:gd name="T73" fmla="*/ 5219 h 6635"/>
                <a:gd name="T74" fmla="*/ 2640 w 6635"/>
                <a:gd name="T75" fmla="*/ 4230 h 6635"/>
                <a:gd name="T76" fmla="*/ 2986 w 6635"/>
                <a:gd name="T77" fmla="*/ 4403 h 6635"/>
                <a:gd name="T78" fmla="*/ 2986 w 6635"/>
                <a:gd name="T79" fmla="*/ 5419 h 6635"/>
                <a:gd name="T80" fmla="*/ 2663 w 6635"/>
                <a:gd name="T81" fmla="*/ 5980 h 6635"/>
                <a:gd name="T82" fmla="*/ 3317 w 6635"/>
                <a:gd name="T83" fmla="*/ 6635 h 6635"/>
                <a:gd name="T84" fmla="*/ 3972 w 6635"/>
                <a:gd name="T85" fmla="*/ 5980 h 6635"/>
                <a:gd name="T86" fmla="*/ 3649 w 6635"/>
                <a:gd name="T87" fmla="*/ 5420 h 6635"/>
                <a:gd name="T88" fmla="*/ 3649 w 6635"/>
                <a:gd name="T89" fmla="*/ 4403 h 6635"/>
                <a:gd name="T90" fmla="*/ 3995 w 6635"/>
                <a:gd name="T91" fmla="*/ 4229 h 6635"/>
                <a:gd name="T92" fmla="*/ 4984 w 6635"/>
                <a:gd name="T93" fmla="*/ 5219 h 6635"/>
                <a:gd name="T94" fmla="*/ 5077 w 6635"/>
                <a:gd name="T95" fmla="*/ 5663 h 6635"/>
                <a:gd name="T96" fmla="*/ 5663 w 6635"/>
                <a:gd name="T97" fmla="*/ 5663 h 6635"/>
                <a:gd name="T98" fmla="*/ 5663 w 6635"/>
                <a:gd name="T99" fmla="*/ 5077 h 6635"/>
                <a:gd name="T100" fmla="*/ 5219 w 6635"/>
                <a:gd name="T101" fmla="*/ 4984 h 6635"/>
                <a:gd name="T102" fmla="*/ 4229 w 6635"/>
                <a:gd name="T103" fmla="*/ 3995 h 6635"/>
                <a:gd name="T104" fmla="*/ 4403 w 6635"/>
                <a:gd name="T105" fmla="*/ 3649 h 6635"/>
                <a:gd name="T106" fmla="*/ 5420 w 6635"/>
                <a:gd name="T107" fmla="*/ 3649 h 6635"/>
                <a:gd name="T108" fmla="*/ 5981 w 6635"/>
                <a:gd name="T109" fmla="*/ 3972 h 6635"/>
                <a:gd name="T110" fmla="*/ 6635 w 6635"/>
                <a:gd name="T111" fmla="*/ 3317 h 6635"/>
                <a:gd name="T112" fmla="*/ 5980 w 6635"/>
                <a:gd name="T113" fmla="*/ 2663 h 6635"/>
                <a:gd name="T114" fmla="*/ 3317 w 6635"/>
                <a:gd name="T115" fmla="*/ 4016 h 6635"/>
                <a:gd name="T116" fmla="*/ 2619 w 6635"/>
                <a:gd name="T117" fmla="*/ 3317 h 6635"/>
                <a:gd name="T118" fmla="*/ 3317 w 6635"/>
                <a:gd name="T119" fmla="*/ 2619 h 6635"/>
                <a:gd name="T120" fmla="*/ 4015 w 6635"/>
                <a:gd name="T121" fmla="*/ 3317 h 6635"/>
                <a:gd name="T122" fmla="*/ 3317 w 6635"/>
                <a:gd name="T123" fmla="*/ 4016 h 6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35" h="6635">
                  <a:moveTo>
                    <a:pt x="5980" y="2663"/>
                  </a:moveTo>
                  <a:cubicBezTo>
                    <a:pt x="5741" y="2663"/>
                    <a:pt x="5533" y="2793"/>
                    <a:pt x="5420" y="2986"/>
                  </a:cubicBezTo>
                  <a:lnTo>
                    <a:pt x="4403" y="2986"/>
                  </a:lnTo>
                  <a:cubicBezTo>
                    <a:pt x="4364" y="2860"/>
                    <a:pt x="4306" y="2743"/>
                    <a:pt x="4229" y="2640"/>
                  </a:cubicBezTo>
                  <a:lnTo>
                    <a:pt x="5219" y="1650"/>
                  </a:lnTo>
                  <a:cubicBezTo>
                    <a:pt x="5368" y="1709"/>
                    <a:pt x="5543" y="1678"/>
                    <a:pt x="5663" y="1558"/>
                  </a:cubicBezTo>
                  <a:cubicBezTo>
                    <a:pt x="5825" y="1396"/>
                    <a:pt x="5825" y="1134"/>
                    <a:pt x="5663" y="972"/>
                  </a:cubicBezTo>
                  <a:cubicBezTo>
                    <a:pt x="5501" y="810"/>
                    <a:pt x="5239" y="810"/>
                    <a:pt x="5077" y="972"/>
                  </a:cubicBezTo>
                  <a:cubicBezTo>
                    <a:pt x="4957" y="1092"/>
                    <a:pt x="4926" y="1267"/>
                    <a:pt x="4984" y="1416"/>
                  </a:cubicBezTo>
                  <a:lnTo>
                    <a:pt x="3995" y="2405"/>
                  </a:lnTo>
                  <a:cubicBezTo>
                    <a:pt x="3892" y="2328"/>
                    <a:pt x="3775" y="2271"/>
                    <a:pt x="3649" y="2232"/>
                  </a:cubicBezTo>
                  <a:lnTo>
                    <a:pt x="3649" y="1215"/>
                  </a:lnTo>
                  <a:cubicBezTo>
                    <a:pt x="3841" y="1101"/>
                    <a:pt x="3972" y="894"/>
                    <a:pt x="3972" y="654"/>
                  </a:cubicBezTo>
                  <a:cubicBezTo>
                    <a:pt x="3972" y="293"/>
                    <a:pt x="3679" y="0"/>
                    <a:pt x="3317" y="0"/>
                  </a:cubicBezTo>
                  <a:cubicBezTo>
                    <a:pt x="2956" y="0"/>
                    <a:pt x="2663" y="293"/>
                    <a:pt x="2663" y="654"/>
                  </a:cubicBezTo>
                  <a:cubicBezTo>
                    <a:pt x="2663" y="894"/>
                    <a:pt x="2793" y="1101"/>
                    <a:pt x="2986" y="1215"/>
                  </a:cubicBezTo>
                  <a:lnTo>
                    <a:pt x="2986" y="2232"/>
                  </a:lnTo>
                  <a:cubicBezTo>
                    <a:pt x="2860" y="2271"/>
                    <a:pt x="2743" y="2328"/>
                    <a:pt x="2640" y="2405"/>
                  </a:cubicBezTo>
                  <a:lnTo>
                    <a:pt x="1650" y="1416"/>
                  </a:lnTo>
                  <a:cubicBezTo>
                    <a:pt x="1709" y="1267"/>
                    <a:pt x="1678" y="1092"/>
                    <a:pt x="1558" y="972"/>
                  </a:cubicBezTo>
                  <a:cubicBezTo>
                    <a:pt x="1396" y="810"/>
                    <a:pt x="1133" y="810"/>
                    <a:pt x="972" y="972"/>
                  </a:cubicBezTo>
                  <a:cubicBezTo>
                    <a:pt x="810" y="1134"/>
                    <a:pt x="810" y="1396"/>
                    <a:pt x="972" y="1558"/>
                  </a:cubicBezTo>
                  <a:cubicBezTo>
                    <a:pt x="1092" y="1678"/>
                    <a:pt x="1267" y="1709"/>
                    <a:pt x="1416" y="1651"/>
                  </a:cubicBezTo>
                  <a:lnTo>
                    <a:pt x="2405" y="2640"/>
                  </a:lnTo>
                  <a:cubicBezTo>
                    <a:pt x="2328" y="2743"/>
                    <a:pt x="2271" y="2860"/>
                    <a:pt x="2232" y="2986"/>
                  </a:cubicBezTo>
                  <a:lnTo>
                    <a:pt x="1215" y="2986"/>
                  </a:lnTo>
                  <a:cubicBezTo>
                    <a:pt x="1101" y="2793"/>
                    <a:pt x="894" y="2663"/>
                    <a:pt x="654" y="2663"/>
                  </a:cubicBezTo>
                  <a:cubicBezTo>
                    <a:pt x="293" y="2663"/>
                    <a:pt x="0" y="2956"/>
                    <a:pt x="0" y="3317"/>
                  </a:cubicBezTo>
                  <a:cubicBezTo>
                    <a:pt x="0" y="3679"/>
                    <a:pt x="293" y="3972"/>
                    <a:pt x="654" y="3972"/>
                  </a:cubicBezTo>
                  <a:cubicBezTo>
                    <a:pt x="894" y="3972"/>
                    <a:pt x="1101" y="3842"/>
                    <a:pt x="1215" y="3649"/>
                  </a:cubicBezTo>
                  <a:lnTo>
                    <a:pt x="2232" y="3649"/>
                  </a:lnTo>
                  <a:cubicBezTo>
                    <a:pt x="2271" y="3775"/>
                    <a:pt x="2328" y="3892"/>
                    <a:pt x="2405" y="3995"/>
                  </a:cubicBezTo>
                  <a:lnTo>
                    <a:pt x="1416" y="4984"/>
                  </a:lnTo>
                  <a:cubicBezTo>
                    <a:pt x="1267" y="4926"/>
                    <a:pt x="1092" y="4956"/>
                    <a:pt x="972" y="5077"/>
                  </a:cubicBezTo>
                  <a:cubicBezTo>
                    <a:pt x="810" y="5238"/>
                    <a:pt x="810" y="5501"/>
                    <a:pt x="972" y="5663"/>
                  </a:cubicBezTo>
                  <a:cubicBezTo>
                    <a:pt x="1134" y="5825"/>
                    <a:pt x="1396" y="5825"/>
                    <a:pt x="1558" y="5663"/>
                  </a:cubicBezTo>
                  <a:cubicBezTo>
                    <a:pt x="1678" y="5543"/>
                    <a:pt x="1709" y="5367"/>
                    <a:pt x="1651" y="5219"/>
                  </a:cubicBezTo>
                  <a:lnTo>
                    <a:pt x="2640" y="4230"/>
                  </a:lnTo>
                  <a:cubicBezTo>
                    <a:pt x="2743" y="4307"/>
                    <a:pt x="2860" y="4364"/>
                    <a:pt x="2986" y="4403"/>
                  </a:cubicBezTo>
                  <a:lnTo>
                    <a:pt x="2986" y="5419"/>
                  </a:lnTo>
                  <a:cubicBezTo>
                    <a:pt x="2793" y="5533"/>
                    <a:pt x="2663" y="5741"/>
                    <a:pt x="2663" y="5980"/>
                  </a:cubicBezTo>
                  <a:cubicBezTo>
                    <a:pt x="2663" y="6342"/>
                    <a:pt x="2956" y="6635"/>
                    <a:pt x="3317" y="6635"/>
                  </a:cubicBezTo>
                  <a:cubicBezTo>
                    <a:pt x="3679" y="6635"/>
                    <a:pt x="3972" y="6342"/>
                    <a:pt x="3972" y="5980"/>
                  </a:cubicBezTo>
                  <a:cubicBezTo>
                    <a:pt x="3972" y="5741"/>
                    <a:pt x="3841" y="5533"/>
                    <a:pt x="3649" y="5420"/>
                  </a:cubicBezTo>
                  <a:lnTo>
                    <a:pt x="3649" y="4403"/>
                  </a:lnTo>
                  <a:cubicBezTo>
                    <a:pt x="3775" y="4364"/>
                    <a:pt x="3892" y="4307"/>
                    <a:pt x="3995" y="4229"/>
                  </a:cubicBezTo>
                  <a:lnTo>
                    <a:pt x="4984" y="5219"/>
                  </a:lnTo>
                  <a:cubicBezTo>
                    <a:pt x="4926" y="5367"/>
                    <a:pt x="4957" y="5543"/>
                    <a:pt x="5077" y="5663"/>
                  </a:cubicBezTo>
                  <a:cubicBezTo>
                    <a:pt x="5239" y="5825"/>
                    <a:pt x="5501" y="5825"/>
                    <a:pt x="5663" y="5663"/>
                  </a:cubicBezTo>
                  <a:cubicBezTo>
                    <a:pt x="5825" y="5501"/>
                    <a:pt x="5825" y="5238"/>
                    <a:pt x="5663" y="5077"/>
                  </a:cubicBezTo>
                  <a:cubicBezTo>
                    <a:pt x="5543" y="4956"/>
                    <a:pt x="5367" y="4926"/>
                    <a:pt x="5219" y="4984"/>
                  </a:cubicBezTo>
                  <a:lnTo>
                    <a:pt x="4229" y="3995"/>
                  </a:lnTo>
                  <a:cubicBezTo>
                    <a:pt x="4307" y="3892"/>
                    <a:pt x="4364" y="3775"/>
                    <a:pt x="4403" y="3649"/>
                  </a:cubicBezTo>
                  <a:lnTo>
                    <a:pt x="5420" y="3649"/>
                  </a:lnTo>
                  <a:cubicBezTo>
                    <a:pt x="5534" y="3842"/>
                    <a:pt x="5741" y="3972"/>
                    <a:pt x="5981" y="3972"/>
                  </a:cubicBezTo>
                  <a:cubicBezTo>
                    <a:pt x="6342" y="3972"/>
                    <a:pt x="6635" y="3679"/>
                    <a:pt x="6635" y="3317"/>
                  </a:cubicBezTo>
                  <a:cubicBezTo>
                    <a:pt x="6635" y="2956"/>
                    <a:pt x="6342" y="2663"/>
                    <a:pt x="5980" y="2663"/>
                  </a:cubicBezTo>
                  <a:close/>
                  <a:moveTo>
                    <a:pt x="3317" y="4016"/>
                  </a:moveTo>
                  <a:cubicBezTo>
                    <a:pt x="2932" y="4016"/>
                    <a:pt x="2619" y="3702"/>
                    <a:pt x="2619" y="3317"/>
                  </a:cubicBezTo>
                  <a:cubicBezTo>
                    <a:pt x="2619" y="2932"/>
                    <a:pt x="2932" y="2619"/>
                    <a:pt x="3317" y="2619"/>
                  </a:cubicBezTo>
                  <a:cubicBezTo>
                    <a:pt x="3702" y="2619"/>
                    <a:pt x="4015" y="2932"/>
                    <a:pt x="4015" y="3317"/>
                  </a:cubicBezTo>
                  <a:cubicBezTo>
                    <a:pt x="4015" y="3702"/>
                    <a:pt x="3702" y="4016"/>
                    <a:pt x="3317" y="4016"/>
                  </a:cubicBezTo>
                  <a:close/>
                </a:path>
              </a:pathLst>
            </a:custGeom>
            <a:solidFill>
              <a:schemeClr val="bg1"/>
            </a:solidFill>
            <a:ln>
              <a:noFill/>
            </a:ln>
            <a:effectLst>
              <a:outerShdw blurRad="63500" sx="102000" sy="102000" algn="ctr" rotWithShape="0">
                <a:prstClr val="black">
                  <a:alpha val="40000"/>
                </a:prstClr>
              </a:outerShdw>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Tree>
    <p:extLst>
      <p:ext uri="{BB962C8B-B14F-4D97-AF65-F5344CB8AC3E}">
        <p14:creationId xmlns:p14="http://schemas.microsoft.com/office/powerpoint/2010/main" val="212667611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2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2" presetClass="entr" presetSubtype="8" accel="10000" fill="hold" nodeType="withEffect" p14:presetBounceEnd="30000">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14:bounceEnd="30000">
                                          <p:cBhvr additive="base">
                                            <p:cTn id="15" dur="500" fill="hold"/>
                                            <p:tgtEl>
                                              <p:spTgt spid="14"/>
                                            </p:tgtEl>
                                            <p:attrNameLst>
                                              <p:attrName>ppt_x</p:attrName>
                                            </p:attrNameLst>
                                          </p:cBhvr>
                                          <p:tavLst>
                                            <p:tav tm="0">
                                              <p:val>
                                                <p:strVal val="0-#ppt_w/2"/>
                                              </p:val>
                                            </p:tav>
                                            <p:tav tm="100000">
                                              <p:val>
                                                <p:strVal val="#ppt_x"/>
                                              </p:val>
                                            </p:tav>
                                          </p:tavLst>
                                        </p:anim>
                                        <p:anim calcmode="lin" valueType="num" p14:bounceEnd="30000">
                                          <p:cBhvr additive="base">
                                            <p:cTn id="16" dur="500" fill="hold"/>
                                            <p:tgtEl>
                                              <p:spTgt spid="14"/>
                                            </p:tgtEl>
                                            <p:attrNameLst>
                                              <p:attrName>ppt_y</p:attrName>
                                            </p:attrNameLst>
                                          </p:cBhvr>
                                          <p:tavLst>
                                            <p:tav tm="0">
                                              <p:val>
                                                <p:strVal val="#ppt_y"/>
                                              </p:val>
                                            </p:tav>
                                            <p:tav tm="100000">
                                              <p:val>
                                                <p:strVal val="#ppt_y"/>
                                              </p:val>
                                            </p:tav>
                                          </p:tavLst>
                                        </p:anim>
                                      </p:childTnLst>
                                    </p:cTn>
                                  </p:par>
                                  <p:par>
                                    <p:cTn id="17" presetID="2" presetClass="entr" presetSubtype="2" accel="10000" decel="30000" fill="hold" grpId="0" nodeType="withEffect">
                                      <p:stCondLst>
                                        <p:cond delay="60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1+#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par>
                                    <p:cTn id="21" presetID="10" presetClass="entr" presetSubtype="0" fill="hold" nodeType="withEffect">
                                      <p:stCondLst>
                                        <p:cond delay="80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2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2" presetClass="entr" presetSubtype="8" accel="10000" fill="hold" nodeType="withEffect">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0-#ppt_w/2"/>
                                              </p:val>
                                            </p:tav>
                                            <p:tav tm="100000">
                                              <p:val>
                                                <p:strVal val="#ppt_x"/>
                                              </p:val>
                                            </p:tav>
                                          </p:tavLst>
                                        </p:anim>
                                        <p:anim calcmode="lin" valueType="num">
                                          <p:cBhvr additive="base">
                                            <p:cTn id="16" dur="500" fill="hold"/>
                                            <p:tgtEl>
                                              <p:spTgt spid="14"/>
                                            </p:tgtEl>
                                            <p:attrNameLst>
                                              <p:attrName>ppt_y</p:attrName>
                                            </p:attrNameLst>
                                          </p:cBhvr>
                                          <p:tavLst>
                                            <p:tav tm="0">
                                              <p:val>
                                                <p:strVal val="#ppt_y"/>
                                              </p:val>
                                            </p:tav>
                                            <p:tav tm="100000">
                                              <p:val>
                                                <p:strVal val="#ppt_y"/>
                                              </p:val>
                                            </p:tav>
                                          </p:tavLst>
                                        </p:anim>
                                      </p:childTnLst>
                                    </p:cTn>
                                  </p:par>
                                  <p:par>
                                    <p:cTn id="17" presetID="2" presetClass="entr" presetSubtype="2" accel="10000" decel="30000" fill="hold" grpId="0" nodeType="withEffect">
                                      <p:stCondLst>
                                        <p:cond delay="60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1+#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par>
                                    <p:cTn id="21" presetID="10" presetClass="entr" presetSubtype="0" fill="hold" nodeType="withEffect">
                                      <p:stCondLst>
                                        <p:cond delay="80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组合 10">
            <a:extLst>
              <a:ext uri="{FF2B5EF4-FFF2-40B4-BE49-F238E27FC236}">
                <a16:creationId xmlns:a16="http://schemas.microsoft.com/office/drawing/2014/main" id="{78FFBB1B-A9B7-47DA-807F-4ED2B7B45C38}"/>
              </a:ext>
            </a:extLst>
          </p:cNvPr>
          <p:cNvGrpSpPr/>
          <p:nvPr/>
        </p:nvGrpSpPr>
        <p:grpSpPr>
          <a:xfrm>
            <a:off x="370565" y="1861257"/>
            <a:ext cx="11466256" cy="3673248"/>
            <a:chOff x="370565" y="1472637"/>
            <a:chExt cx="11466256" cy="3673248"/>
          </a:xfrm>
        </p:grpSpPr>
        <p:cxnSp>
          <p:nvCxnSpPr>
            <p:cNvPr id="12" name="直接连接符 11">
              <a:extLst>
                <a:ext uri="{FF2B5EF4-FFF2-40B4-BE49-F238E27FC236}">
                  <a16:creationId xmlns:a16="http://schemas.microsoft.com/office/drawing/2014/main" id="{B7C29165-54C3-4ED4-8672-7697AA813665}"/>
                </a:ext>
              </a:extLst>
            </p:cNvPr>
            <p:cNvCxnSpPr/>
            <p:nvPr/>
          </p:nvCxnSpPr>
          <p:spPr>
            <a:xfrm>
              <a:off x="605379" y="3083436"/>
              <a:ext cx="11231442" cy="0"/>
            </a:xfrm>
            <a:prstGeom prst="line">
              <a:avLst/>
            </a:prstGeom>
            <a:ln w="28575" cap="rnd">
              <a:solidFill>
                <a:srgbClr val="95A5A6"/>
              </a:solidFill>
              <a:prstDash val="sysDot"/>
            </a:ln>
          </p:spPr>
          <p:style>
            <a:lnRef idx="1">
              <a:schemeClr val="accent1"/>
            </a:lnRef>
            <a:fillRef idx="0">
              <a:schemeClr val="accent1"/>
            </a:fillRef>
            <a:effectRef idx="0">
              <a:schemeClr val="accent1"/>
            </a:effectRef>
            <a:fontRef idx="minor">
              <a:schemeClr val="tx1"/>
            </a:fontRef>
          </p:style>
        </p:cxnSp>
        <p:sp>
          <p:nvSpPr>
            <p:cNvPr id="15" name="îṣ1iḍe">
              <a:extLst>
                <a:ext uri="{FF2B5EF4-FFF2-40B4-BE49-F238E27FC236}">
                  <a16:creationId xmlns:a16="http://schemas.microsoft.com/office/drawing/2014/main" id="{3A94839A-2089-4E29-A19A-B90CE5F45AA4}"/>
                </a:ext>
              </a:extLst>
            </p:cNvPr>
            <p:cNvSpPr/>
            <p:nvPr/>
          </p:nvSpPr>
          <p:spPr>
            <a:xfrm>
              <a:off x="370565" y="2969988"/>
              <a:ext cx="226898" cy="22689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7" name="íŝḻíde">
              <a:extLst>
                <a:ext uri="{FF2B5EF4-FFF2-40B4-BE49-F238E27FC236}">
                  <a16:creationId xmlns:a16="http://schemas.microsoft.com/office/drawing/2014/main" id="{B382DAE9-82A7-40AF-978B-2AF04BF3B7DA}"/>
                </a:ext>
              </a:extLst>
            </p:cNvPr>
            <p:cNvSpPr/>
            <p:nvPr/>
          </p:nvSpPr>
          <p:spPr>
            <a:xfrm>
              <a:off x="2396814" y="2969988"/>
              <a:ext cx="226898" cy="22689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8" name="îṥľíḍê">
              <a:extLst>
                <a:ext uri="{FF2B5EF4-FFF2-40B4-BE49-F238E27FC236}">
                  <a16:creationId xmlns:a16="http://schemas.microsoft.com/office/drawing/2014/main" id="{9E060225-5412-4842-84D5-F6316BD70BD0}"/>
                </a:ext>
              </a:extLst>
            </p:cNvPr>
            <p:cNvSpPr/>
            <p:nvPr/>
          </p:nvSpPr>
          <p:spPr>
            <a:xfrm>
              <a:off x="4334765" y="2969988"/>
              <a:ext cx="226898" cy="22689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0" name="iṧļîḋè">
              <a:extLst>
                <a:ext uri="{FF2B5EF4-FFF2-40B4-BE49-F238E27FC236}">
                  <a16:creationId xmlns:a16="http://schemas.microsoft.com/office/drawing/2014/main" id="{9FB2314A-2B6D-420C-AD0A-7DD9FF676755}"/>
                </a:ext>
              </a:extLst>
            </p:cNvPr>
            <p:cNvSpPr/>
            <p:nvPr/>
          </p:nvSpPr>
          <p:spPr>
            <a:xfrm>
              <a:off x="6762400" y="2969988"/>
              <a:ext cx="226898" cy="22689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1" name="íš1îďè">
              <a:extLst>
                <a:ext uri="{FF2B5EF4-FFF2-40B4-BE49-F238E27FC236}">
                  <a16:creationId xmlns:a16="http://schemas.microsoft.com/office/drawing/2014/main" id="{2CE535A5-AFF5-4C7B-8D26-BC95D64BEB81}"/>
                </a:ext>
              </a:extLst>
            </p:cNvPr>
            <p:cNvSpPr/>
            <p:nvPr/>
          </p:nvSpPr>
          <p:spPr>
            <a:xfrm>
              <a:off x="9208053" y="2963500"/>
              <a:ext cx="226898" cy="22689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cxnSp>
          <p:nvCxnSpPr>
            <p:cNvPr id="23" name="直接连接符 22">
              <a:extLst>
                <a:ext uri="{FF2B5EF4-FFF2-40B4-BE49-F238E27FC236}">
                  <a16:creationId xmlns:a16="http://schemas.microsoft.com/office/drawing/2014/main" id="{4BBF79A7-37CC-4A41-9095-6754FFDD2B05}"/>
                </a:ext>
              </a:extLst>
            </p:cNvPr>
            <p:cNvCxnSpPr>
              <a:cxnSpLocks/>
            </p:cNvCxnSpPr>
            <p:nvPr/>
          </p:nvCxnSpPr>
          <p:spPr>
            <a:xfrm>
              <a:off x="499846" y="3196885"/>
              <a:ext cx="0" cy="803615"/>
            </a:xfrm>
            <a:prstGeom prst="line">
              <a:avLst/>
            </a:prstGeom>
            <a:ln w="3175">
              <a:solidFill>
                <a:srgbClr val="95A5A6"/>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0C0FBCC7-4127-42A7-BEBE-399A498F8E8C}"/>
                </a:ext>
              </a:extLst>
            </p:cNvPr>
            <p:cNvCxnSpPr/>
            <p:nvPr/>
          </p:nvCxnSpPr>
          <p:spPr>
            <a:xfrm>
              <a:off x="2498856" y="1914650"/>
              <a:ext cx="7916" cy="1055338"/>
            </a:xfrm>
            <a:prstGeom prst="line">
              <a:avLst/>
            </a:prstGeom>
            <a:ln w="3175">
              <a:solidFill>
                <a:srgbClr val="95A5A6"/>
              </a:solidFill>
              <a:prstDash val="dash"/>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8397BC41-AD35-448C-8942-EB5F511B1392}"/>
                </a:ext>
              </a:extLst>
            </p:cNvPr>
            <p:cNvCxnSpPr/>
            <p:nvPr/>
          </p:nvCxnSpPr>
          <p:spPr>
            <a:xfrm>
              <a:off x="2506771" y="1915411"/>
              <a:ext cx="791450" cy="0"/>
            </a:xfrm>
            <a:prstGeom prst="line">
              <a:avLst/>
            </a:prstGeom>
            <a:ln>
              <a:solidFill>
                <a:srgbClr val="95A5A6"/>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0CE9602A-018B-487B-A181-078C3191BD63}"/>
                </a:ext>
              </a:extLst>
            </p:cNvPr>
            <p:cNvCxnSpPr>
              <a:cxnSpLocks/>
            </p:cNvCxnSpPr>
            <p:nvPr/>
          </p:nvCxnSpPr>
          <p:spPr>
            <a:xfrm>
              <a:off x="4440298" y="3208007"/>
              <a:ext cx="3958" cy="351719"/>
            </a:xfrm>
            <a:prstGeom prst="line">
              <a:avLst/>
            </a:prstGeom>
            <a:ln w="3175">
              <a:solidFill>
                <a:srgbClr val="95A5A6"/>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A6684303-7889-46D1-84F4-A531BC0181DF}"/>
                </a:ext>
              </a:extLst>
            </p:cNvPr>
            <p:cNvCxnSpPr/>
            <p:nvPr/>
          </p:nvCxnSpPr>
          <p:spPr>
            <a:xfrm flipH="1">
              <a:off x="6865732" y="3226857"/>
              <a:ext cx="7916" cy="1361387"/>
            </a:xfrm>
            <a:prstGeom prst="line">
              <a:avLst/>
            </a:prstGeom>
            <a:ln w="3175">
              <a:solidFill>
                <a:srgbClr val="95A5A6"/>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4F7D0709-FB5F-41C2-A6D9-3B80C293C8D9}"/>
                </a:ext>
              </a:extLst>
            </p:cNvPr>
            <p:cNvCxnSpPr/>
            <p:nvPr/>
          </p:nvCxnSpPr>
          <p:spPr>
            <a:xfrm>
              <a:off x="9313586" y="2619587"/>
              <a:ext cx="7916" cy="363036"/>
            </a:xfrm>
            <a:prstGeom prst="line">
              <a:avLst/>
            </a:prstGeom>
            <a:ln w="3175">
              <a:solidFill>
                <a:srgbClr val="95A5A6"/>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36" name="iśḷídè">
              <a:extLst>
                <a:ext uri="{FF2B5EF4-FFF2-40B4-BE49-F238E27FC236}">
                  <a16:creationId xmlns:a16="http://schemas.microsoft.com/office/drawing/2014/main" id="{AF16B313-F6B9-4627-8B76-9909AA240685}"/>
                </a:ext>
              </a:extLst>
            </p:cNvPr>
            <p:cNvSpPr txBox="1"/>
            <p:nvPr/>
          </p:nvSpPr>
          <p:spPr>
            <a:xfrm>
              <a:off x="3834309" y="3556248"/>
              <a:ext cx="2276545" cy="853613"/>
            </a:xfrm>
            <a:prstGeom prst="rect">
              <a:avLst/>
            </a:prstGeom>
            <a:noFill/>
          </p:spPr>
          <p:txBody>
            <a:bodyPr wrap="square" anchor="ctr">
              <a:normAutofit/>
            </a:bodyPr>
            <a:lstStyle/>
            <a:p>
              <a:pPr>
                <a:lnSpc>
                  <a:spcPct val="120000"/>
                </a:lnSpc>
              </a:pPr>
              <a:r>
                <a:rPr lang="en-US" altLang="zh-CN" sz="1200" b="1" dirty="0"/>
                <a:t>B3</a:t>
              </a:r>
              <a:r>
                <a:rPr lang="en-US" altLang="zh-CN" sz="1000" dirty="0"/>
                <a:t> </a:t>
              </a:r>
              <a:r>
                <a:rPr lang="zh-CN" altLang="en-US" sz="1000" dirty="0"/>
                <a:t>扩展定义</a:t>
              </a:r>
              <a:r>
                <a:rPr lang="en-US" altLang="zh-CN" sz="1000" dirty="0"/>
                <a:t>B2</a:t>
              </a:r>
              <a:r>
                <a:rPr lang="zh-CN" altLang="en-US" sz="1000" dirty="0"/>
                <a:t>，使</a:t>
              </a:r>
              <a:r>
                <a:rPr lang="en-US" altLang="zh-CN" sz="1000" dirty="0" err="1"/>
                <a:t>ConcreteSubject</a:t>
              </a:r>
              <a:r>
                <a:rPr lang="zh-CN" altLang="en-US" sz="1000" dirty="0"/>
                <a:t>类的存在为可选。</a:t>
              </a:r>
              <a:endParaRPr lang="en-US" altLang="zh-CN" sz="1000" dirty="0"/>
            </a:p>
          </p:txBody>
        </p:sp>
        <p:sp>
          <p:nvSpPr>
            <p:cNvPr id="39" name="íš1îďè">
              <a:extLst>
                <a:ext uri="{FF2B5EF4-FFF2-40B4-BE49-F238E27FC236}">
                  <a16:creationId xmlns:a16="http://schemas.microsoft.com/office/drawing/2014/main" id="{01F7D7BF-531E-4549-9551-A60B907C52DC}"/>
                </a:ext>
              </a:extLst>
            </p:cNvPr>
            <p:cNvSpPr/>
            <p:nvPr/>
          </p:nvSpPr>
          <p:spPr>
            <a:xfrm>
              <a:off x="11280569" y="2958643"/>
              <a:ext cx="226898" cy="22689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40" name="íṩlidê">
              <a:extLst>
                <a:ext uri="{FF2B5EF4-FFF2-40B4-BE49-F238E27FC236}">
                  <a16:creationId xmlns:a16="http://schemas.microsoft.com/office/drawing/2014/main" id="{51A5FD06-6D1F-46C3-9B02-5525554EC1F6}"/>
                </a:ext>
              </a:extLst>
            </p:cNvPr>
            <p:cNvSpPr txBox="1"/>
            <p:nvPr/>
          </p:nvSpPr>
          <p:spPr>
            <a:xfrm>
              <a:off x="370565" y="3907550"/>
              <a:ext cx="2813706" cy="1061745"/>
            </a:xfrm>
            <a:prstGeom prst="rect">
              <a:avLst/>
            </a:prstGeom>
            <a:noFill/>
          </p:spPr>
          <p:txBody>
            <a:bodyPr wrap="square" anchor="ctr">
              <a:noAutofit/>
            </a:bodyPr>
            <a:lstStyle/>
            <a:p>
              <a:pPr>
                <a:lnSpc>
                  <a:spcPct val="120000"/>
                </a:lnSpc>
              </a:pPr>
              <a:r>
                <a:rPr lang="en-US" altLang="zh-CN" sz="1200" b="1" dirty="0"/>
                <a:t>B1</a:t>
              </a:r>
              <a:r>
                <a:rPr lang="en-US" altLang="zh-CN" sz="1000" dirty="0"/>
                <a:t> </a:t>
              </a:r>
              <a:r>
                <a:rPr lang="zh-CN" altLang="en-US" sz="1000" dirty="0"/>
                <a:t>严格按照</a:t>
              </a:r>
              <a:r>
                <a:rPr lang="en-US" altLang="zh-CN" sz="1000" dirty="0"/>
                <a:t>Gamma</a:t>
              </a:r>
              <a:r>
                <a:rPr lang="zh-CN" altLang="en-US" sz="1000" dirty="0"/>
                <a:t>等人的结构和行为部分对观察者模式的定义。</a:t>
              </a:r>
              <a:endParaRPr lang="en-US" altLang="zh-CN" sz="1000" dirty="0"/>
            </a:p>
          </p:txBody>
        </p:sp>
        <p:sp>
          <p:nvSpPr>
            <p:cNvPr id="41" name="iśḷídè">
              <a:extLst>
                <a:ext uri="{FF2B5EF4-FFF2-40B4-BE49-F238E27FC236}">
                  <a16:creationId xmlns:a16="http://schemas.microsoft.com/office/drawing/2014/main" id="{B9CE86F7-96FF-466C-8F48-78860AA079DD}"/>
                </a:ext>
              </a:extLst>
            </p:cNvPr>
            <p:cNvSpPr txBox="1"/>
            <p:nvPr/>
          </p:nvSpPr>
          <p:spPr>
            <a:xfrm>
              <a:off x="3439194" y="1484033"/>
              <a:ext cx="2503814" cy="862698"/>
            </a:xfrm>
            <a:prstGeom prst="rect">
              <a:avLst/>
            </a:prstGeom>
            <a:noFill/>
          </p:spPr>
          <p:txBody>
            <a:bodyPr wrap="square" anchor="ctr">
              <a:normAutofit/>
            </a:bodyPr>
            <a:lstStyle/>
            <a:p>
              <a:pPr>
                <a:lnSpc>
                  <a:spcPct val="120000"/>
                </a:lnSpc>
              </a:pPr>
              <a:r>
                <a:rPr lang="en-US" altLang="zh-CN" sz="1200" b="1" dirty="0"/>
                <a:t>B2 </a:t>
              </a:r>
              <a:r>
                <a:rPr lang="en-US" altLang="zh-CN" sz="1000" dirty="0"/>
                <a:t> </a:t>
              </a:r>
              <a:r>
                <a:rPr lang="zh-CN" altLang="en-US" sz="1000" dirty="0"/>
                <a:t>通过在</a:t>
              </a:r>
              <a:r>
                <a:rPr lang="en-US" altLang="zh-CN" sz="1000" dirty="0"/>
                <a:t>Subject</a:t>
              </a:r>
              <a:r>
                <a:rPr lang="zh-CN" altLang="en-US" sz="1000" dirty="0"/>
                <a:t>和</a:t>
              </a:r>
              <a:r>
                <a:rPr lang="en-US" altLang="zh-CN" sz="1000" dirty="0" err="1"/>
                <a:t>ConcreteSubject</a:t>
              </a:r>
              <a:r>
                <a:rPr lang="zh-CN" altLang="en-US" sz="1000" dirty="0"/>
                <a:t>类之间以及</a:t>
              </a:r>
              <a:r>
                <a:rPr lang="en-US" altLang="zh-CN" sz="1000" dirty="0"/>
                <a:t>Observer</a:t>
              </a:r>
              <a:r>
                <a:rPr lang="zh-CN" altLang="en-US" sz="1000" dirty="0"/>
                <a:t>和</a:t>
              </a:r>
              <a:r>
                <a:rPr lang="en-US" altLang="zh-CN" sz="1000" dirty="0" err="1"/>
                <a:t>ConcreteObserver</a:t>
              </a:r>
              <a:r>
                <a:rPr lang="zh-CN" altLang="en-US" sz="1000" dirty="0"/>
                <a:t>类之间添加</a:t>
              </a:r>
              <a:r>
                <a:rPr lang="en-US" altLang="zh-CN" sz="1000" dirty="0"/>
                <a:t>MLI</a:t>
              </a:r>
              <a:r>
                <a:rPr lang="zh-CN" altLang="en-US" sz="1000" dirty="0"/>
                <a:t>来放宽定义</a:t>
              </a:r>
              <a:r>
                <a:rPr lang="en-US" altLang="zh-CN" sz="1000" dirty="0"/>
                <a:t>B1</a:t>
              </a:r>
              <a:r>
                <a:rPr lang="zh-CN" altLang="en-US" sz="1000" dirty="0"/>
                <a:t>。</a:t>
              </a:r>
              <a:endParaRPr lang="en-US" altLang="zh-CN" sz="1000" dirty="0"/>
            </a:p>
          </p:txBody>
        </p:sp>
        <p:sp>
          <p:nvSpPr>
            <p:cNvPr id="43" name="iṧḻïḋé">
              <a:extLst>
                <a:ext uri="{FF2B5EF4-FFF2-40B4-BE49-F238E27FC236}">
                  <a16:creationId xmlns:a16="http://schemas.microsoft.com/office/drawing/2014/main" id="{5B3139C2-5FAF-40F0-B2D3-F45F7415B5E8}"/>
                </a:ext>
              </a:extLst>
            </p:cNvPr>
            <p:cNvSpPr txBox="1"/>
            <p:nvPr/>
          </p:nvSpPr>
          <p:spPr>
            <a:xfrm>
              <a:off x="5861601" y="4574498"/>
              <a:ext cx="2276553" cy="571387"/>
            </a:xfrm>
            <a:prstGeom prst="rect">
              <a:avLst/>
            </a:prstGeom>
            <a:noFill/>
          </p:spPr>
          <p:txBody>
            <a:bodyPr wrap="square" anchor="ctr">
              <a:normAutofit/>
            </a:bodyPr>
            <a:lstStyle/>
            <a:p>
              <a:pPr>
                <a:lnSpc>
                  <a:spcPct val="120000"/>
                </a:lnSpc>
              </a:pPr>
              <a:r>
                <a:rPr lang="en-US" altLang="zh-CN" sz="1200" b="1" dirty="0"/>
                <a:t>B4 </a:t>
              </a:r>
              <a:r>
                <a:rPr lang="zh-CN" altLang="en-US" sz="1000" dirty="0"/>
                <a:t>通过在观察者和主题之间添加</a:t>
              </a:r>
              <a:r>
                <a:rPr lang="en-US" altLang="zh-CN" sz="1000" dirty="0"/>
                <a:t>RC</a:t>
              </a:r>
              <a:r>
                <a:rPr lang="zh-CN" altLang="en-US" sz="1000" dirty="0"/>
                <a:t>来扩展定义</a:t>
              </a:r>
              <a:r>
                <a:rPr lang="en-US" altLang="zh-CN" sz="1000" dirty="0"/>
                <a:t>B3</a:t>
              </a:r>
              <a:r>
                <a:rPr lang="zh-CN" altLang="en-US" sz="1000" dirty="0"/>
                <a:t>。</a:t>
              </a:r>
              <a:endParaRPr lang="zh-CN" altLang="en-US" sz="500" dirty="0"/>
            </a:p>
          </p:txBody>
        </p:sp>
        <p:sp>
          <p:nvSpPr>
            <p:cNvPr id="46" name="iśḷídè">
              <a:extLst>
                <a:ext uri="{FF2B5EF4-FFF2-40B4-BE49-F238E27FC236}">
                  <a16:creationId xmlns:a16="http://schemas.microsoft.com/office/drawing/2014/main" id="{4ACFA3E1-DAFC-4304-8BFD-13A0272932AE}"/>
                </a:ext>
              </a:extLst>
            </p:cNvPr>
            <p:cNvSpPr txBox="1"/>
            <p:nvPr/>
          </p:nvSpPr>
          <p:spPr>
            <a:xfrm>
              <a:off x="8093032" y="1472637"/>
              <a:ext cx="3280741" cy="1061352"/>
            </a:xfrm>
            <a:prstGeom prst="rect">
              <a:avLst/>
            </a:prstGeom>
            <a:noFill/>
          </p:spPr>
          <p:txBody>
            <a:bodyPr wrap="square" anchor="ctr">
              <a:normAutofit/>
            </a:bodyPr>
            <a:lstStyle/>
            <a:p>
              <a:pPr>
                <a:lnSpc>
                  <a:spcPct val="120000"/>
                </a:lnSpc>
              </a:pPr>
              <a:r>
                <a:rPr lang="en-US" altLang="zh-CN" sz="1200" b="1" dirty="0"/>
                <a:t>B5</a:t>
              </a:r>
              <a:r>
                <a:rPr lang="zh-CN" altLang="en-US" sz="1200" b="1" dirty="0"/>
                <a:t> </a:t>
              </a:r>
              <a:r>
                <a:rPr lang="zh-CN" altLang="en-US" sz="1000" dirty="0"/>
                <a:t>通过删除</a:t>
              </a:r>
              <a:r>
                <a:rPr lang="en-US" altLang="zh-CN" sz="1000" dirty="0" err="1"/>
                <a:t>ConcreteObserver</a:t>
              </a:r>
              <a:r>
                <a:rPr lang="zh-CN" altLang="en-US" sz="1000" dirty="0"/>
                <a:t>与</a:t>
              </a:r>
              <a:r>
                <a:rPr lang="en-US" altLang="zh-CN" sz="1000" dirty="0"/>
                <a:t>Subject / </a:t>
              </a:r>
              <a:r>
                <a:rPr lang="en-US" altLang="zh-CN" sz="1000" dirty="0" err="1"/>
                <a:t>ConcreteSubject</a:t>
              </a:r>
              <a:r>
                <a:rPr lang="zh-CN" altLang="en-US" sz="1000" dirty="0"/>
                <a:t>之间的消息返回（</a:t>
              </a:r>
              <a:r>
                <a:rPr lang="en-US" altLang="zh-CN" sz="1000" dirty="0"/>
                <a:t>MR</a:t>
              </a:r>
              <a:r>
                <a:rPr lang="zh-CN" altLang="en-US" sz="1000" dirty="0"/>
                <a:t>）检查来扩展定义</a:t>
              </a:r>
              <a:r>
                <a:rPr lang="en-US" altLang="zh-CN" sz="1000" dirty="0"/>
                <a:t>B3</a:t>
              </a:r>
              <a:r>
                <a:rPr lang="zh-CN" altLang="en-US" sz="1000" dirty="0"/>
                <a:t>，该检查将验证</a:t>
              </a:r>
              <a:r>
                <a:rPr lang="en-US" altLang="zh-CN" sz="1000" dirty="0" err="1"/>
                <a:t>ConcreteObserver</a:t>
              </a:r>
              <a:r>
                <a:rPr lang="zh-CN" altLang="en-US" sz="1000" dirty="0"/>
                <a:t>与</a:t>
              </a:r>
              <a:r>
                <a:rPr lang="en-US" altLang="zh-CN" sz="1000" dirty="0" err="1"/>
                <a:t>ConcreteSubject</a:t>
              </a:r>
              <a:r>
                <a:rPr lang="en-US" altLang="zh-CN" sz="1000" dirty="0"/>
                <a:t> / Subject</a:t>
              </a:r>
              <a:r>
                <a:rPr lang="zh-CN" altLang="en-US" sz="1000" dirty="0"/>
                <a:t>对象之间的委托</a:t>
              </a:r>
              <a:r>
                <a:rPr lang="en-US" altLang="zh-CN" sz="1000" dirty="0" err="1"/>
                <a:t>getState</a:t>
              </a:r>
              <a:r>
                <a:rPr lang="en-US" altLang="zh-CN" sz="1000" dirty="0"/>
                <a:t>()</a:t>
              </a:r>
              <a:r>
                <a:rPr lang="zh-CN" altLang="en-US" sz="1000" dirty="0"/>
                <a:t>是否实际。</a:t>
              </a:r>
              <a:endParaRPr lang="en-US" altLang="zh-CN" sz="700" dirty="0"/>
            </a:p>
          </p:txBody>
        </p:sp>
        <p:cxnSp>
          <p:nvCxnSpPr>
            <p:cNvPr id="47" name="直接连接符 46">
              <a:extLst>
                <a:ext uri="{FF2B5EF4-FFF2-40B4-BE49-F238E27FC236}">
                  <a16:creationId xmlns:a16="http://schemas.microsoft.com/office/drawing/2014/main" id="{608636F6-2686-4641-9C68-B899A12CAD0B}"/>
                </a:ext>
              </a:extLst>
            </p:cNvPr>
            <p:cNvCxnSpPr>
              <a:cxnSpLocks/>
            </p:cNvCxnSpPr>
            <p:nvPr/>
          </p:nvCxnSpPr>
          <p:spPr>
            <a:xfrm>
              <a:off x="11373773" y="3212145"/>
              <a:ext cx="0" cy="1138875"/>
            </a:xfrm>
            <a:prstGeom prst="line">
              <a:avLst/>
            </a:prstGeom>
            <a:ln w="3175">
              <a:solidFill>
                <a:srgbClr val="95A5A6"/>
              </a:solidFill>
              <a:prstDash val="dash"/>
            </a:ln>
          </p:spPr>
          <p:style>
            <a:lnRef idx="1">
              <a:schemeClr val="accent1"/>
            </a:lnRef>
            <a:fillRef idx="0">
              <a:schemeClr val="accent1"/>
            </a:fillRef>
            <a:effectRef idx="0">
              <a:schemeClr val="accent1"/>
            </a:effectRef>
            <a:fontRef idx="minor">
              <a:schemeClr val="tx1"/>
            </a:fontRef>
          </p:style>
        </p:cxnSp>
        <p:cxnSp>
          <p:nvCxnSpPr>
            <p:cNvPr id="48" name="直接连接符 47">
              <a:extLst>
                <a:ext uri="{FF2B5EF4-FFF2-40B4-BE49-F238E27FC236}">
                  <a16:creationId xmlns:a16="http://schemas.microsoft.com/office/drawing/2014/main" id="{85D1BC67-2C3C-434D-959B-9F42AED9E2B1}"/>
                </a:ext>
              </a:extLst>
            </p:cNvPr>
            <p:cNvCxnSpPr>
              <a:cxnSpLocks/>
            </p:cNvCxnSpPr>
            <p:nvPr/>
          </p:nvCxnSpPr>
          <p:spPr>
            <a:xfrm>
              <a:off x="11016764" y="4351020"/>
              <a:ext cx="377254" cy="0"/>
            </a:xfrm>
            <a:prstGeom prst="line">
              <a:avLst/>
            </a:prstGeom>
            <a:ln>
              <a:solidFill>
                <a:srgbClr val="95A5A6"/>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
          <p:nvSpPr>
            <p:cNvPr id="49" name="iśḷídè">
              <a:extLst>
                <a:ext uri="{FF2B5EF4-FFF2-40B4-BE49-F238E27FC236}">
                  <a16:creationId xmlns:a16="http://schemas.microsoft.com/office/drawing/2014/main" id="{F25EA694-9B1A-40AD-857A-358766330D36}"/>
                </a:ext>
              </a:extLst>
            </p:cNvPr>
            <p:cNvSpPr txBox="1"/>
            <p:nvPr/>
          </p:nvSpPr>
          <p:spPr>
            <a:xfrm>
              <a:off x="8210974" y="3477863"/>
              <a:ext cx="2805790" cy="1547196"/>
            </a:xfrm>
            <a:prstGeom prst="rect">
              <a:avLst/>
            </a:prstGeom>
            <a:noFill/>
          </p:spPr>
          <p:txBody>
            <a:bodyPr wrap="square" anchor="ctr">
              <a:normAutofit/>
            </a:bodyPr>
            <a:lstStyle/>
            <a:p>
              <a:pPr>
                <a:lnSpc>
                  <a:spcPct val="120000"/>
                </a:lnSpc>
              </a:pPr>
              <a:r>
                <a:rPr lang="en-US" altLang="zh-CN" sz="1300" b="1" dirty="0"/>
                <a:t>B6</a:t>
              </a:r>
              <a:r>
                <a:rPr lang="zh-CN" altLang="en-US" sz="1300" b="1" dirty="0"/>
                <a:t> </a:t>
              </a:r>
              <a:r>
                <a:rPr lang="zh-CN" altLang="en-US" sz="1000" dirty="0"/>
                <a:t>通过在观察者和主题之间添加</a:t>
              </a:r>
              <a:r>
                <a:rPr lang="en-US" altLang="zh-CN" sz="1000" dirty="0"/>
                <a:t>RC</a:t>
              </a:r>
              <a:r>
                <a:rPr lang="zh-CN" altLang="en-US" sz="1000" dirty="0"/>
                <a:t>并删除</a:t>
              </a:r>
              <a:r>
                <a:rPr lang="en-US" altLang="zh-CN" sz="1000" dirty="0" err="1"/>
                <a:t>ConcreteObserver</a:t>
              </a:r>
              <a:r>
                <a:rPr lang="zh-CN" altLang="en-US" sz="1000" dirty="0"/>
                <a:t>和主题</a:t>
              </a:r>
              <a:r>
                <a:rPr lang="en-US" altLang="zh-CN" sz="1000" dirty="0"/>
                <a:t>/ </a:t>
              </a:r>
              <a:r>
                <a:rPr lang="en-US" altLang="zh-CN" sz="1000" dirty="0" err="1"/>
                <a:t>ConcreteSubject</a:t>
              </a:r>
              <a:r>
                <a:rPr lang="zh-CN" altLang="en-US" sz="1000" dirty="0"/>
                <a:t>之间的</a:t>
              </a:r>
              <a:r>
                <a:rPr lang="en-US" altLang="zh-CN" sz="1000" dirty="0"/>
                <a:t>MR</a:t>
              </a:r>
              <a:r>
                <a:rPr lang="zh-CN" altLang="en-US" sz="1000" dirty="0"/>
                <a:t>来扩展定义</a:t>
              </a:r>
              <a:r>
                <a:rPr lang="en-US" altLang="zh-CN" sz="1000" dirty="0"/>
                <a:t>B3</a:t>
              </a:r>
              <a:r>
                <a:rPr lang="zh-CN" altLang="en-US" sz="1000" dirty="0"/>
                <a:t>。</a:t>
              </a:r>
              <a:endParaRPr lang="en-US" altLang="zh-CN" sz="1000" dirty="0"/>
            </a:p>
          </p:txBody>
        </p:sp>
      </p:grpSp>
      <p:grpSp>
        <p:nvGrpSpPr>
          <p:cNvPr id="2" name="组合 1">
            <a:extLst>
              <a:ext uri="{FF2B5EF4-FFF2-40B4-BE49-F238E27FC236}">
                <a16:creationId xmlns:a16="http://schemas.microsoft.com/office/drawing/2014/main" id="{5648E343-BAD3-436D-967D-4B953145BF9F}"/>
              </a:ext>
            </a:extLst>
          </p:cNvPr>
          <p:cNvGrpSpPr/>
          <p:nvPr/>
        </p:nvGrpSpPr>
        <p:grpSpPr>
          <a:xfrm>
            <a:off x="-43962" y="-2"/>
            <a:ext cx="12265321" cy="1081456"/>
            <a:chOff x="-43962" y="-2"/>
            <a:chExt cx="12265321" cy="1081456"/>
          </a:xfrm>
        </p:grpSpPr>
        <p:grpSp>
          <p:nvGrpSpPr>
            <p:cNvPr id="5" name="组合 4">
              <a:extLst>
                <a:ext uri="{FF2B5EF4-FFF2-40B4-BE49-F238E27FC236}">
                  <a16:creationId xmlns:a16="http://schemas.microsoft.com/office/drawing/2014/main" id="{A02D8D5F-9092-40A1-BEE7-2E18BC595794}"/>
                </a:ext>
              </a:extLst>
            </p:cNvPr>
            <p:cNvGrpSpPr/>
            <p:nvPr/>
          </p:nvGrpSpPr>
          <p:grpSpPr>
            <a:xfrm rot="10800000">
              <a:off x="-43962" y="-2"/>
              <a:ext cx="12265321" cy="1081456"/>
              <a:chOff x="1" y="5010588"/>
              <a:chExt cx="12265322" cy="1905823"/>
            </a:xfrm>
          </p:grpSpPr>
          <p:sp>
            <p:nvSpPr>
              <p:cNvPr id="6" name="îṧļiḑe">
                <a:extLst>
                  <a:ext uri="{FF2B5EF4-FFF2-40B4-BE49-F238E27FC236}">
                    <a16:creationId xmlns:a16="http://schemas.microsoft.com/office/drawing/2014/main" id="{49F6E0D8-E3BC-4BD3-84FB-161A76550555}"/>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îṩľiḑê">
                <a:extLst>
                  <a:ext uri="{FF2B5EF4-FFF2-40B4-BE49-F238E27FC236}">
                    <a16:creationId xmlns:a16="http://schemas.microsoft.com/office/drawing/2014/main" id="{E47AD772-61D7-455A-AF1D-07952261DFE2}"/>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sp>
          <p:nvSpPr>
            <p:cNvPr id="9" name="矩形 8">
              <a:extLst>
                <a:ext uri="{FF2B5EF4-FFF2-40B4-BE49-F238E27FC236}">
                  <a16:creationId xmlns:a16="http://schemas.microsoft.com/office/drawing/2014/main" id="{559493B6-54D5-4BFB-8173-8ADF4B215E18}"/>
                </a:ext>
              </a:extLst>
            </p:cNvPr>
            <p:cNvSpPr/>
            <p:nvPr/>
          </p:nvSpPr>
          <p:spPr>
            <a:xfrm>
              <a:off x="1028700" y="139985"/>
              <a:ext cx="9944100" cy="369332"/>
            </a:xfrm>
            <a:prstGeom prst="rect">
              <a:avLst/>
            </a:prstGeom>
          </p:spPr>
          <p:txBody>
            <a:bodyPr wrap="square">
              <a:spAutoFit/>
            </a:bodyPr>
            <a:lstStyle/>
            <a:p>
              <a:r>
                <a:rPr lang="en-US" altLang="zh-CN" dirty="0">
                  <a:solidFill>
                    <a:schemeClr val="bg1"/>
                  </a:solidFill>
                </a:rPr>
                <a:t>B.</a:t>
              </a:r>
              <a:r>
                <a:rPr lang="zh-CN" altLang="en-US" dirty="0">
                  <a:solidFill>
                    <a:schemeClr val="bg1"/>
                  </a:solidFill>
                </a:rPr>
                <a:t>观察者设计模式变体</a:t>
              </a:r>
            </a:p>
          </p:txBody>
        </p:sp>
        <p:sp>
          <p:nvSpPr>
            <p:cNvPr id="52" name="ïṥ1iḓe">
              <a:extLst>
                <a:ext uri="{FF2B5EF4-FFF2-40B4-BE49-F238E27FC236}">
                  <a16:creationId xmlns:a16="http://schemas.microsoft.com/office/drawing/2014/main" id="{6DEF39E0-2FEB-43C1-92D3-DAE436CF0B30}"/>
                </a:ext>
              </a:extLst>
            </p:cNvPr>
            <p:cNvSpPr/>
            <p:nvPr/>
          </p:nvSpPr>
          <p:spPr bwMode="auto">
            <a:xfrm>
              <a:off x="434340" y="65577"/>
              <a:ext cx="539484" cy="538668"/>
            </a:xfrm>
            <a:custGeom>
              <a:avLst/>
              <a:gdLst>
                <a:gd name="T0" fmla="*/ 5980 w 6635"/>
                <a:gd name="T1" fmla="*/ 2663 h 6635"/>
                <a:gd name="T2" fmla="*/ 5420 w 6635"/>
                <a:gd name="T3" fmla="*/ 2986 h 6635"/>
                <a:gd name="T4" fmla="*/ 4403 w 6635"/>
                <a:gd name="T5" fmla="*/ 2986 h 6635"/>
                <a:gd name="T6" fmla="*/ 4229 w 6635"/>
                <a:gd name="T7" fmla="*/ 2640 h 6635"/>
                <a:gd name="T8" fmla="*/ 5219 w 6635"/>
                <a:gd name="T9" fmla="*/ 1650 h 6635"/>
                <a:gd name="T10" fmla="*/ 5663 w 6635"/>
                <a:gd name="T11" fmla="*/ 1558 h 6635"/>
                <a:gd name="T12" fmla="*/ 5663 w 6635"/>
                <a:gd name="T13" fmla="*/ 972 h 6635"/>
                <a:gd name="T14" fmla="*/ 5077 w 6635"/>
                <a:gd name="T15" fmla="*/ 972 h 6635"/>
                <a:gd name="T16" fmla="*/ 4984 w 6635"/>
                <a:gd name="T17" fmla="*/ 1416 h 6635"/>
                <a:gd name="T18" fmla="*/ 3995 w 6635"/>
                <a:gd name="T19" fmla="*/ 2405 h 6635"/>
                <a:gd name="T20" fmla="*/ 3649 w 6635"/>
                <a:gd name="T21" fmla="*/ 2232 h 6635"/>
                <a:gd name="T22" fmla="*/ 3649 w 6635"/>
                <a:gd name="T23" fmla="*/ 1215 h 6635"/>
                <a:gd name="T24" fmla="*/ 3972 w 6635"/>
                <a:gd name="T25" fmla="*/ 654 h 6635"/>
                <a:gd name="T26" fmla="*/ 3317 w 6635"/>
                <a:gd name="T27" fmla="*/ 0 h 6635"/>
                <a:gd name="T28" fmla="*/ 2663 w 6635"/>
                <a:gd name="T29" fmla="*/ 654 h 6635"/>
                <a:gd name="T30" fmla="*/ 2986 w 6635"/>
                <a:gd name="T31" fmla="*/ 1215 h 6635"/>
                <a:gd name="T32" fmla="*/ 2986 w 6635"/>
                <a:gd name="T33" fmla="*/ 2232 h 6635"/>
                <a:gd name="T34" fmla="*/ 2640 w 6635"/>
                <a:gd name="T35" fmla="*/ 2405 h 6635"/>
                <a:gd name="T36" fmla="*/ 1650 w 6635"/>
                <a:gd name="T37" fmla="*/ 1416 h 6635"/>
                <a:gd name="T38" fmla="*/ 1558 w 6635"/>
                <a:gd name="T39" fmla="*/ 972 h 6635"/>
                <a:gd name="T40" fmla="*/ 972 w 6635"/>
                <a:gd name="T41" fmla="*/ 972 h 6635"/>
                <a:gd name="T42" fmla="*/ 972 w 6635"/>
                <a:gd name="T43" fmla="*/ 1558 h 6635"/>
                <a:gd name="T44" fmla="*/ 1416 w 6635"/>
                <a:gd name="T45" fmla="*/ 1651 h 6635"/>
                <a:gd name="T46" fmla="*/ 2405 w 6635"/>
                <a:gd name="T47" fmla="*/ 2640 h 6635"/>
                <a:gd name="T48" fmla="*/ 2232 w 6635"/>
                <a:gd name="T49" fmla="*/ 2986 h 6635"/>
                <a:gd name="T50" fmla="*/ 1215 w 6635"/>
                <a:gd name="T51" fmla="*/ 2986 h 6635"/>
                <a:gd name="T52" fmla="*/ 654 w 6635"/>
                <a:gd name="T53" fmla="*/ 2663 h 6635"/>
                <a:gd name="T54" fmla="*/ 0 w 6635"/>
                <a:gd name="T55" fmla="*/ 3317 h 6635"/>
                <a:gd name="T56" fmla="*/ 654 w 6635"/>
                <a:gd name="T57" fmla="*/ 3972 h 6635"/>
                <a:gd name="T58" fmla="*/ 1215 w 6635"/>
                <a:gd name="T59" fmla="*/ 3649 h 6635"/>
                <a:gd name="T60" fmla="*/ 2232 w 6635"/>
                <a:gd name="T61" fmla="*/ 3649 h 6635"/>
                <a:gd name="T62" fmla="*/ 2405 w 6635"/>
                <a:gd name="T63" fmla="*/ 3995 h 6635"/>
                <a:gd name="T64" fmla="*/ 1416 w 6635"/>
                <a:gd name="T65" fmla="*/ 4984 h 6635"/>
                <a:gd name="T66" fmla="*/ 972 w 6635"/>
                <a:gd name="T67" fmla="*/ 5077 h 6635"/>
                <a:gd name="T68" fmla="*/ 972 w 6635"/>
                <a:gd name="T69" fmla="*/ 5663 h 6635"/>
                <a:gd name="T70" fmla="*/ 1558 w 6635"/>
                <a:gd name="T71" fmla="*/ 5663 h 6635"/>
                <a:gd name="T72" fmla="*/ 1651 w 6635"/>
                <a:gd name="T73" fmla="*/ 5219 h 6635"/>
                <a:gd name="T74" fmla="*/ 2640 w 6635"/>
                <a:gd name="T75" fmla="*/ 4230 h 6635"/>
                <a:gd name="T76" fmla="*/ 2986 w 6635"/>
                <a:gd name="T77" fmla="*/ 4403 h 6635"/>
                <a:gd name="T78" fmla="*/ 2986 w 6635"/>
                <a:gd name="T79" fmla="*/ 5419 h 6635"/>
                <a:gd name="T80" fmla="*/ 2663 w 6635"/>
                <a:gd name="T81" fmla="*/ 5980 h 6635"/>
                <a:gd name="T82" fmla="*/ 3317 w 6635"/>
                <a:gd name="T83" fmla="*/ 6635 h 6635"/>
                <a:gd name="T84" fmla="*/ 3972 w 6635"/>
                <a:gd name="T85" fmla="*/ 5980 h 6635"/>
                <a:gd name="T86" fmla="*/ 3649 w 6635"/>
                <a:gd name="T87" fmla="*/ 5420 h 6635"/>
                <a:gd name="T88" fmla="*/ 3649 w 6635"/>
                <a:gd name="T89" fmla="*/ 4403 h 6635"/>
                <a:gd name="T90" fmla="*/ 3995 w 6635"/>
                <a:gd name="T91" fmla="*/ 4229 h 6635"/>
                <a:gd name="T92" fmla="*/ 4984 w 6635"/>
                <a:gd name="T93" fmla="*/ 5219 h 6635"/>
                <a:gd name="T94" fmla="*/ 5077 w 6635"/>
                <a:gd name="T95" fmla="*/ 5663 h 6635"/>
                <a:gd name="T96" fmla="*/ 5663 w 6635"/>
                <a:gd name="T97" fmla="*/ 5663 h 6635"/>
                <a:gd name="T98" fmla="*/ 5663 w 6635"/>
                <a:gd name="T99" fmla="*/ 5077 h 6635"/>
                <a:gd name="T100" fmla="*/ 5219 w 6635"/>
                <a:gd name="T101" fmla="*/ 4984 h 6635"/>
                <a:gd name="T102" fmla="*/ 4229 w 6635"/>
                <a:gd name="T103" fmla="*/ 3995 h 6635"/>
                <a:gd name="T104" fmla="*/ 4403 w 6635"/>
                <a:gd name="T105" fmla="*/ 3649 h 6635"/>
                <a:gd name="T106" fmla="*/ 5420 w 6635"/>
                <a:gd name="T107" fmla="*/ 3649 h 6635"/>
                <a:gd name="T108" fmla="*/ 5981 w 6635"/>
                <a:gd name="T109" fmla="*/ 3972 h 6635"/>
                <a:gd name="T110" fmla="*/ 6635 w 6635"/>
                <a:gd name="T111" fmla="*/ 3317 h 6635"/>
                <a:gd name="T112" fmla="*/ 5980 w 6635"/>
                <a:gd name="T113" fmla="*/ 2663 h 6635"/>
                <a:gd name="T114" fmla="*/ 3317 w 6635"/>
                <a:gd name="T115" fmla="*/ 4016 h 6635"/>
                <a:gd name="T116" fmla="*/ 2619 w 6635"/>
                <a:gd name="T117" fmla="*/ 3317 h 6635"/>
                <a:gd name="T118" fmla="*/ 3317 w 6635"/>
                <a:gd name="T119" fmla="*/ 2619 h 6635"/>
                <a:gd name="T120" fmla="*/ 4015 w 6635"/>
                <a:gd name="T121" fmla="*/ 3317 h 6635"/>
                <a:gd name="T122" fmla="*/ 3317 w 6635"/>
                <a:gd name="T123" fmla="*/ 4016 h 6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35" h="6635">
                  <a:moveTo>
                    <a:pt x="5980" y="2663"/>
                  </a:moveTo>
                  <a:cubicBezTo>
                    <a:pt x="5741" y="2663"/>
                    <a:pt x="5533" y="2793"/>
                    <a:pt x="5420" y="2986"/>
                  </a:cubicBezTo>
                  <a:lnTo>
                    <a:pt x="4403" y="2986"/>
                  </a:lnTo>
                  <a:cubicBezTo>
                    <a:pt x="4364" y="2860"/>
                    <a:pt x="4306" y="2743"/>
                    <a:pt x="4229" y="2640"/>
                  </a:cubicBezTo>
                  <a:lnTo>
                    <a:pt x="5219" y="1650"/>
                  </a:lnTo>
                  <a:cubicBezTo>
                    <a:pt x="5368" y="1709"/>
                    <a:pt x="5543" y="1678"/>
                    <a:pt x="5663" y="1558"/>
                  </a:cubicBezTo>
                  <a:cubicBezTo>
                    <a:pt x="5825" y="1396"/>
                    <a:pt x="5825" y="1134"/>
                    <a:pt x="5663" y="972"/>
                  </a:cubicBezTo>
                  <a:cubicBezTo>
                    <a:pt x="5501" y="810"/>
                    <a:pt x="5239" y="810"/>
                    <a:pt x="5077" y="972"/>
                  </a:cubicBezTo>
                  <a:cubicBezTo>
                    <a:pt x="4957" y="1092"/>
                    <a:pt x="4926" y="1267"/>
                    <a:pt x="4984" y="1416"/>
                  </a:cubicBezTo>
                  <a:lnTo>
                    <a:pt x="3995" y="2405"/>
                  </a:lnTo>
                  <a:cubicBezTo>
                    <a:pt x="3892" y="2328"/>
                    <a:pt x="3775" y="2271"/>
                    <a:pt x="3649" y="2232"/>
                  </a:cubicBezTo>
                  <a:lnTo>
                    <a:pt x="3649" y="1215"/>
                  </a:lnTo>
                  <a:cubicBezTo>
                    <a:pt x="3841" y="1101"/>
                    <a:pt x="3972" y="894"/>
                    <a:pt x="3972" y="654"/>
                  </a:cubicBezTo>
                  <a:cubicBezTo>
                    <a:pt x="3972" y="293"/>
                    <a:pt x="3679" y="0"/>
                    <a:pt x="3317" y="0"/>
                  </a:cubicBezTo>
                  <a:cubicBezTo>
                    <a:pt x="2956" y="0"/>
                    <a:pt x="2663" y="293"/>
                    <a:pt x="2663" y="654"/>
                  </a:cubicBezTo>
                  <a:cubicBezTo>
                    <a:pt x="2663" y="894"/>
                    <a:pt x="2793" y="1101"/>
                    <a:pt x="2986" y="1215"/>
                  </a:cubicBezTo>
                  <a:lnTo>
                    <a:pt x="2986" y="2232"/>
                  </a:lnTo>
                  <a:cubicBezTo>
                    <a:pt x="2860" y="2271"/>
                    <a:pt x="2743" y="2328"/>
                    <a:pt x="2640" y="2405"/>
                  </a:cubicBezTo>
                  <a:lnTo>
                    <a:pt x="1650" y="1416"/>
                  </a:lnTo>
                  <a:cubicBezTo>
                    <a:pt x="1709" y="1267"/>
                    <a:pt x="1678" y="1092"/>
                    <a:pt x="1558" y="972"/>
                  </a:cubicBezTo>
                  <a:cubicBezTo>
                    <a:pt x="1396" y="810"/>
                    <a:pt x="1133" y="810"/>
                    <a:pt x="972" y="972"/>
                  </a:cubicBezTo>
                  <a:cubicBezTo>
                    <a:pt x="810" y="1134"/>
                    <a:pt x="810" y="1396"/>
                    <a:pt x="972" y="1558"/>
                  </a:cubicBezTo>
                  <a:cubicBezTo>
                    <a:pt x="1092" y="1678"/>
                    <a:pt x="1267" y="1709"/>
                    <a:pt x="1416" y="1651"/>
                  </a:cubicBezTo>
                  <a:lnTo>
                    <a:pt x="2405" y="2640"/>
                  </a:lnTo>
                  <a:cubicBezTo>
                    <a:pt x="2328" y="2743"/>
                    <a:pt x="2271" y="2860"/>
                    <a:pt x="2232" y="2986"/>
                  </a:cubicBezTo>
                  <a:lnTo>
                    <a:pt x="1215" y="2986"/>
                  </a:lnTo>
                  <a:cubicBezTo>
                    <a:pt x="1101" y="2793"/>
                    <a:pt x="894" y="2663"/>
                    <a:pt x="654" y="2663"/>
                  </a:cubicBezTo>
                  <a:cubicBezTo>
                    <a:pt x="293" y="2663"/>
                    <a:pt x="0" y="2956"/>
                    <a:pt x="0" y="3317"/>
                  </a:cubicBezTo>
                  <a:cubicBezTo>
                    <a:pt x="0" y="3679"/>
                    <a:pt x="293" y="3972"/>
                    <a:pt x="654" y="3972"/>
                  </a:cubicBezTo>
                  <a:cubicBezTo>
                    <a:pt x="894" y="3972"/>
                    <a:pt x="1101" y="3842"/>
                    <a:pt x="1215" y="3649"/>
                  </a:cubicBezTo>
                  <a:lnTo>
                    <a:pt x="2232" y="3649"/>
                  </a:lnTo>
                  <a:cubicBezTo>
                    <a:pt x="2271" y="3775"/>
                    <a:pt x="2328" y="3892"/>
                    <a:pt x="2405" y="3995"/>
                  </a:cubicBezTo>
                  <a:lnTo>
                    <a:pt x="1416" y="4984"/>
                  </a:lnTo>
                  <a:cubicBezTo>
                    <a:pt x="1267" y="4926"/>
                    <a:pt x="1092" y="4956"/>
                    <a:pt x="972" y="5077"/>
                  </a:cubicBezTo>
                  <a:cubicBezTo>
                    <a:pt x="810" y="5238"/>
                    <a:pt x="810" y="5501"/>
                    <a:pt x="972" y="5663"/>
                  </a:cubicBezTo>
                  <a:cubicBezTo>
                    <a:pt x="1134" y="5825"/>
                    <a:pt x="1396" y="5825"/>
                    <a:pt x="1558" y="5663"/>
                  </a:cubicBezTo>
                  <a:cubicBezTo>
                    <a:pt x="1678" y="5543"/>
                    <a:pt x="1709" y="5367"/>
                    <a:pt x="1651" y="5219"/>
                  </a:cubicBezTo>
                  <a:lnTo>
                    <a:pt x="2640" y="4230"/>
                  </a:lnTo>
                  <a:cubicBezTo>
                    <a:pt x="2743" y="4307"/>
                    <a:pt x="2860" y="4364"/>
                    <a:pt x="2986" y="4403"/>
                  </a:cubicBezTo>
                  <a:lnTo>
                    <a:pt x="2986" y="5419"/>
                  </a:lnTo>
                  <a:cubicBezTo>
                    <a:pt x="2793" y="5533"/>
                    <a:pt x="2663" y="5741"/>
                    <a:pt x="2663" y="5980"/>
                  </a:cubicBezTo>
                  <a:cubicBezTo>
                    <a:pt x="2663" y="6342"/>
                    <a:pt x="2956" y="6635"/>
                    <a:pt x="3317" y="6635"/>
                  </a:cubicBezTo>
                  <a:cubicBezTo>
                    <a:pt x="3679" y="6635"/>
                    <a:pt x="3972" y="6342"/>
                    <a:pt x="3972" y="5980"/>
                  </a:cubicBezTo>
                  <a:cubicBezTo>
                    <a:pt x="3972" y="5741"/>
                    <a:pt x="3841" y="5533"/>
                    <a:pt x="3649" y="5420"/>
                  </a:cubicBezTo>
                  <a:lnTo>
                    <a:pt x="3649" y="4403"/>
                  </a:lnTo>
                  <a:cubicBezTo>
                    <a:pt x="3775" y="4364"/>
                    <a:pt x="3892" y="4307"/>
                    <a:pt x="3995" y="4229"/>
                  </a:cubicBezTo>
                  <a:lnTo>
                    <a:pt x="4984" y="5219"/>
                  </a:lnTo>
                  <a:cubicBezTo>
                    <a:pt x="4926" y="5367"/>
                    <a:pt x="4957" y="5543"/>
                    <a:pt x="5077" y="5663"/>
                  </a:cubicBezTo>
                  <a:cubicBezTo>
                    <a:pt x="5239" y="5825"/>
                    <a:pt x="5501" y="5825"/>
                    <a:pt x="5663" y="5663"/>
                  </a:cubicBezTo>
                  <a:cubicBezTo>
                    <a:pt x="5825" y="5501"/>
                    <a:pt x="5825" y="5238"/>
                    <a:pt x="5663" y="5077"/>
                  </a:cubicBezTo>
                  <a:cubicBezTo>
                    <a:pt x="5543" y="4956"/>
                    <a:pt x="5367" y="4926"/>
                    <a:pt x="5219" y="4984"/>
                  </a:cubicBezTo>
                  <a:lnTo>
                    <a:pt x="4229" y="3995"/>
                  </a:lnTo>
                  <a:cubicBezTo>
                    <a:pt x="4307" y="3892"/>
                    <a:pt x="4364" y="3775"/>
                    <a:pt x="4403" y="3649"/>
                  </a:cubicBezTo>
                  <a:lnTo>
                    <a:pt x="5420" y="3649"/>
                  </a:lnTo>
                  <a:cubicBezTo>
                    <a:pt x="5534" y="3842"/>
                    <a:pt x="5741" y="3972"/>
                    <a:pt x="5981" y="3972"/>
                  </a:cubicBezTo>
                  <a:cubicBezTo>
                    <a:pt x="6342" y="3972"/>
                    <a:pt x="6635" y="3679"/>
                    <a:pt x="6635" y="3317"/>
                  </a:cubicBezTo>
                  <a:cubicBezTo>
                    <a:pt x="6635" y="2956"/>
                    <a:pt x="6342" y="2663"/>
                    <a:pt x="5980" y="2663"/>
                  </a:cubicBezTo>
                  <a:close/>
                  <a:moveTo>
                    <a:pt x="3317" y="4016"/>
                  </a:moveTo>
                  <a:cubicBezTo>
                    <a:pt x="2932" y="4016"/>
                    <a:pt x="2619" y="3702"/>
                    <a:pt x="2619" y="3317"/>
                  </a:cubicBezTo>
                  <a:cubicBezTo>
                    <a:pt x="2619" y="2932"/>
                    <a:pt x="2932" y="2619"/>
                    <a:pt x="3317" y="2619"/>
                  </a:cubicBezTo>
                  <a:cubicBezTo>
                    <a:pt x="3702" y="2619"/>
                    <a:pt x="4015" y="2932"/>
                    <a:pt x="4015" y="3317"/>
                  </a:cubicBezTo>
                  <a:cubicBezTo>
                    <a:pt x="4015" y="3702"/>
                    <a:pt x="3702" y="4016"/>
                    <a:pt x="3317" y="4016"/>
                  </a:cubicBezTo>
                  <a:close/>
                </a:path>
              </a:pathLst>
            </a:custGeom>
            <a:solidFill>
              <a:schemeClr val="bg1"/>
            </a:solidFill>
            <a:ln>
              <a:noFill/>
            </a:ln>
            <a:effectLst>
              <a:outerShdw blurRad="63500" sx="102000" sy="102000" algn="ctr" rotWithShape="0">
                <a:prstClr val="black">
                  <a:alpha val="40000"/>
                </a:prstClr>
              </a:outerShdw>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Tree>
    <p:extLst>
      <p:ext uri="{BB962C8B-B14F-4D97-AF65-F5344CB8AC3E}">
        <p14:creationId xmlns:p14="http://schemas.microsoft.com/office/powerpoint/2010/main" val="1395122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4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9AD81192-8577-466A-851D-07CEB381863A}"/>
              </a:ext>
            </a:extLst>
          </p:cNvPr>
          <p:cNvGrpSpPr/>
          <p:nvPr/>
        </p:nvGrpSpPr>
        <p:grpSpPr>
          <a:xfrm flipH="1" flipV="1">
            <a:off x="0" y="506412"/>
            <a:ext cx="5189538" cy="6351588"/>
            <a:chOff x="7002463" y="0"/>
            <a:chExt cx="5189538" cy="6351588"/>
          </a:xfrm>
        </p:grpSpPr>
        <p:sp>
          <p:nvSpPr>
            <p:cNvPr id="6" name="Freeform 8">
              <a:extLst>
                <a:ext uri="{FF2B5EF4-FFF2-40B4-BE49-F238E27FC236}">
                  <a16:creationId xmlns:a16="http://schemas.microsoft.com/office/drawing/2014/main" id="{D294170D-9208-4629-B6E7-5BDB1C209B24}"/>
                </a:ext>
              </a:extLst>
            </p:cNvPr>
            <p:cNvSpPr>
              <a:spLocks/>
            </p:cNvSpPr>
            <p:nvPr userDrawn="1"/>
          </p:nvSpPr>
          <p:spPr bwMode="auto">
            <a:xfrm>
              <a:off x="7237413" y="0"/>
              <a:ext cx="4954588" cy="4941888"/>
            </a:xfrm>
            <a:custGeom>
              <a:avLst/>
              <a:gdLst>
                <a:gd name="T0" fmla="*/ 1501 w 1501"/>
                <a:gd name="T1" fmla="*/ 0 h 1500"/>
                <a:gd name="T2" fmla="*/ 267 w 1501"/>
                <a:gd name="T3" fmla="*/ 0 h 1500"/>
                <a:gd name="T4" fmla="*/ 517 w 1501"/>
                <a:gd name="T5" fmla="*/ 960 h 1500"/>
                <a:gd name="T6" fmla="*/ 1501 w 1501"/>
                <a:gd name="T7" fmla="*/ 1500 h 1500"/>
                <a:gd name="T8" fmla="*/ 1501 w 1501"/>
                <a:gd name="T9" fmla="*/ 0 h 1500"/>
              </a:gdLst>
              <a:ahLst/>
              <a:cxnLst>
                <a:cxn ang="0">
                  <a:pos x="T0" y="T1"/>
                </a:cxn>
                <a:cxn ang="0">
                  <a:pos x="T2" y="T3"/>
                </a:cxn>
                <a:cxn ang="0">
                  <a:pos x="T4" y="T5"/>
                </a:cxn>
                <a:cxn ang="0">
                  <a:pos x="T6" y="T7"/>
                </a:cxn>
                <a:cxn ang="0">
                  <a:pos x="T8" y="T9"/>
                </a:cxn>
              </a:cxnLst>
              <a:rect l="0" t="0" r="r" b="b"/>
              <a:pathLst>
                <a:path w="1501" h="1500">
                  <a:moveTo>
                    <a:pt x="1501" y="0"/>
                  </a:moveTo>
                  <a:cubicBezTo>
                    <a:pt x="267" y="0"/>
                    <a:pt x="267" y="0"/>
                    <a:pt x="267" y="0"/>
                  </a:cubicBezTo>
                  <a:cubicBezTo>
                    <a:pt x="102" y="234"/>
                    <a:pt x="0" y="599"/>
                    <a:pt x="517" y="960"/>
                  </a:cubicBezTo>
                  <a:cubicBezTo>
                    <a:pt x="894" y="1224"/>
                    <a:pt x="1236" y="1393"/>
                    <a:pt x="1501" y="1500"/>
                  </a:cubicBezTo>
                  <a:lnTo>
                    <a:pt x="1501" y="0"/>
                  </a:lnTo>
                  <a:close/>
                </a:path>
              </a:pathLst>
            </a:custGeom>
            <a:solidFill>
              <a:srgbClr val="113583">
                <a:alpha val="30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7" name="Freeform 7">
              <a:extLst>
                <a:ext uri="{FF2B5EF4-FFF2-40B4-BE49-F238E27FC236}">
                  <a16:creationId xmlns:a16="http://schemas.microsoft.com/office/drawing/2014/main" id="{6C73C419-FD7C-4460-95FA-136BC575F219}"/>
                </a:ext>
              </a:extLst>
            </p:cNvPr>
            <p:cNvSpPr>
              <a:spLocks/>
            </p:cNvSpPr>
            <p:nvPr userDrawn="1"/>
          </p:nvSpPr>
          <p:spPr bwMode="auto">
            <a:xfrm>
              <a:off x="7332663" y="0"/>
              <a:ext cx="4859338" cy="6351588"/>
            </a:xfrm>
            <a:custGeom>
              <a:avLst/>
              <a:gdLst>
                <a:gd name="T0" fmla="*/ 1472 w 1472"/>
                <a:gd name="T1" fmla="*/ 0 h 1928"/>
                <a:gd name="T2" fmla="*/ 372 w 1472"/>
                <a:gd name="T3" fmla="*/ 0 h 1928"/>
                <a:gd name="T4" fmla="*/ 284 w 1472"/>
                <a:gd name="T5" fmla="*/ 296 h 1928"/>
                <a:gd name="T6" fmla="*/ 404 w 1472"/>
                <a:gd name="T7" fmla="*/ 1260 h 1928"/>
                <a:gd name="T8" fmla="*/ 1140 w 1472"/>
                <a:gd name="T9" fmla="*/ 1900 h 1928"/>
                <a:gd name="T10" fmla="*/ 1472 w 1472"/>
                <a:gd name="T11" fmla="*/ 1796 h 1928"/>
                <a:gd name="T12" fmla="*/ 1472 w 1472"/>
                <a:gd name="T13" fmla="*/ 0 h 1928"/>
              </a:gdLst>
              <a:ahLst/>
              <a:cxnLst>
                <a:cxn ang="0">
                  <a:pos x="T0" y="T1"/>
                </a:cxn>
                <a:cxn ang="0">
                  <a:pos x="T2" y="T3"/>
                </a:cxn>
                <a:cxn ang="0">
                  <a:pos x="T4" y="T5"/>
                </a:cxn>
                <a:cxn ang="0">
                  <a:pos x="T6" y="T7"/>
                </a:cxn>
                <a:cxn ang="0">
                  <a:pos x="T8" y="T9"/>
                </a:cxn>
                <a:cxn ang="0">
                  <a:pos x="T10" y="T11"/>
                </a:cxn>
                <a:cxn ang="0">
                  <a:pos x="T12" y="T13"/>
                </a:cxn>
              </a:cxnLst>
              <a:rect l="0" t="0" r="r" b="b"/>
              <a:pathLst>
                <a:path w="1472" h="1928">
                  <a:moveTo>
                    <a:pt x="1472" y="0"/>
                  </a:moveTo>
                  <a:cubicBezTo>
                    <a:pt x="372" y="0"/>
                    <a:pt x="372" y="0"/>
                    <a:pt x="372" y="0"/>
                  </a:cubicBezTo>
                  <a:cubicBezTo>
                    <a:pt x="409" y="90"/>
                    <a:pt x="410" y="200"/>
                    <a:pt x="284" y="296"/>
                  </a:cubicBezTo>
                  <a:cubicBezTo>
                    <a:pt x="16" y="500"/>
                    <a:pt x="0" y="1068"/>
                    <a:pt x="404" y="1260"/>
                  </a:cubicBezTo>
                  <a:cubicBezTo>
                    <a:pt x="808" y="1452"/>
                    <a:pt x="760" y="1928"/>
                    <a:pt x="1140" y="1900"/>
                  </a:cubicBezTo>
                  <a:cubicBezTo>
                    <a:pt x="1246" y="1892"/>
                    <a:pt x="1361" y="1851"/>
                    <a:pt x="1472" y="1796"/>
                  </a:cubicBezTo>
                  <a:lnTo>
                    <a:pt x="1472" y="0"/>
                  </a:lnTo>
                  <a:close/>
                </a:path>
              </a:pathLst>
            </a:custGeom>
            <a:solidFill>
              <a:srgbClr val="113583">
                <a:alpha val="75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8" name="Freeform 6">
              <a:extLst>
                <a:ext uri="{FF2B5EF4-FFF2-40B4-BE49-F238E27FC236}">
                  <a16:creationId xmlns:a16="http://schemas.microsoft.com/office/drawing/2014/main" id="{ECD7F23E-934C-4D69-9DA4-39AE21B2C0BF}"/>
                </a:ext>
              </a:extLst>
            </p:cNvPr>
            <p:cNvSpPr>
              <a:spLocks/>
            </p:cNvSpPr>
            <p:nvPr userDrawn="1"/>
          </p:nvSpPr>
          <p:spPr bwMode="auto">
            <a:xfrm>
              <a:off x="7094538" y="0"/>
              <a:ext cx="5097463" cy="6064250"/>
            </a:xfrm>
            <a:custGeom>
              <a:avLst/>
              <a:gdLst>
                <a:gd name="T0" fmla="*/ 888 w 1544"/>
                <a:gd name="T1" fmla="*/ 112 h 1841"/>
                <a:gd name="T2" fmla="*/ 280 w 1544"/>
                <a:gd name="T3" fmla="*/ 972 h 1841"/>
                <a:gd name="T4" fmla="*/ 624 w 1544"/>
                <a:gd name="T5" fmla="*/ 1784 h 1841"/>
                <a:gd name="T6" fmla="*/ 1544 w 1544"/>
                <a:gd name="T7" fmla="*/ 1554 h 1841"/>
                <a:gd name="T8" fmla="*/ 1544 w 1544"/>
                <a:gd name="T9" fmla="*/ 0 h 1841"/>
                <a:gd name="T10" fmla="*/ 1248 w 1544"/>
                <a:gd name="T11" fmla="*/ 0 h 1841"/>
                <a:gd name="T12" fmla="*/ 888 w 1544"/>
                <a:gd name="T13" fmla="*/ 112 h 1841"/>
              </a:gdLst>
              <a:ahLst/>
              <a:cxnLst>
                <a:cxn ang="0">
                  <a:pos x="T0" y="T1"/>
                </a:cxn>
                <a:cxn ang="0">
                  <a:pos x="T2" y="T3"/>
                </a:cxn>
                <a:cxn ang="0">
                  <a:pos x="T4" y="T5"/>
                </a:cxn>
                <a:cxn ang="0">
                  <a:pos x="T6" y="T7"/>
                </a:cxn>
                <a:cxn ang="0">
                  <a:pos x="T8" y="T9"/>
                </a:cxn>
                <a:cxn ang="0">
                  <a:pos x="T10" y="T11"/>
                </a:cxn>
                <a:cxn ang="0">
                  <a:pos x="T12" y="T13"/>
                </a:cxn>
              </a:cxnLst>
              <a:rect l="0" t="0" r="r" b="b"/>
              <a:pathLst>
                <a:path w="1544" h="1841">
                  <a:moveTo>
                    <a:pt x="888" y="112"/>
                  </a:moveTo>
                  <a:cubicBezTo>
                    <a:pt x="360" y="164"/>
                    <a:pt x="256" y="764"/>
                    <a:pt x="280" y="972"/>
                  </a:cubicBezTo>
                  <a:cubicBezTo>
                    <a:pt x="304" y="1180"/>
                    <a:pt x="0" y="1696"/>
                    <a:pt x="624" y="1784"/>
                  </a:cubicBezTo>
                  <a:cubicBezTo>
                    <a:pt x="1031" y="1841"/>
                    <a:pt x="1322" y="1647"/>
                    <a:pt x="1544" y="1554"/>
                  </a:cubicBezTo>
                  <a:cubicBezTo>
                    <a:pt x="1544" y="0"/>
                    <a:pt x="1544" y="0"/>
                    <a:pt x="1544" y="0"/>
                  </a:cubicBezTo>
                  <a:cubicBezTo>
                    <a:pt x="1248" y="0"/>
                    <a:pt x="1248" y="0"/>
                    <a:pt x="1248" y="0"/>
                  </a:cubicBezTo>
                  <a:cubicBezTo>
                    <a:pt x="1170" y="52"/>
                    <a:pt x="1056" y="95"/>
                    <a:pt x="888" y="112"/>
                  </a:cubicBezTo>
                  <a:close/>
                </a:path>
              </a:pathLst>
            </a:custGeom>
            <a:solidFill>
              <a:srgbClr val="113583">
                <a:alpha val="54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9" name="Freeform 5">
              <a:extLst>
                <a:ext uri="{FF2B5EF4-FFF2-40B4-BE49-F238E27FC236}">
                  <a16:creationId xmlns:a16="http://schemas.microsoft.com/office/drawing/2014/main" id="{76E9A841-7528-46C5-B426-69BA830CFD2A}"/>
                </a:ext>
              </a:extLst>
            </p:cNvPr>
            <p:cNvSpPr>
              <a:spLocks/>
            </p:cNvSpPr>
            <p:nvPr userDrawn="1"/>
          </p:nvSpPr>
          <p:spPr bwMode="auto">
            <a:xfrm>
              <a:off x="7332663" y="231663"/>
              <a:ext cx="4859337" cy="5521325"/>
            </a:xfrm>
            <a:custGeom>
              <a:avLst/>
              <a:gdLst>
                <a:gd name="T0" fmla="*/ 1572 w 1572"/>
                <a:gd name="T1" fmla="*/ 397 h 1676"/>
                <a:gd name="T2" fmla="*/ 748 w 1572"/>
                <a:gd name="T3" fmla="*/ 192 h 1676"/>
                <a:gd name="T4" fmla="*/ 900 w 1572"/>
                <a:gd name="T5" fmla="*/ 1504 h 1676"/>
                <a:gd name="T6" fmla="*/ 1572 w 1572"/>
                <a:gd name="T7" fmla="*/ 1281 h 1676"/>
                <a:gd name="T8" fmla="*/ 1572 w 1572"/>
                <a:gd name="T9" fmla="*/ 397 h 1676"/>
              </a:gdLst>
              <a:ahLst/>
              <a:cxnLst>
                <a:cxn ang="0">
                  <a:pos x="T0" y="T1"/>
                </a:cxn>
                <a:cxn ang="0">
                  <a:pos x="T2" y="T3"/>
                </a:cxn>
                <a:cxn ang="0">
                  <a:pos x="T4" y="T5"/>
                </a:cxn>
                <a:cxn ang="0">
                  <a:pos x="T6" y="T7"/>
                </a:cxn>
                <a:cxn ang="0">
                  <a:pos x="T8" y="T9"/>
                </a:cxn>
              </a:cxnLst>
              <a:rect l="0" t="0" r="r" b="b"/>
              <a:pathLst>
                <a:path w="1572" h="1676">
                  <a:moveTo>
                    <a:pt x="1572" y="397"/>
                  </a:moveTo>
                  <a:cubicBezTo>
                    <a:pt x="1343" y="225"/>
                    <a:pt x="964" y="0"/>
                    <a:pt x="748" y="192"/>
                  </a:cubicBezTo>
                  <a:cubicBezTo>
                    <a:pt x="424" y="480"/>
                    <a:pt x="0" y="1676"/>
                    <a:pt x="900" y="1504"/>
                  </a:cubicBezTo>
                  <a:cubicBezTo>
                    <a:pt x="1201" y="1447"/>
                    <a:pt x="1417" y="1364"/>
                    <a:pt x="1572" y="1281"/>
                  </a:cubicBezTo>
                  <a:lnTo>
                    <a:pt x="1572" y="397"/>
                  </a:lnTo>
                  <a:close/>
                </a:path>
              </a:pathLst>
            </a:custGeom>
            <a:solidFill>
              <a:srgbClr val="263183">
                <a:alpha val="28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 name="Freeform 5">
              <a:extLst>
                <a:ext uri="{FF2B5EF4-FFF2-40B4-BE49-F238E27FC236}">
                  <a16:creationId xmlns:a16="http://schemas.microsoft.com/office/drawing/2014/main" id="{3546EDC0-8B2B-4604-A581-B31898B1DE1A}"/>
                </a:ext>
              </a:extLst>
            </p:cNvPr>
            <p:cNvSpPr>
              <a:spLocks/>
            </p:cNvSpPr>
            <p:nvPr userDrawn="1"/>
          </p:nvSpPr>
          <p:spPr bwMode="auto">
            <a:xfrm>
              <a:off x="7002463" y="487363"/>
              <a:ext cx="5189538" cy="5521325"/>
            </a:xfrm>
            <a:custGeom>
              <a:avLst/>
              <a:gdLst>
                <a:gd name="T0" fmla="*/ 1572 w 1572"/>
                <a:gd name="T1" fmla="*/ 397 h 1676"/>
                <a:gd name="T2" fmla="*/ 748 w 1572"/>
                <a:gd name="T3" fmla="*/ 192 h 1676"/>
                <a:gd name="T4" fmla="*/ 900 w 1572"/>
                <a:gd name="T5" fmla="*/ 1504 h 1676"/>
                <a:gd name="T6" fmla="*/ 1572 w 1572"/>
                <a:gd name="T7" fmla="*/ 1281 h 1676"/>
                <a:gd name="T8" fmla="*/ 1572 w 1572"/>
                <a:gd name="T9" fmla="*/ 397 h 1676"/>
              </a:gdLst>
              <a:ahLst/>
              <a:cxnLst>
                <a:cxn ang="0">
                  <a:pos x="T0" y="T1"/>
                </a:cxn>
                <a:cxn ang="0">
                  <a:pos x="T2" y="T3"/>
                </a:cxn>
                <a:cxn ang="0">
                  <a:pos x="T4" y="T5"/>
                </a:cxn>
                <a:cxn ang="0">
                  <a:pos x="T6" y="T7"/>
                </a:cxn>
                <a:cxn ang="0">
                  <a:pos x="T8" y="T9"/>
                </a:cxn>
              </a:cxnLst>
              <a:rect l="0" t="0" r="r" b="b"/>
              <a:pathLst>
                <a:path w="1572" h="1676">
                  <a:moveTo>
                    <a:pt x="1572" y="397"/>
                  </a:moveTo>
                  <a:cubicBezTo>
                    <a:pt x="1343" y="225"/>
                    <a:pt x="964" y="0"/>
                    <a:pt x="748" y="192"/>
                  </a:cubicBezTo>
                  <a:cubicBezTo>
                    <a:pt x="424" y="480"/>
                    <a:pt x="0" y="1676"/>
                    <a:pt x="900" y="1504"/>
                  </a:cubicBezTo>
                  <a:cubicBezTo>
                    <a:pt x="1201" y="1447"/>
                    <a:pt x="1417" y="1364"/>
                    <a:pt x="1572" y="1281"/>
                  </a:cubicBezTo>
                  <a:lnTo>
                    <a:pt x="1572" y="397"/>
                  </a:lnTo>
                  <a:close/>
                </a:path>
              </a:pathLst>
            </a:custGeom>
            <a:solidFill>
              <a:srgbClr val="113583"/>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1" name="标题 4">
            <a:extLst>
              <a:ext uri="{FF2B5EF4-FFF2-40B4-BE49-F238E27FC236}">
                <a16:creationId xmlns:a16="http://schemas.microsoft.com/office/drawing/2014/main" id="{D2AF9585-2FA9-4606-BD0E-33ECAF4F446F}"/>
              </a:ext>
            </a:extLst>
          </p:cNvPr>
          <p:cNvSpPr txBox="1">
            <a:spLocks/>
          </p:cNvSpPr>
          <p:nvPr/>
        </p:nvSpPr>
        <p:spPr>
          <a:xfrm>
            <a:off x="6070680" y="2978134"/>
            <a:ext cx="5419185" cy="451837"/>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2000" dirty="0"/>
              <a:t>简要描述</a:t>
            </a:r>
            <a:r>
              <a:rPr lang="en-US" altLang="zh-CN" sz="2000" dirty="0" err="1"/>
              <a:t>ePAD</a:t>
            </a:r>
            <a:r>
              <a:rPr lang="zh-CN" altLang="en-US" sz="2000" dirty="0"/>
              <a:t>如何恢复设计模式实例 </a:t>
            </a:r>
          </a:p>
        </p:txBody>
      </p:sp>
      <p:sp>
        <p:nvSpPr>
          <p:cNvPr id="13" name="文本框 12">
            <a:extLst>
              <a:ext uri="{FF2B5EF4-FFF2-40B4-BE49-F238E27FC236}">
                <a16:creationId xmlns:a16="http://schemas.microsoft.com/office/drawing/2014/main" id="{D7DB50D5-9612-4C1A-839F-3B1FABB41201}"/>
              </a:ext>
            </a:extLst>
          </p:cNvPr>
          <p:cNvSpPr txBox="1"/>
          <p:nvPr/>
        </p:nvSpPr>
        <p:spPr>
          <a:xfrm>
            <a:off x="673100" y="2622086"/>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lumMod val="20000"/>
                    <a:lumOff val="80000"/>
                  </a:schemeClr>
                </a:solidFill>
                <a:latin typeface="Impact" panose="020B0806030902050204" pitchFamily="34" charset="0"/>
                <a:cs typeface="Arial" panose="020B0604020202020204" pitchFamily="34" charset="0"/>
              </a:rPr>
              <a:t>/03</a:t>
            </a:r>
            <a:endParaRPr lang="zh-CN" altLang="en-US" spc="100" dirty="0">
              <a:solidFill>
                <a:schemeClr val="accent1">
                  <a:lumMod val="20000"/>
                  <a:lumOff val="80000"/>
                </a:schemeClr>
              </a:solidFill>
              <a:latin typeface="Impact" panose="020B0806030902050204" pitchFamily="34" charset="0"/>
              <a:cs typeface="Arial" panose="020B0604020202020204" pitchFamily="34" charset="0"/>
            </a:endParaRPr>
          </a:p>
        </p:txBody>
      </p:sp>
      <p:sp>
        <p:nvSpPr>
          <p:cNvPr id="14" name="ïṧ1ïḓè">
            <a:extLst>
              <a:ext uri="{FF2B5EF4-FFF2-40B4-BE49-F238E27FC236}">
                <a16:creationId xmlns:a16="http://schemas.microsoft.com/office/drawing/2014/main" id="{184A213C-60E6-4130-B83D-EC1C9EAA7772}"/>
              </a:ext>
            </a:extLst>
          </p:cNvPr>
          <p:cNvSpPr/>
          <p:nvPr/>
        </p:nvSpPr>
        <p:spPr bwMode="auto">
          <a:xfrm>
            <a:off x="5018744" y="2978134"/>
            <a:ext cx="987780" cy="986328"/>
          </a:xfrm>
          <a:custGeom>
            <a:avLst/>
            <a:gdLst>
              <a:gd name="T0" fmla="*/ 5325 w 5608"/>
              <a:gd name="T1" fmla="*/ 2335 h 5608"/>
              <a:gd name="T2" fmla="*/ 4864 w 5608"/>
              <a:gd name="T3" fmla="*/ 1873 h 5608"/>
              <a:gd name="T4" fmla="*/ 5001 w 5608"/>
              <a:gd name="T5" fmla="*/ 1736 h 5608"/>
              <a:gd name="T6" fmla="*/ 5001 w 5608"/>
              <a:gd name="T7" fmla="*/ 710 h 5608"/>
              <a:gd name="T8" fmla="*/ 4899 w 5608"/>
              <a:gd name="T9" fmla="*/ 607 h 5608"/>
              <a:gd name="T10" fmla="*/ 3873 w 5608"/>
              <a:gd name="T11" fmla="*/ 607 h 5608"/>
              <a:gd name="T12" fmla="*/ 3735 w 5608"/>
              <a:gd name="T13" fmla="*/ 745 h 5608"/>
              <a:gd name="T14" fmla="*/ 3274 w 5608"/>
              <a:gd name="T15" fmla="*/ 283 h 5608"/>
              <a:gd name="T16" fmla="*/ 2248 w 5608"/>
              <a:gd name="T17" fmla="*/ 283 h 5608"/>
              <a:gd name="T18" fmla="*/ 1830 w 5608"/>
              <a:gd name="T19" fmla="*/ 702 h 5608"/>
              <a:gd name="T20" fmla="*/ 2144 w 5608"/>
              <a:gd name="T21" fmla="*/ 1015 h 5608"/>
              <a:gd name="T22" fmla="*/ 2144 w 5608"/>
              <a:gd name="T23" fmla="*/ 2041 h 5608"/>
              <a:gd name="T24" fmla="*/ 2041 w 5608"/>
              <a:gd name="T25" fmla="*/ 2144 h 5608"/>
              <a:gd name="T26" fmla="*/ 1015 w 5608"/>
              <a:gd name="T27" fmla="*/ 2144 h 5608"/>
              <a:gd name="T28" fmla="*/ 702 w 5608"/>
              <a:gd name="T29" fmla="*/ 1830 h 5608"/>
              <a:gd name="T30" fmla="*/ 283 w 5608"/>
              <a:gd name="T31" fmla="*/ 2248 h 5608"/>
              <a:gd name="T32" fmla="*/ 283 w 5608"/>
              <a:gd name="T33" fmla="*/ 3274 h 5608"/>
              <a:gd name="T34" fmla="*/ 745 w 5608"/>
              <a:gd name="T35" fmla="*/ 3735 h 5608"/>
              <a:gd name="T36" fmla="*/ 1042 w 5608"/>
              <a:gd name="T37" fmla="*/ 3439 h 5608"/>
              <a:gd name="T38" fmla="*/ 2068 w 5608"/>
              <a:gd name="T39" fmla="*/ 3439 h 5608"/>
              <a:gd name="T40" fmla="*/ 2170 w 5608"/>
              <a:gd name="T41" fmla="*/ 3541 h 5608"/>
              <a:gd name="T42" fmla="*/ 2170 w 5608"/>
              <a:gd name="T43" fmla="*/ 4567 h 5608"/>
              <a:gd name="T44" fmla="*/ 1873 w 5608"/>
              <a:gd name="T45" fmla="*/ 4864 h 5608"/>
              <a:gd name="T46" fmla="*/ 2335 w 5608"/>
              <a:gd name="T47" fmla="*/ 5325 h 5608"/>
              <a:gd name="T48" fmla="*/ 3361 w 5608"/>
              <a:gd name="T49" fmla="*/ 5325 h 5608"/>
              <a:gd name="T50" fmla="*/ 3779 w 5608"/>
              <a:gd name="T51" fmla="*/ 4907 h 5608"/>
              <a:gd name="T52" fmla="*/ 3956 w 5608"/>
              <a:gd name="T53" fmla="*/ 5084 h 5608"/>
              <a:gd name="T54" fmla="*/ 4982 w 5608"/>
              <a:gd name="T55" fmla="*/ 5084 h 5608"/>
              <a:gd name="T56" fmla="*/ 5084 w 5608"/>
              <a:gd name="T57" fmla="*/ 4982 h 5608"/>
              <a:gd name="T58" fmla="*/ 5084 w 5608"/>
              <a:gd name="T59" fmla="*/ 3956 h 5608"/>
              <a:gd name="T60" fmla="*/ 4907 w 5608"/>
              <a:gd name="T61" fmla="*/ 3779 h 5608"/>
              <a:gd name="T62" fmla="*/ 5325 w 5608"/>
              <a:gd name="T63" fmla="*/ 3361 h 5608"/>
              <a:gd name="T64" fmla="*/ 5325 w 5608"/>
              <a:gd name="T65" fmla="*/ 2335 h 5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08" h="5608">
                <a:moveTo>
                  <a:pt x="5325" y="2335"/>
                </a:moveTo>
                <a:lnTo>
                  <a:pt x="4864" y="1873"/>
                </a:lnTo>
                <a:lnTo>
                  <a:pt x="5001" y="1736"/>
                </a:lnTo>
                <a:cubicBezTo>
                  <a:pt x="5285" y="1452"/>
                  <a:pt x="5285" y="993"/>
                  <a:pt x="5001" y="710"/>
                </a:cubicBezTo>
                <a:lnTo>
                  <a:pt x="4899" y="607"/>
                </a:lnTo>
                <a:cubicBezTo>
                  <a:pt x="4616" y="324"/>
                  <a:pt x="4156" y="324"/>
                  <a:pt x="3873" y="607"/>
                </a:cubicBezTo>
                <a:lnTo>
                  <a:pt x="3735" y="745"/>
                </a:lnTo>
                <a:lnTo>
                  <a:pt x="3274" y="283"/>
                </a:lnTo>
                <a:cubicBezTo>
                  <a:pt x="2991" y="0"/>
                  <a:pt x="2531" y="0"/>
                  <a:pt x="2248" y="283"/>
                </a:cubicBezTo>
                <a:lnTo>
                  <a:pt x="1830" y="702"/>
                </a:lnTo>
                <a:lnTo>
                  <a:pt x="2144" y="1015"/>
                </a:lnTo>
                <a:cubicBezTo>
                  <a:pt x="2427" y="1299"/>
                  <a:pt x="2427" y="1758"/>
                  <a:pt x="2144" y="2041"/>
                </a:cubicBezTo>
                <a:lnTo>
                  <a:pt x="2041" y="2144"/>
                </a:lnTo>
                <a:cubicBezTo>
                  <a:pt x="1758" y="2427"/>
                  <a:pt x="1299" y="2427"/>
                  <a:pt x="1015" y="2144"/>
                </a:cubicBezTo>
                <a:lnTo>
                  <a:pt x="702" y="1830"/>
                </a:lnTo>
                <a:lnTo>
                  <a:pt x="283" y="2248"/>
                </a:lnTo>
                <a:cubicBezTo>
                  <a:pt x="0" y="2531"/>
                  <a:pt x="0" y="2991"/>
                  <a:pt x="283" y="3274"/>
                </a:cubicBezTo>
                <a:lnTo>
                  <a:pt x="745" y="3735"/>
                </a:lnTo>
                <a:lnTo>
                  <a:pt x="1042" y="3439"/>
                </a:lnTo>
                <a:cubicBezTo>
                  <a:pt x="1325" y="3155"/>
                  <a:pt x="1784" y="3155"/>
                  <a:pt x="2068" y="3439"/>
                </a:cubicBezTo>
                <a:lnTo>
                  <a:pt x="2170" y="3541"/>
                </a:lnTo>
                <a:cubicBezTo>
                  <a:pt x="2453" y="3824"/>
                  <a:pt x="2453" y="4284"/>
                  <a:pt x="2170" y="4567"/>
                </a:cubicBezTo>
                <a:lnTo>
                  <a:pt x="1873" y="4864"/>
                </a:lnTo>
                <a:lnTo>
                  <a:pt x="2335" y="5325"/>
                </a:lnTo>
                <a:cubicBezTo>
                  <a:pt x="2618" y="5608"/>
                  <a:pt x="3077" y="5608"/>
                  <a:pt x="3361" y="5325"/>
                </a:cubicBezTo>
                <a:lnTo>
                  <a:pt x="3779" y="4907"/>
                </a:lnTo>
                <a:lnTo>
                  <a:pt x="3956" y="5084"/>
                </a:lnTo>
                <a:cubicBezTo>
                  <a:pt x="4239" y="5367"/>
                  <a:pt x="4698" y="5367"/>
                  <a:pt x="4982" y="5084"/>
                </a:cubicBezTo>
                <a:lnTo>
                  <a:pt x="5084" y="4982"/>
                </a:lnTo>
                <a:cubicBezTo>
                  <a:pt x="5367" y="4698"/>
                  <a:pt x="5367" y="4239"/>
                  <a:pt x="5084" y="3956"/>
                </a:cubicBezTo>
                <a:lnTo>
                  <a:pt x="4907" y="3779"/>
                </a:lnTo>
                <a:lnTo>
                  <a:pt x="5325" y="3361"/>
                </a:lnTo>
                <a:cubicBezTo>
                  <a:pt x="5608" y="3077"/>
                  <a:pt x="5608" y="2618"/>
                  <a:pt x="5325" y="2335"/>
                </a:cubicBezTo>
                <a:close/>
              </a:path>
            </a:pathLst>
          </a:custGeom>
          <a:solidFill>
            <a:schemeClr val="accent1">
              <a:lumMod val="40000"/>
              <a:lumOff val="60000"/>
            </a:schemeClr>
          </a:solidFill>
          <a:ln>
            <a:noFill/>
          </a:ln>
          <a:effectLst>
            <a:outerShdw blurRad="63500" sx="102000" sy="102000" algn="ctr" rotWithShape="0">
              <a:prstClr val="black">
                <a:alpha val="40000"/>
              </a:prstClr>
            </a:outerShdw>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 name="文本占位符 5">
            <a:extLst>
              <a:ext uri="{FF2B5EF4-FFF2-40B4-BE49-F238E27FC236}">
                <a16:creationId xmlns:a16="http://schemas.microsoft.com/office/drawing/2014/main" id="{3E33B84B-B1DF-4F9E-ADC0-15A6D3CF2F97}"/>
              </a:ext>
            </a:extLst>
          </p:cNvPr>
          <p:cNvSpPr txBox="1">
            <a:spLocks/>
          </p:cNvSpPr>
          <p:nvPr/>
        </p:nvSpPr>
        <p:spPr>
          <a:xfrm>
            <a:off x="6099715" y="3553279"/>
            <a:ext cx="5419185" cy="371021"/>
          </a:xfrm>
          <a:prstGeom prst="rect">
            <a:avLst/>
          </a:prstGeom>
        </p:spPr>
        <p:txBody>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000" dirty="0"/>
              <a:t>How </a:t>
            </a:r>
            <a:r>
              <a:rPr lang="en-US" altLang="zh-CN" sz="1000" dirty="0" err="1"/>
              <a:t>Epad</a:t>
            </a:r>
            <a:r>
              <a:rPr lang="en-US" altLang="zh-CN" sz="1000" dirty="0"/>
              <a:t> Recovers Design Pattern Instances.</a:t>
            </a:r>
          </a:p>
        </p:txBody>
      </p:sp>
      <p:sp>
        <p:nvSpPr>
          <p:cNvPr id="16" name="文本占位符 5">
            <a:extLst>
              <a:ext uri="{FF2B5EF4-FFF2-40B4-BE49-F238E27FC236}">
                <a16:creationId xmlns:a16="http://schemas.microsoft.com/office/drawing/2014/main" id="{E1FF68E3-748B-46B9-9C86-8ABB9F3B100A}"/>
              </a:ext>
            </a:extLst>
          </p:cNvPr>
          <p:cNvSpPr txBox="1">
            <a:spLocks/>
          </p:cNvSpPr>
          <p:nvPr/>
        </p:nvSpPr>
        <p:spPr>
          <a:xfrm>
            <a:off x="6099716" y="3865674"/>
            <a:ext cx="5189538" cy="371021"/>
          </a:xfrm>
          <a:prstGeom prst="rect">
            <a:avLst/>
          </a:prstGeom>
        </p:spPr>
        <p:txBody>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dist">
              <a:buNone/>
            </a:pPr>
            <a:r>
              <a:rPr lang="en-US" altLang="zh-CN" sz="1000" dirty="0"/>
              <a:t>////////////////////////////////////////////////////////////////////////////</a:t>
            </a:r>
            <a:endParaRPr lang="en-US" altLang="zh-CN" dirty="0"/>
          </a:p>
        </p:txBody>
      </p:sp>
    </p:spTree>
    <p:extLst>
      <p:ext uri="{BB962C8B-B14F-4D97-AF65-F5344CB8AC3E}">
        <p14:creationId xmlns:p14="http://schemas.microsoft.com/office/powerpoint/2010/main" val="412308204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2" presetClass="entr" presetSubtype="8" accel="10000" fill="hold" grpId="0" nodeType="withEffect" p14:presetBounceEnd="30000">
                                      <p:stCondLst>
                                        <p:cond delay="200"/>
                                      </p:stCondLst>
                                      <p:childTnLst>
                                        <p:set>
                                          <p:cBhvr>
                                            <p:cTn id="9" dur="1" fill="hold">
                                              <p:stCondLst>
                                                <p:cond delay="0"/>
                                              </p:stCondLst>
                                            </p:cTn>
                                            <p:tgtEl>
                                              <p:spTgt spid="13"/>
                                            </p:tgtEl>
                                            <p:attrNameLst>
                                              <p:attrName>style.visibility</p:attrName>
                                            </p:attrNameLst>
                                          </p:cBhvr>
                                          <p:to>
                                            <p:strVal val="visible"/>
                                          </p:to>
                                        </p:set>
                                        <p:anim calcmode="lin" valueType="num" p14:bounceEnd="30000">
                                          <p:cBhvr additive="base">
                                            <p:cTn id="10" dur="500" fill="hold"/>
                                            <p:tgtEl>
                                              <p:spTgt spid="13"/>
                                            </p:tgtEl>
                                            <p:attrNameLst>
                                              <p:attrName>ppt_x</p:attrName>
                                            </p:attrNameLst>
                                          </p:cBhvr>
                                          <p:tavLst>
                                            <p:tav tm="0">
                                              <p:val>
                                                <p:strVal val="0-#ppt_w/2"/>
                                              </p:val>
                                            </p:tav>
                                            <p:tav tm="100000">
                                              <p:val>
                                                <p:strVal val="#ppt_x"/>
                                              </p:val>
                                            </p:tav>
                                          </p:tavLst>
                                        </p:anim>
                                        <p:anim calcmode="lin" valueType="num" p14:bounceEnd="30000">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5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2" presetClass="entr" presetSubtype="2" accel="10000" fill="hold" grpId="0" nodeType="withEffect" p14:presetBounceEnd="30000">
                                      <p:stCondLst>
                                        <p:cond delay="700"/>
                                      </p:stCondLst>
                                      <p:childTnLst>
                                        <p:set>
                                          <p:cBhvr>
                                            <p:cTn id="16" dur="1" fill="hold">
                                              <p:stCondLst>
                                                <p:cond delay="0"/>
                                              </p:stCondLst>
                                            </p:cTn>
                                            <p:tgtEl>
                                              <p:spTgt spid="11"/>
                                            </p:tgtEl>
                                            <p:attrNameLst>
                                              <p:attrName>style.visibility</p:attrName>
                                            </p:attrNameLst>
                                          </p:cBhvr>
                                          <p:to>
                                            <p:strVal val="visible"/>
                                          </p:to>
                                        </p:set>
                                        <p:anim calcmode="lin" valueType="num" p14:bounceEnd="30000">
                                          <p:cBhvr additive="base">
                                            <p:cTn id="17" dur="500" fill="hold"/>
                                            <p:tgtEl>
                                              <p:spTgt spid="11"/>
                                            </p:tgtEl>
                                            <p:attrNameLst>
                                              <p:attrName>ppt_x</p:attrName>
                                            </p:attrNameLst>
                                          </p:cBhvr>
                                          <p:tavLst>
                                            <p:tav tm="0">
                                              <p:val>
                                                <p:strVal val="1+#ppt_w/2"/>
                                              </p:val>
                                            </p:tav>
                                            <p:tav tm="100000">
                                              <p:val>
                                                <p:strVal val="#ppt_x"/>
                                              </p:val>
                                            </p:tav>
                                          </p:tavLst>
                                        </p:anim>
                                        <p:anim calcmode="lin" valueType="num" p14:bounceEnd="30000">
                                          <p:cBhvr additive="base">
                                            <p:cTn id="18" dur="5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accel="10000" fill="hold" grpId="0" nodeType="withEffect" p14:presetBounceEnd="30000">
                                      <p:stCondLst>
                                        <p:cond delay="900"/>
                                      </p:stCondLst>
                                      <p:childTnLst>
                                        <p:set>
                                          <p:cBhvr>
                                            <p:cTn id="20" dur="1" fill="hold">
                                              <p:stCondLst>
                                                <p:cond delay="0"/>
                                              </p:stCondLst>
                                            </p:cTn>
                                            <p:tgtEl>
                                              <p:spTgt spid="15"/>
                                            </p:tgtEl>
                                            <p:attrNameLst>
                                              <p:attrName>style.visibility</p:attrName>
                                            </p:attrNameLst>
                                          </p:cBhvr>
                                          <p:to>
                                            <p:strVal val="visible"/>
                                          </p:to>
                                        </p:set>
                                        <p:anim calcmode="lin" valueType="num" p14:bounceEnd="30000">
                                          <p:cBhvr additive="base">
                                            <p:cTn id="21" dur="500" fill="hold"/>
                                            <p:tgtEl>
                                              <p:spTgt spid="15"/>
                                            </p:tgtEl>
                                            <p:attrNameLst>
                                              <p:attrName>ppt_x</p:attrName>
                                            </p:attrNameLst>
                                          </p:cBhvr>
                                          <p:tavLst>
                                            <p:tav tm="0">
                                              <p:val>
                                                <p:strVal val="1+#ppt_w/2"/>
                                              </p:val>
                                            </p:tav>
                                            <p:tav tm="100000">
                                              <p:val>
                                                <p:strVal val="#ppt_x"/>
                                              </p:val>
                                            </p:tav>
                                          </p:tavLst>
                                        </p:anim>
                                        <p:anim calcmode="lin" valueType="num" p14:bounceEnd="30000">
                                          <p:cBhvr additive="base">
                                            <p:cTn id="22" dur="500" fill="hold"/>
                                            <p:tgtEl>
                                              <p:spTgt spid="15"/>
                                            </p:tgtEl>
                                            <p:attrNameLst>
                                              <p:attrName>ppt_y</p:attrName>
                                            </p:attrNameLst>
                                          </p:cBhvr>
                                          <p:tavLst>
                                            <p:tav tm="0">
                                              <p:val>
                                                <p:strVal val="#ppt_y"/>
                                              </p:val>
                                            </p:tav>
                                            <p:tav tm="100000">
                                              <p:val>
                                                <p:strVal val="#ppt_y"/>
                                              </p:val>
                                            </p:tav>
                                          </p:tavLst>
                                        </p:anim>
                                      </p:childTnLst>
                                    </p:cTn>
                                  </p:par>
                                  <p:par>
                                    <p:cTn id="23" presetID="2" presetClass="entr" presetSubtype="2" accel="10000" fill="hold" grpId="0" nodeType="withEffect" p14:presetBounceEnd="30000">
                                      <p:stCondLst>
                                        <p:cond delay="1100"/>
                                      </p:stCondLst>
                                      <p:childTnLst>
                                        <p:set>
                                          <p:cBhvr>
                                            <p:cTn id="24" dur="1" fill="hold">
                                              <p:stCondLst>
                                                <p:cond delay="0"/>
                                              </p:stCondLst>
                                            </p:cTn>
                                            <p:tgtEl>
                                              <p:spTgt spid="16"/>
                                            </p:tgtEl>
                                            <p:attrNameLst>
                                              <p:attrName>style.visibility</p:attrName>
                                            </p:attrNameLst>
                                          </p:cBhvr>
                                          <p:to>
                                            <p:strVal val="visible"/>
                                          </p:to>
                                        </p:set>
                                        <p:anim calcmode="lin" valueType="num" p14:bounceEnd="30000">
                                          <p:cBhvr additive="base">
                                            <p:cTn id="25" dur="500" fill="hold"/>
                                            <p:tgtEl>
                                              <p:spTgt spid="16"/>
                                            </p:tgtEl>
                                            <p:attrNameLst>
                                              <p:attrName>ppt_x</p:attrName>
                                            </p:attrNameLst>
                                          </p:cBhvr>
                                          <p:tavLst>
                                            <p:tav tm="0">
                                              <p:val>
                                                <p:strVal val="1+#ppt_w/2"/>
                                              </p:val>
                                            </p:tav>
                                            <p:tav tm="100000">
                                              <p:val>
                                                <p:strVal val="#ppt_x"/>
                                              </p:val>
                                            </p:tav>
                                          </p:tavLst>
                                        </p:anim>
                                        <p:anim calcmode="lin" valueType="num" p14:bounceEnd="30000">
                                          <p:cBhvr additive="base">
                                            <p:cTn id="2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animBg="1"/>
          <p:bldP spid="15" grpId="0"/>
          <p:bldP spid="1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2" presetClass="entr" presetSubtype="8" accel="1000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5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2" presetClass="entr" presetSubtype="2" accel="10000" fill="hold" grpId="0" nodeType="withEffect">
                                      <p:stCondLst>
                                        <p:cond delay="70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1+#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accel="10000" fill="hold" grpId="0" nodeType="withEffect">
                                      <p:stCondLst>
                                        <p:cond delay="9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500" fill="hold"/>
                                            <p:tgtEl>
                                              <p:spTgt spid="15"/>
                                            </p:tgtEl>
                                            <p:attrNameLst>
                                              <p:attrName>ppt_x</p:attrName>
                                            </p:attrNameLst>
                                          </p:cBhvr>
                                          <p:tavLst>
                                            <p:tav tm="0">
                                              <p:val>
                                                <p:strVal val="1+#ppt_w/2"/>
                                              </p:val>
                                            </p:tav>
                                            <p:tav tm="100000">
                                              <p:val>
                                                <p:strVal val="#ppt_x"/>
                                              </p:val>
                                            </p:tav>
                                          </p:tavLst>
                                        </p:anim>
                                        <p:anim calcmode="lin" valueType="num">
                                          <p:cBhvr additive="base">
                                            <p:cTn id="22" dur="500" fill="hold"/>
                                            <p:tgtEl>
                                              <p:spTgt spid="15"/>
                                            </p:tgtEl>
                                            <p:attrNameLst>
                                              <p:attrName>ppt_y</p:attrName>
                                            </p:attrNameLst>
                                          </p:cBhvr>
                                          <p:tavLst>
                                            <p:tav tm="0">
                                              <p:val>
                                                <p:strVal val="#ppt_y"/>
                                              </p:val>
                                            </p:tav>
                                            <p:tav tm="100000">
                                              <p:val>
                                                <p:strVal val="#ppt_y"/>
                                              </p:val>
                                            </p:tav>
                                          </p:tavLst>
                                        </p:anim>
                                      </p:childTnLst>
                                    </p:cTn>
                                  </p:par>
                                  <p:par>
                                    <p:cTn id="23" presetID="2" presetClass="entr" presetSubtype="2" accel="10000" fill="hold" grpId="0" nodeType="withEffect">
                                      <p:stCondLst>
                                        <p:cond delay="110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1+#ppt_w/2"/>
                                              </p:val>
                                            </p:tav>
                                            <p:tav tm="100000">
                                              <p:val>
                                                <p:strVal val="#ppt_x"/>
                                              </p:val>
                                            </p:tav>
                                          </p:tavLst>
                                        </p:anim>
                                        <p:anim calcmode="lin" valueType="num">
                                          <p:cBhvr additive="base">
                                            <p:cTn id="2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animBg="1"/>
          <p:bldP spid="15" grpId="0"/>
          <p:bldP spid="16" grpId="0"/>
        </p:bldLst>
      </p:timing>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DFBDF5CA-57C7-49A1-9316-B686E065A414}"/>
              </a:ext>
            </a:extLst>
          </p:cNvPr>
          <p:cNvGrpSpPr/>
          <p:nvPr/>
        </p:nvGrpSpPr>
        <p:grpSpPr>
          <a:xfrm>
            <a:off x="-43962" y="-2"/>
            <a:ext cx="12265321" cy="1081456"/>
            <a:chOff x="-43962" y="-2"/>
            <a:chExt cx="12265321" cy="1081456"/>
          </a:xfrm>
        </p:grpSpPr>
        <p:grpSp>
          <p:nvGrpSpPr>
            <p:cNvPr id="5" name="组合 4">
              <a:extLst>
                <a:ext uri="{FF2B5EF4-FFF2-40B4-BE49-F238E27FC236}">
                  <a16:creationId xmlns:a16="http://schemas.microsoft.com/office/drawing/2014/main" id="{A02D8D5F-9092-40A1-BEE7-2E18BC595794}"/>
                </a:ext>
              </a:extLst>
            </p:cNvPr>
            <p:cNvGrpSpPr/>
            <p:nvPr/>
          </p:nvGrpSpPr>
          <p:grpSpPr>
            <a:xfrm rot="10800000">
              <a:off x="-43962" y="-2"/>
              <a:ext cx="12265321" cy="1081456"/>
              <a:chOff x="1" y="5010588"/>
              <a:chExt cx="12265322" cy="1905823"/>
            </a:xfrm>
          </p:grpSpPr>
          <p:sp>
            <p:nvSpPr>
              <p:cNvPr id="6" name="îṧļiḑe">
                <a:extLst>
                  <a:ext uri="{FF2B5EF4-FFF2-40B4-BE49-F238E27FC236}">
                    <a16:creationId xmlns:a16="http://schemas.microsoft.com/office/drawing/2014/main" id="{49F6E0D8-E3BC-4BD3-84FB-161A76550555}"/>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îṩľiḑê">
                <a:extLst>
                  <a:ext uri="{FF2B5EF4-FFF2-40B4-BE49-F238E27FC236}">
                    <a16:creationId xmlns:a16="http://schemas.microsoft.com/office/drawing/2014/main" id="{E47AD772-61D7-455A-AF1D-07952261DFE2}"/>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sp>
          <p:nvSpPr>
            <p:cNvPr id="9" name="矩形 8">
              <a:extLst>
                <a:ext uri="{FF2B5EF4-FFF2-40B4-BE49-F238E27FC236}">
                  <a16:creationId xmlns:a16="http://schemas.microsoft.com/office/drawing/2014/main" id="{559493B6-54D5-4BFB-8173-8ADF4B215E18}"/>
                </a:ext>
              </a:extLst>
            </p:cNvPr>
            <p:cNvSpPr/>
            <p:nvPr/>
          </p:nvSpPr>
          <p:spPr>
            <a:xfrm>
              <a:off x="1028700" y="139985"/>
              <a:ext cx="10858500" cy="369332"/>
            </a:xfrm>
            <a:prstGeom prst="rect">
              <a:avLst/>
            </a:prstGeom>
          </p:spPr>
          <p:txBody>
            <a:bodyPr wrap="square">
              <a:spAutoFit/>
            </a:bodyPr>
            <a:lstStyle/>
            <a:p>
              <a:r>
                <a:rPr lang="zh-CN" altLang="en-US" dirty="0">
                  <a:solidFill>
                    <a:schemeClr val="bg1"/>
                  </a:solidFill>
                </a:rPr>
                <a:t>简述</a:t>
              </a:r>
              <a:r>
                <a:rPr lang="en-US" altLang="zh-CN" dirty="0" err="1">
                  <a:solidFill>
                    <a:schemeClr val="bg1"/>
                  </a:solidFill>
                </a:rPr>
                <a:t>ePAD</a:t>
              </a:r>
              <a:r>
                <a:rPr lang="zh-CN" altLang="en-US" dirty="0">
                  <a:solidFill>
                    <a:schemeClr val="bg1"/>
                  </a:solidFill>
                </a:rPr>
                <a:t>如何恢复设计模式实例 </a:t>
              </a:r>
            </a:p>
          </p:txBody>
        </p:sp>
        <p:sp>
          <p:nvSpPr>
            <p:cNvPr id="29" name="ïṧ1ïḓè">
              <a:extLst>
                <a:ext uri="{FF2B5EF4-FFF2-40B4-BE49-F238E27FC236}">
                  <a16:creationId xmlns:a16="http://schemas.microsoft.com/office/drawing/2014/main" id="{9AD00169-7D5E-4C65-B639-7D61B5B46787}"/>
                </a:ext>
              </a:extLst>
            </p:cNvPr>
            <p:cNvSpPr/>
            <p:nvPr/>
          </p:nvSpPr>
          <p:spPr bwMode="auto">
            <a:xfrm>
              <a:off x="378118" y="126361"/>
              <a:ext cx="454522" cy="453854"/>
            </a:xfrm>
            <a:custGeom>
              <a:avLst/>
              <a:gdLst>
                <a:gd name="T0" fmla="*/ 5325 w 5608"/>
                <a:gd name="T1" fmla="*/ 2335 h 5608"/>
                <a:gd name="T2" fmla="*/ 4864 w 5608"/>
                <a:gd name="T3" fmla="*/ 1873 h 5608"/>
                <a:gd name="T4" fmla="*/ 5001 w 5608"/>
                <a:gd name="T5" fmla="*/ 1736 h 5608"/>
                <a:gd name="T6" fmla="*/ 5001 w 5608"/>
                <a:gd name="T7" fmla="*/ 710 h 5608"/>
                <a:gd name="T8" fmla="*/ 4899 w 5608"/>
                <a:gd name="T9" fmla="*/ 607 h 5608"/>
                <a:gd name="T10" fmla="*/ 3873 w 5608"/>
                <a:gd name="T11" fmla="*/ 607 h 5608"/>
                <a:gd name="T12" fmla="*/ 3735 w 5608"/>
                <a:gd name="T13" fmla="*/ 745 h 5608"/>
                <a:gd name="T14" fmla="*/ 3274 w 5608"/>
                <a:gd name="T15" fmla="*/ 283 h 5608"/>
                <a:gd name="T16" fmla="*/ 2248 w 5608"/>
                <a:gd name="T17" fmla="*/ 283 h 5608"/>
                <a:gd name="T18" fmla="*/ 1830 w 5608"/>
                <a:gd name="T19" fmla="*/ 702 h 5608"/>
                <a:gd name="T20" fmla="*/ 2144 w 5608"/>
                <a:gd name="T21" fmla="*/ 1015 h 5608"/>
                <a:gd name="T22" fmla="*/ 2144 w 5608"/>
                <a:gd name="T23" fmla="*/ 2041 h 5608"/>
                <a:gd name="T24" fmla="*/ 2041 w 5608"/>
                <a:gd name="T25" fmla="*/ 2144 h 5608"/>
                <a:gd name="T26" fmla="*/ 1015 w 5608"/>
                <a:gd name="T27" fmla="*/ 2144 h 5608"/>
                <a:gd name="T28" fmla="*/ 702 w 5608"/>
                <a:gd name="T29" fmla="*/ 1830 h 5608"/>
                <a:gd name="T30" fmla="*/ 283 w 5608"/>
                <a:gd name="T31" fmla="*/ 2248 h 5608"/>
                <a:gd name="T32" fmla="*/ 283 w 5608"/>
                <a:gd name="T33" fmla="*/ 3274 h 5608"/>
                <a:gd name="T34" fmla="*/ 745 w 5608"/>
                <a:gd name="T35" fmla="*/ 3735 h 5608"/>
                <a:gd name="T36" fmla="*/ 1042 w 5608"/>
                <a:gd name="T37" fmla="*/ 3439 h 5608"/>
                <a:gd name="T38" fmla="*/ 2068 w 5608"/>
                <a:gd name="T39" fmla="*/ 3439 h 5608"/>
                <a:gd name="T40" fmla="*/ 2170 w 5608"/>
                <a:gd name="T41" fmla="*/ 3541 h 5608"/>
                <a:gd name="T42" fmla="*/ 2170 w 5608"/>
                <a:gd name="T43" fmla="*/ 4567 h 5608"/>
                <a:gd name="T44" fmla="*/ 1873 w 5608"/>
                <a:gd name="T45" fmla="*/ 4864 h 5608"/>
                <a:gd name="T46" fmla="*/ 2335 w 5608"/>
                <a:gd name="T47" fmla="*/ 5325 h 5608"/>
                <a:gd name="T48" fmla="*/ 3361 w 5608"/>
                <a:gd name="T49" fmla="*/ 5325 h 5608"/>
                <a:gd name="T50" fmla="*/ 3779 w 5608"/>
                <a:gd name="T51" fmla="*/ 4907 h 5608"/>
                <a:gd name="T52" fmla="*/ 3956 w 5608"/>
                <a:gd name="T53" fmla="*/ 5084 h 5608"/>
                <a:gd name="T54" fmla="*/ 4982 w 5608"/>
                <a:gd name="T55" fmla="*/ 5084 h 5608"/>
                <a:gd name="T56" fmla="*/ 5084 w 5608"/>
                <a:gd name="T57" fmla="*/ 4982 h 5608"/>
                <a:gd name="T58" fmla="*/ 5084 w 5608"/>
                <a:gd name="T59" fmla="*/ 3956 h 5608"/>
                <a:gd name="T60" fmla="*/ 4907 w 5608"/>
                <a:gd name="T61" fmla="*/ 3779 h 5608"/>
                <a:gd name="T62" fmla="*/ 5325 w 5608"/>
                <a:gd name="T63" fmla="*/ 3361 h 5608"/>
                <a:gd name="T64" fmla="*/ 5325 w 5608"/>
                <a:gd name="T65" fmla="*/ 2335 h 5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08" h="5608">
                  <a:moveTo>
                    <a:pt x="5325" y="2335"/>
                  </a:moveTo>
                  <a:lnTo>
                    <a:pt x="4864" y="1873"/>
                  </a:lnTo>
                  <a:lnTo>
                    <a:pt x="5001" y="1736"/>
                  </a:lnTo>
                  <a:cubicBezTo>
                    <a:pt x="5285" y="1452"/>
                    <a:pt x="5285" y="993"/>
                    <a:pt x="5001" y="710"/>
                  </a:cubicBezTo>
                  <a:lnTo>
                    <a:pt x="4899" y="607"/>
                  </a:lnTo>
                  <a:cubicBezTo>
                    <a:pt x="4616" y="324"/>
                    <a:pt x="4156" y="324"/>
                    <a:pt x="3873" y="607"/>
                  </a:cubicBezTo>
                  <a:lnTo>
                    <a:pt x="3735" y="745"/>
                  </a:lnTo>
                  <a:lnTo>
                    <a:pt x="3274" y="283"/>
                  </a:lnTo>
                  <a:cubicBezTo>
                    <a:pt x="2991" y="0"/>
                    <a:pt x="2531" y="0"/>
                    <a:pt x="2248" y="283"/>
                  </a:cubicBezTo>
                  <a:lnTo>
                    <a:pt x="1830" y="702"/>
                  </a:lnTo>
                  <a:lnTo>
                    <a:pt x="2144" y="1015"/>
                  </a:lnTo>
                  <a:cubicBezTo>
                    <a:pt x="2427" y="1299"/>
                    <a:pt x="2427" y="1758"/>
                    <a:pt x="2144" y="2041"/>
                  </a:cubicBezTo>
                  <a:lnTo>
                    <a:pt x="2041" y="2144"/>
                  </a:lnTo>
                  <a:cubicBezTo>
                    <a:pt x="1758" y="2427"/>
                    <a:pt x="1299" y="2427"/>
                    <a:pt x="1015" y="2144"/>
                  </a:cubicBezTo>
                  <a:lnTo>
                    <a:pt x="702" y="1830"/>
                  </a:lnTo>
                  <a:lnTo>
                    <a:pt x="283" y="2248"/>
                  </a:lnTo>
                  <a:cubicBezTo>
                    <a:pt x="0" y="2531"/>
                    <a:pt x="0" y="2991"/>
                    <a:pt x="283" y="3274"/>
                  </a:cubicBezTo>
                  <a:lnTo>
                    <a:pt x="745" y="3735"/>
                  </a:lnTo>
                  <a:lnTo>
                    <a:pt x="1042" y="3439"/>
                  </a:lnTo>
                  <a:cubicBezTo>
                    <a:pt x="1325" y="3155"/>
                    <a:pt x="1784" y="3155"/>
                    <a:pt x="2068" y="3439"/>
                  </a:cubicBezTo>
                  <a:lnTo>
                    <a:pt x="2170" y="3541"/>
                  </a:lnTo>
                  <a:cubicBezTo>
                    <a:pt x="2453" y="3824"/>
                    <a:pt x="2453" y="4284"/>
                    <a:pt x="2170" y="4567"/>
                  </a:cubicBezTo>
                  <a:lnTo>
                    <a:pt x="1873" y="4864"/>
                  </a:lnTo>
                  <a:lnTo>
                    <a:pt x="2335" y="5325"/>
                  </a:lnTo>
                  <a:cubicBezTo>
                    <a:pt x="2618" y="5608"/>
                    <a:pt x="3077" y="5608"/>
                    <a:pt x="3361" y="5325"/>
                  </a:cubicBezTo>
                  <a:lnTo>
                    <a:pt x="3779" y="4907"/>
                  </a:lnTo>
                  <a:lnTo>
                    <a:pt x="3956" y="5084"/>
                  </a:lnTo>
                  <a:cubicBezTo>
                    <a:pt x="4239" y="5367"/>
                    <a:pt x="4698" y="5367"/>
                    <a:pt x="4982" y="5084"/>
                  </a:cubicBezTo>
                  <a:lnTo>
                    <a:pt x="5084" y="4982"/>
                  </a:lnTo>
                  <a:cubicBezTo>
                    <a:pt x="5367" y="4698"/>
                    <a:pt x="5367" y="4239"/>
                    <a:pt x="5084" y="3956"/>
                  </a:cubicBezTo>
                  <a:lnTo>
                    <a:pt x="4907" y="3779"/>
                  </a:lnTo>
                  <a:lnTo>
                    <a:pt x="5325" y="3361"/>
                  </a:lnTo>
                  <a:cubicBezTo>
                    <a:pt x="5608" y="3077"/>
                    <a:pt x="5608" y="2618"/>
                    <a:pt x="5325" y="2335"/>
                  </a:cubicBezTo>
                  <a:close/>
                </a:path>
              </a:pathLst>
            </a:custGeom>
            <a:solidFill>
              <a:schemeClr val="bg1"/>
            </a:solidFill>
            <a:ln>
              <a:noFill/>
            </a:ln>
            <a:effectLst>
              <a:outerShdw blurRad="63500" sx="102000" sy="102000" algn="ctr" rotWithShape="0">
                <a:prstClr val="black">
                  <a:alpha val="40000"/>
                </a:prstClr>
              </a:outerShdw>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30" name="文本框 29">
            <a:extLst>
              <a:ext uri="{FF2B5EF4-FFF2-40B4-BE49-F238E27FC236}">
                <a16:creationId xmlns:a16="http://schemas.microsoft.com/office/drawing/2014/main" id="{43BF76AC-636E-483F-A8E1-04139A0AAD20}"/>
              </a:ext>
            </a:extLst>
          </p:cNvPr>
          <p:cNvSpPr txBox="1"/>
          <p:nvPr/>
        </p:nvSpPr>
        <p:spPr>
          <a:xfrm>
            <a:off x="731520" y="2166323"/>
            <a:ext cx="4493686" cy="430887"/>
          </a:xfrm>
          <a:prstGeom prst="rect">
            <a:avLst/>
          </a:prstGeom>
          <a:noFill/>
        </p:spPr>
        <p:txBody>
          <a:bodyPr wrap="square" rtlCol="0">
            <a:spAutoFit/>
          </a:bodyPr>
          <a:lstStyle/>
          <a:p>
            <a:r>
              <a:rPr lang="zh-CN" altLang="en-US" sz="1100" i="1" dirty="0">
                <a:solidFill>
                  <a:schemeClr val="tx1">
                    <a:lumMod val="75000"/>
                    <a:lumOff val="25000"/>
                  </a:schemeClr>
                </a:solidFill>
              </a:rPr>
              <a:t>用于设计模式恢复的</a:t>
            </a:r>
            <a:r>
              <a:rPr lang="en-US" altLang="zh-CN" sz="1100" i="1" dirty="0">
                <a:solidFill>
                  <a:schemeClr val="tx1">
                    <a:lumMod val="75000"/>
                    <a:lumOff val="25000"/>
                  </a:schemeClr>
                </a:solidFill>
              </a:rPr>
              <a:t>Eclipse</a:t>
            </a:r>
            <a:r>
              <a:rPr lang="zh-CN" altLang="en-US" sz="1100" i="1" dirty="0">
                <a:solidFill>
                  <a:schemeClr val="tx1">
                    <a:lumMod val="75000"/>
                    <a:lumOff val="25000"/>
                  </a:schemeClr>
                </a:solidFill>
              </a:rPr>
              <a:t>插件。通过应用静态和动态分析，</a:t>
            </a:r>
            <a:r>
              <a:rPr lang="en-US" altLang="zh-CN" sz="1100" i="1" dirty="0" err="1">
                <a:solidFill>
                  <a:schemeClr val="tx1">
                    <a:lumMod val="75000"/>
                    <a:lumOff val="25000"/>
                  </a:schemeClr>
                </a:solidFill>
              </a:rPr>
              <a:t>ePAD</a:t>
            </a:r>
            <a:r>
              <a:rPr lang="zh-CN" altLang="en-US" sz="1100" i="1" dirty="0">
                <a:solidFill>
                  <a:schemeClr val="tx1">
                    <a:lumMod val="75000"/>
                    <a:lumOff val="25000"/>
                  </a:schemeClr>
                </a:solidFill>
              </a:rPr>
              <a:t>从</a:t>
            </a:r>
            <a:r>
              <a:rPr lang="en-US" altLang="zh-CN" sz="1100" i="1" dirty="0">
                <a:solidFill>
                  <a:schemeClr val="tx1">
                    <a:lumMod val="75000"/>
                    <a:lumOff val="25000"/>
                  </a:schemeClr>
                </a:solidFill>
              </a:rPr>
              <a:t>Java</a:t>
            </a:r>
            <a:r>
              <a:rPr lang="zh-CN" altLang="en-US" sz="1100" i="1" dirty="0">
                <a:solidFill>
                  <a:schemeClr val="tx1">
                    <a:lumMod val="75000"/>
                    <a:lumOff val="25000"/>
                  </a:schemeClr>
                </a:solidFill>
              </a:rPr>
              <a:t>代码中识别结构和行为设计模式的实例。</a:t>
            </a:r>
          </a:p>
        </p:txBody>
      </p:sp>
      <p:sp>
        <p:nvSpPr>
          <p:cNvPr id="32" name="矩形 31">
            <a:extLst>
              <a:ext uri="{FF2B5EF4-FFF2-40B4-BE49-F238E27FC236}">
                <a16:creationId xmlns:a16="http://schemas.microsoft.com/office/drawing/2014/main" id="{A7A94784-5BB4-430C-9C6F-06EAFA514325}"/>
              </a:ext>
            </a:extLst>
          </p:cNvPr>
          <p:cNvSpPr/>
          <p:nvPr/>
        </p:nvSpPr>
        <p:spPr>
          <a:xfrm>
            <a:off x="762001" y="1742431"/>
            <a:ext cx="2895600" cy="369332"/>
          </a:xfrm>
          <a:prstGeom prst="rect">
            <a:avLst/>
          </a:prstGeom>
        </p:spPr>
        <p:txBody>
          <a:bodyPr wrap="square">
            <a:spAutoFit/>
          </a:bodyPr>
          <a:lstStyle/>
          <a:p>
            <a:r>
              <a:rPr lang="zh-CN" altLang="en-US" b="1" dirty="0"/>
              <a:t>什么是</a:t>
            </a:r>
            <a:r>
              <a:rPr lang="en-US" altLang="zh-CN" b="1" dirty="0" err="1"/>
              <a:t>ePAD</a:t>
            </a:r>
            <a:r>
              <a:rPr lang="en-US" altLang="zh-CN" b="1" dirty="0"/>
              <a:t>?</a:t>
            </a:r>
          </a:p>
        </p:txBody>
      </p:sp>
      <p:grpSp>
        <p:nvGrpSpPr>
          <p:cNvPr id="4" name="组合 3">
            <a:extLst>
              <a:ext uri="{FF2B5EF4-FFF2-40B4-BE49-F238E27FC236}">
                <a16:creationId xmlns:a16="http://schemas.microsoft.com/office/drawing/2014/main" id="{E3CDCADA-EDBD-461D-BE30-BCDFE44F14A4}"/>
              </a:ext>
            </a:extLst>
          </p:cNvPr>
          <p:cNvGrpSpPr/>
          <p:nvPr/>
        </p:nvGrpSpPr>
        <p:grpSpPr>
          <a:xfrm>
            <a:off x="586740" y="1733750"/>
            <a:ext cx="159426" cy="378013"/>
            <a:chOff x="586740" y="1733750"/>
            <a:chExt cx="159426" cy="378013"/>
          </a:xfrm>
        </p:grpSpPr>
        <p:sp>
          <p:nvSpPr>
            <p:cNvPr id="33" name="矩形 32">
              <a:extLst>
                <a:ext uri="{FF2B5EF4-FFF2-40B4-BE49-F238E27FC236}">
                  <a16:creationId xmlns:a16="http://schemas.microsoft.com/office/drawing/2014/main" id="{992B451A-8ED2-40DC-B913-1F55876D9047}"/>
                </a:ext>
              </a:extLst>
            </p:cNvPr>
            <p:cNvSpPr/>
            <p:nvPr/>
          </p:nvSpPr>
          <p:spPr>
            <a:xfrm>
              <a:off x="639882" y="1733750"/>
              <a:ext cx="106284" cy="37801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a:extLst>
                <a:ext uri="{FF2B5EF4-FFF2-40B4-BE49-F238E27FC236}">
                  <a16:creationId xmlns:a16="http://schemas.microsoft.com/office/drawing/2014/main" id="{D1C941BA-B9B4-4F82-8E39-50EA37960EAB}"/>
                </a:ext>
              </a:extLst>
            </p:cNvPr>
            <p:cNvSpPr/>
            <p:nvPr/>
          </p:nvSpPr>
          <p:spPr>
            <a:xfrm>
              <a:off x="586740" y="1733750"/>
              <a:ext cx="106284" cy="378013"/>
            </a:xfrm>
            <a:prstGeom prst="rect">
              <a:avLst/>
            </a:prstGeom>
            <a:solidFill>
              <a:srgbClr val="113583">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3" name="图片 2">
            <a:extLst>
              <a:ext uri="{FF2B5EF4-FFF2-40B4-BE49-F238E27FC236}">
                <a16:creationId xmlns:a16="http://schemas.microsoft.com/office/drawing/2014/main" id="{BE591134-B599-460A-980E-9F1F64535D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58432" y="1361431"/>
            <a:ext cx="4493686" cy="4913424"/>
          </a:xfrm>
          <a:prstGeom prst="rect">
            <a:avLst/>
          </a:prstGeom>
        </p:spPr>
      </p:pic>
      <p:sp>
        <p:nvSpPr>
          <p:cNvPr id="37" name="文本框 36">
            <a:extLst>
              <a:ext uri="{FF2B5EF4-FFF2-40B4-BE49-F238E27FC236}">
                <a16:creationId xmlns:a16="http://schemas.microsoft.com/office/drawing/2014/main" id="{6ACC3820-E22D-4C52-BA9F-1EB8EA9A77AD}"/>
              </a:ext>
            </a:extLst>
          </p:cNvPr>
          <p:cNvSpPr txBox="1"/>
          <p:nvPr/>
        </p:nvSpPr>
        <p:spPr>
          <a:xfrm>
            <a:off x="731520" y="4297680"/>
            <a:ext cx="5692140" cy="261610"/>
          </a:xfrm>
          <a:prstGeom prst="rect">
            <a:avLst/>
          </a:prstGeom>
          <a:noFill/>
        </p:spPr>
        <p:txBody>
          <a:bodyPr wrap="square" rtlCol="0">
            <a:spAutoFit/>
          </a:bodyPr>
          <a:lstStyle/>
          <a:p>
            <a:r>
              <a:rPr lang="zh-CN" altLang="en-US" sz="1100" i="1" dirty="0">
                <a:solidFill>
                  <a:schemeClr val="tx1">
                    <a:lumMod val="75000"/>
                    <a:lumOff val="25000"/>
                  </a:schemeClr>
                </a:solidFill>
              </a:rPr>
              <a:t>图</a:t>
            </a:r>
            <a:r>
              <a:rPr lang="en-US" altLang="zh-CN" sz="1100" i="1" dirty="0">
                <a:solidFill>
                  <a:schemeClr val="tx1">
                    <a:lumMod val="75000"/>
                    <a:lumOff val="25000"/>
                  </a:schemeClr>
                </a:solidFill>
              </a:rPr>
              <a:t>5</a:t>
            </a:r>
            <a:r>
              <a:rPr lang="zh-CN" altLang="en-US" sz="1100" i="1" dirty="0">
                <a:solidFill>
                  <a:schemeClr val="tx1">
                    <a:lumMod val="75000"/>
                    <a:lumOff val="25000"/>
                  </a:schemeClr>
                </a:solidFill>
              </a:rPr>
              <a:t>为</a:t>
            </a:r>
            <a:r>
              <a:rPr lang="en-US" altLang="zh-CN" sz="1100" i="1" dirty="0" err="1">
                <a:solidFill>
                  <a:schemeClr val="tx1">
                    <a:lumMod val="75000"/>
                    <a:lumOff val="25000"/>
                  </a:schemeClr>
                </a:solidFill>
              </a:rPr>
              <a:t>ePAD</a:t>
            </a:r>
            <a:r>
              <a:rPr lang="zh-CN" altLang="en-US" sz="1100" i="1" dirty="0">
                <a:solidFill>
                  <a:schemeClr val="tx1">
                    <a:lumMod val="75000"/>
                    <a:lumOff val="25000"/>
                  </a:schemeClr>
                </a:solidFill>
              </a:rPr>
              <a:t>识别过程的活动图，其中矩形表示数据，圆角矩形表示过程阶段。</a:t>
            </a:r>
          </a:p>
        </p:txBody>
      </p:sp>
      <p:sp>
        <p:nvSpPr>
          <p:cNvPr id="38" name="矩形 37">
            <a:extLst>
              <a:ext uri="{FF2B5EF4-FFF2-40B4-BE49-F238E27FC236}">
                <a16:creationId xmlns:a16="http://schemas.microsoft.com/office/drawing/2014/main" id="{071FDE7B-CD35-4781-9387-6574E216F995}"/>
              </a:ext>
            </a:extLst>
          </p:cNvPr>
          <p:cNvSpPr/>
          <p:nvPr/>
        </p:nvSpPr>
        <p:spPr>
          <a:xfrm>
            <a:off x="762001" y="3886999"/>
            <a:ext cx="2895600" cy="369332"/>
          </a:xfrm>
          <a:prstGeom prst="rect">
            <a:avLst/>
          </a:prstGeom>
        </p:spPr>
        <p:txBody>
          <a:bodyPr wrap="square">
            <a:spAutoFit/>
          </a:bodyPr>
          <a:lstStyle/>
          <a:p>
            <a:r>
              <a:rPr lang="en-US" altLang="zh-CN" b="1" dirty="0" err="1"/>
              <a:t>ePAD</a:t>
            </a:r>
            <a:r>
              <a:rPr lang="zh-CN" altLang="en-US" b="1" dirty="0"/>
              <a:t>工作流程</a:t>
            </a:r>
            <a:endParaRPr lang="en-US" altLang="zh-CN" b="1" dirty="0"/>
          </a:p>
        </p:txBody>
      </p:sp>
      <p:grpSp>
        <p:nvGrpSpPr>
          <p:cNvPr id="8" name="组合 7">
            <a:extLst>
              <a:ext uri="{FF2B5EF4-FFF2-40B4-BE49-F238E27FC236}">
                <a16:creationId xmlns:a16="http://schemas.microsoft.com/office/drawing/2014/main" id="{86F40AA8-7B79-48E5-80A1-61E19A2C5F9F}"/>
              </a:ext>
            </a:extLst>
          </p:cNvPr>
          <p:cNvGrpSpPr/>
          <p:nvPr/>
        </p:nvGrpSpPr>
        <p:grpSpPr>
          <a:xfrm>
            <a:off x="586740" y="3878318"/>
            <a:ext cx="159426" cy="378013"/>
            <a:chOff x="586740" y="3878318"/>
            <a:chExt cx="159426" cy="378013"/>
          </a:xfrm>
        </p:grpSpPr>
        <p:sp>
          <p:nvSpPr>
            <p:cNvPr id="42" name="矩形 41">
              <a:extLst>
                <a:ext uri="{FF2B5EF4-FFF2-40B4-BE49-F238E27FC236}">
                  <a16:creationId xmlns:a16="http://schemas.microsoft.com/office/drawing/2014/main" id="{6DB162C8-5147-4DA3-A576-F8EC3531A9D8}"/>
                </a:ext>
              </a:extLst>
            </p:cNvPr>
            <p:cNvSpPr/>
            <p:nvPr/>
          </p:nvSpPr>
          <p:spPr>
            <a:xfrm>
              <a:off x="639882" y="3878318"/>
              <a:ext cx="106284" cy="37801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a:extLst>
                <a:ext uri="{FF2B5EF4-FFF2-40B4-BE49-F238E27FC236}">
                  <a16:creationId xmlns:a16="http://schemas.microsoft.com/office/drawing/2014/main" id="{0713A0FF-7175-4A06-8E67-DEF1944D9D0C}"/>
                </a:ext>
              </a:extLst>
            </p:cNvPr>
            <p:cNvSpPr/>
            <p:nvPr/>
          </p:nvSpPr>
          <p:spPr>
            <a:xfrm>
              <a:off x="586740" y="3878318"/>
              <a:ext cx="106284" cy="378013"/>
            </a:xfrm>
            <a:prstGeom prst="rect">
              <a:avLst/>
            </a:prstGeom>
            <a:solidFill>
              <a:srgbClr val="113583">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0" name="直接连接符 9">
            <a:extLst>
              <a:ext uri="{FF2B5EF4-FFF2-40B4-BE49-F238E27FC236}">
                <a16:creationId xmlns:a16="http://schemas.microsoft.com/office/drawing/2014/main" id="{45491601-2B01-4EF4-A2D3-8C2FCC341291}"/>
              </a:ext>
            </a:extLst>
          </p:cNvPr>
          <p:cNvCxnSpPr/>
          <p:nvPr/>
        </p:nvCxnSpPr>
        <p:spPr>
          <a:xfrm>
            <a:off x="586740" y="3429000"/>
            <a:ext cx="577596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74840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2" presetClass="entr" presetSubtype="8" accel="10000" fill="hold" nodeType="withEffect" p14:presetBounceEnd="30000">
                                      <p:stCondLst>
                                        <p:cond delay="200"/>
                                      </p:stCondLst>
                                      <p:childTnLst>
                                        <p:set>
                                          <p:cBhvr>
                                            <p:cTn id="11" dur="1" fill="hold">
                                              <p:stCondLst>
                                                <p:cond delay="0"/>
                                              </p:stCondLst>
                                            </p:cTn>
                                            <p:tgtEl>
                                              <p:spTgt spid="4"/>
                                            </p:tgtEl>
                                            <p:attrNameLst>
                                              <p:attrName>style.visibility</p:attrName>
                                            </p:attrNameLst>
                                          </p:cBhvr>
                                          <p:to>
                                            <p:strVal val="visible"/>
                                          </p:to>
                                        </p:set>
                                        <p:anim calcmode="lin" valueType="num" p14:bounceEnd="30000">
                                          <p:cBhvr additive="base">
                                            <p:cTn id="12" dur="500" fill="hold"/>
                                            <p:tgtEl>
                                              <p:spTgt spid="4"/>
                                            </p:tgtEl>
                                            <p:attrNameLst>
                                              <p:attrName>ppt_x</p:attrName>
                                            </p:attrNameLst>
                                          </p:cBhvr>
                                          <p:tavLst>
                                            <p:tav tm="0">
                                              <p:val>
                                                <p:strVal val="0-#ppt_w/2"/>
                                              </p:val>
                                            </p:tav>
                                            <p:tav tm="100000">
                                              <p:val>
                                                <p:strVal val="#ppt_x"/>
                                              </p:val>
                                            </p:tav>
                                          </p:tavLst>
                                        </p:anim>
                                        <p:anim calcmode="lin" valueType="num" p14:bounceEnd="30000">
                                          <p:cBhvr additive="base">
                                            <p:cTn id="13" dur="500" fill="hold"/>
                                            <p:tgtEl>
                                              <p:spTgt spid="4"/>
                                            </p:tgtEl>
                                            <p:attrNameLst>
                                              <p:attrName>ppt_y</p:attrName>
                                            </p:attrNameLst>
                                          </p:cBhvr>
                                          <p:tavLst>
                                            <p:tav tm="0">
                                              <p:val>
                                                <p:strVal val="#ppt_y"/>
                                              </p:val>
                                            </p:tav>
                                            <p:tav tm="100000">
                                              <p:val>
                                                <p:strVal val="#ppt_y"/>
                                              </p:val>
                                            </p:tav>
                                          </p:tavLst>
                                        </p:anim>
                                      </p:childTnLst>
                                    </p:cTn>
                                  </p:par>
                                  <p:par>
                                    <p:cTn id="14" presetID="2" presetClass="entr" presetSubtype="2" accel="10000" fill="hold" grpId="0" nodeType="withEffect" p14:presetBounceEnd="30000">
                                      <p:stCondLst>
                                        <p:cond delay="200"/>
                                      </p:stCondLst>
                                      <p:childTnLst>
                                        <p:set>
                                          <p:cBhvr>
                                            <p:cTn id="15" dur="1" fill="hold">
                                              <p:stCondLst>
                                                <p:cond delay="0"/>
                                              </p:stCondLst>
                                            </p:cTn>
                                            <p:tgtEl>
                                              <p:spTgt spid="32"/>
                                            </p:tgtEl>
                                            <p:attrNameLst>
                                              <p:attrName>style.visibility</p:attrName>
                                            </p:attrNameLst>
                                          </p:cBhvr>
                                          <p:to>
                                            <p:strVal val="visible"/>
                                          </p:to>
                                        </p:set>
                                        <p:anim calcmode="lin" valueType="num" p14:bounceEnd="30000">
                                          <p:cBhvr additive="base">
                                            <p:cTn id="16" dur="500" fill="hold"/>
                                            <p:tgtEl>
                                              <p:spTgt spid="32"/>
                                            </p:tgtEl>
                                            <p:attrNameLst>
                                              <p:attrName>ppt_x</p:attrName>
                                            </p:attrNameLst>
                                          </p:cBhvr>
                                          <p:tavLst>
                                            <p:tav tm="0">
                                              <p:val>
                                                <p:strVal val="1+#ppt_w/2"/>
                                              </p:val>
                                            </p:tav>
                                            <p:tav tm="100000">
                                              <p:val>
                                                <p:strVal val="#ppt_x"/>
                                              </p:val>
                                            </p:tav>
                                          </p:tavLst>
                                        </p:anim>
                                        <p:anim calcmode="lin" valueType="num" p14:bounceEnd="30000">
                                          <p:cBhvr additive="base">
                                            <p:cTn id="17" dur="500" fill="hold"/>
                                            <p:tgtEl>
                                              <p:spTgt spid="32"/>
                                            </p:tgtEl>
                                            <p:attrNameLst>
                                              <p:attrName>ppt_y</p:attrName>
                                            </p:attrNameLst>
                                          </p:cBhvr>
                                          <p:tavLst>
                                            <p:tav tm="0">
                                              <p:val>
                                                <p:strVal val="#ppt_y"/>
                                              </p:val>
                                            </p:tav>
                                            <p:tav tm="100000">
                                              <p:val>
                                                <p:strVal val="#ppt_y"/>
                                              </p:val>
                                            </p:tav>
                                          </p:tavLst>
                                        </p:anim>
                                      </p:childTnLst>
                                    </p:cTn>
                                  </p:par>
                                  <p:par>
                                    <p:cTn id="18" presetID="2" presetClass="entr" presetSubtype="8" accel="10000" fill="hold" grpId="0" nodeType="withEffect" p14:presetBounceEnd="30000">
                                      <p:stCondLst>
                                        <p:cond delay="300"/>
                                      </p:stCondLst>
                                      <p:childTnLst>
                                        <p:set>
                                          <p:cBhvr>
                                            <p:cTn id="19" dur="1" fill="hold">
                                              <p:stCondLst>
                                                <p:cond delay="0"/>
                                              </p:stCondLst>
                                            </p:cTn>
                                            <p:tgtEl>
                                              <p:spTgt spid="30"/>
                                            </p:tgtEl>
                                            <p:attrNameLst>
                                              <p:attrName>style.visibility</p:attrName>
                                            </p:attrNameLst>
                                          </p:cBhvr>
                                          <p:to>
                                            <p:strVal val="visible"/>
                                          </p:to>
                                        </p:set>
                                        <p:anim calcmode="lin" valueType="num" p14:bounceEnd="30000">
                                          <p:cBhvr additive="base">
                                            <p:cTn id="20" dur="500" fill="hold"/>
                                            <p:tgtEl>
                                              <p:spTgt spid="30"/>
                                            </p:tgtEl>
                                            <p:attrNameLst>
                                              <p:attrName>ppt_x</p:attrName>
                                            </p:attrNameLst>
                                          </p:cBhvr>
                                          <p:tavLst>
                                            <p:tav tm="0">
                                              <p:val>
                                                <p:strVal val="0-#ppt_w/2"/>
                                              </p:val>
                                            </p:tav>
                                            <p:tav tm="100000">
                                              <p:val>
                                                <p:strVal val="#ppt_x"/>
                                              </p:val>
                                            </p:tav>
                                          </p:tavLst>
                                        </p:anim>
                                        <p:anim calcmode="lin" valueType="num" p14:bounceEnd="30000">
                                          <p:cBhvr additive="base">
                                            <p:cTn id="21" dur="500" fill="hold"/>
                                            <p:tgtEl>
                                              <p:spTgt spid="30"/>
                                            </p:tgtEl>
                                            <p:attrNameLst>
                                              <p:attrName>ppt_y</p:attrName>
                                            </p:attrNameLst>
                                          </p:cBhvr>
                                          <p:tavLst>
                                            <p:tav tm="0">
                                              <p:val>
                                                <p:strVal val="#ppt_y"/>
                                              </p:val>
                                            </p:tav>
                                            <p:tav tm="100000">
                                              <p:val>
                                                <p:strVal val="#ppt_y"/>
                                              </p:val>
                                            </p:tav>
                                          </p:tavLst>
                                        </p:anim>
                                      </p:childTnLst>
                                    </p:cTn>
                                  </p:par>
                                  <p:par>
                                    <p:cTn id="22" presetID="10" presetClass="entr" presetSubtype="0" fill="hold" nodeType="withEffect">
                                      <p:stCondLst>
                                        <p:cond delay="30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2" presetClass="entr" presetSubtype="8" accel="10000" fill="hold" nodeType="withEffect" p14:presetBounceEnd="30000">
                                      <p:stCondLst>
                                        <p:cond delay="500"/>
                                      </p:stCondLst>
                                      <p:childTnLst>
                                        <p:set>
                                          <p:cBhvr>
                                            <p:cTn id="26" dur="1" fill="hold">
                                              <p:stCondLst>
                                                <p:cond delay="0"/>
                                              </p:stCondLst>
                                            </p:cTn>
                                            <p:tgtEl>
                                              <p:spTgt spid="8"/>
                                            </p:tgtEl>
                                            <p:attrNameLst>
                                              <p:attrName>style.visibility</p:attrName>
                                            </p:attrNameLst>
                                          </p:cBhvr>
                                          <p:to>
                                            <p:strVal val="visible"/>
                                          </p:to>
                                        </p:set>
                                        <p:anim calcmode="lin" valueType="num" p14:bounceEnd="30000">
                                          <p:cBhvr additive="base">
                                            <p:cTn id="27" dur="500" fill="hold"/>
                                            <p:tgtEl>
                                              <p:spTgt spid="8"/>
                                            </p:tgtEl>
                                            <p:attrNameLst>
                                              <p:attrName>ppt_x</p:attrName>
                                            </p:attrNameLst>
                                          </p:cBhvr>
                                          <p:tavLst>
                                            <p:tav tm="0">
                                              <p:val>
                                                <p:strVal val="0-#ppt_w/2"/>
                                              </p:val>
                                            </p:tav>
                                            <p:tav tm="100000">
                                              <p:val>
                                                <p:strVal val="#ppt_x"/>
                                              </p:val>
                                            </p:tav>
                                          </p:tavLst>
                                        </p:anim>
                                        <p:anim calcmode="lin" valueType="num" p14:bounceEnd="30000">
                                          <p:cBhvr additive="base">
                                            <p:cTn id="28" dur="500" fill="hold"/>
                                            <p:tgtEl>
                                              <p:spTgt spid="8"/>
                                            </p:tgtEl>
                                            <p:attrNameLst>
                                              <p:attrName>ppt_y</p:attrName>
                                            </p:attrNameLst>
                                          </p:cBhvr>
                                          <p:tavLst>
                                            <p:tav tm="0">
                                              <p:val>
                                                <p:strVal val="#ppt_y"/>
                                              </p:val>
                                            </p:tav>
                                            <p:tav tm="100000">
                                              <p:val>
                                                <p:strVal val="#ppt_y"/>
                                              </p:val>
                                            </p:tav>
                                          </p:tavLst>
                                        </p:anim>
                                      </p:childTnLst>
                                    </p:cTn>
                                  </p:par>
                                  <p:par>
                                    <p:cTn id="29" presetID="2" presetClass="entr" presetSubtype="2" accel="10000" fill="hold" grpId="0" nodeType="withEffect" p14:presetBounceEnd="30000">
                                      <p:stCondLst>
                                        <p:cond delay="600"/>
                                      </p:stCondLst>
                                      <p:childTnLst>
                                        <p:set>
                                          <p:cBhvr>
                                            <p:cTn id="30" dur="1" fill="hold">
                                              <p:stCondLst>
                                                <p:cond delay="0"/>
                                              </p:stCondLst>
                                            </p:cTn>
                                            <p:tgtEl>
                                              <p:spTgt spid="38"/>
                                            </p:tgtEl>
                                            <p:attrNameLst>
                                              <p:attrName>style.visibility</p:attrName>
                                            </p:attrNameLst>
                                          </p:cBhvr>
                                          <p:to>
                                            <p:strVal val="visible"/>
                                          </p:to>
                                        </p:set>
                                        <p:anim calcmode="lin" valueType="num" p14:bounceEnd="30000">
                                          <p:cBhvr additive="base">
                                            <p:cTn id="31" dur="500" fill="hold"/>
                                            <p:tgtEl>
                                              <p:spTgt spid="38"/>
                                            </p:tgtEl>
                                            <p:attrNameLst>
                                              <p:attrName>ppt_x</p:attrName>
                                            </p:attrNameLst>
                                          </p:cBhvr>
                                          <p:tavLst>
                                            <p:tav tm="0">
                                              <p:val>
                                                <p:strVal val="1+#ppt_w/2"/>
                                              </p:val>
                                            </p:tav>
                                            <p:tav tm="100000">
                                              <p:val>
                                                <p:strVal val="#ppt_x"/>
                                              </p:val>
                                            </p:tav>
                                          </p:tavLst>
                                        </p:anim>
                                        <p:anim calcmode="lin" valueType="num" p14:bounceEnd="30000">
                                          <p:cBhvr additive="base">
                                            <p:cTn id="32" dur="500" fill="hold"/>
                                            <p:tgtEl>
                                              <p:spTgt spid="38"/>
                                            </p:tgtEl>
                                            <p:attrNameLst>
                                              <p:attrName>ppt_y</p:attrName>
                                            </p:attrNameLst>
                                          </p:cBhvr>
                                          <p:tavLst>
                                            <p:tav tm="0">
                                              <p:val>
                                                <p:strVal val="#ppt_y"/>
                                              </p:val>
                                            </p:tav>
                                            <p:tav tm="100000">
                                              <p:val>
                                                <p:strVal val="#ppt_y"/>
                                              </p:val>
                                            </p:tav>
                                          </p:tavLst>
                                        </p:anim>
                                      </p:childTnLst>
                                    </p:cTn>
                                  </p:par>
                                  <p:par>
                                    <p:cTn id="33" presetID="2" presetClass="entr" presetSubtype="8" accel="10000" fill="hold" grpId="0" nodeType="withEffect" p14:presetBounceEnd="30000">
                                      <p:stCondLst>
                                        <p:cond delay="800"/>
                                      </p:stCondLst>
                                      <p:childTnLst>
                                        <p:set>
                                          <p:cBhvr>
                                            <p:cTn id="34" dur="1" fill="hold">
                                              <p:stCondLst>
                                                <p:cond delay="0"/>
                                              </p:stCondLst>
                                            </p:cTn>
                                            <p:tgtEl>
                                              <p:spTgt spid="37"/>
                                            </p:tgtEl>
                                            <p:attrNameLst>
                                              <p:attrName>style.visibility</p:attrName>
                                            </p:attrNameLst>
                                          </p:cBhvr>
                                          <p:to>
                                            <p:strVal val="visible"/>
                                          </p:to>
                                        </p:set>
                                        <p:anim calcmode="lin" valueType="num" p14:bounceEnd="30000">
                                          <p:cBhvr additive="base">
                                            <p:cTn id="35" dur="500" fill="hold"/>
                                            <p:tgtEl>
                                              <p:spTgt spid="37"/>
                                            </p:tgtEl>
                                            <p:attrNameLst>
                                              <p:attrName>ppt_x</p:attrName>
                                            </p:attrNameLst>
                                          </p:cBhvr>
                                          <p:tavLst>
                                            <p:tav tm="0">
                                              <p:val>
                                                <p:strVal val="0-#ppt_w/2"/>
                                              </p:val>
                                            </p:tav>
                                            <p:tav tm="100000">
                                              <p:val>
                                                <p:strVal val="#ppt_x"/>
                                              </p:val>
                                            </p:tav>
                                          </p:tavLst>
                                        </p:anim>
                                        <p:anim calcmode="lin" valueType="num" p14:bounceEnd="30000">
                                          <p:cBhvr additive="base">
                                            <p:cTn id="36" dur="500" fill="hold"/>
                                            <p:tgtEl>
                                              <p:spTgt spid="37"/>
                                            </p:tgtEl>
                                            <p:attrNameLst>
                                              <p:attrName>ppt_y</p:attrName>
                                            </p:attrNameLst>
                                          </p:cBhvr>
                                          <p:tavLst>
                                            <p:tav tm="0">
                                              <p:val>
                                                <p:strVal val="#ppt_y"/>
                                              </p:val>
                                            </p:tav>
                                            <p:tav tm="100000">
                                              <p:val>
                                                <p:strVal val="#ppt_y"/>
                                              </p:val>
                                            </p:tav>
                                          </p:tavLst>
                                        </p:anim>
                                      </p:childTnLst>
                                    </p:cTn>
                                  </p:par>
                                  <p:par>
                                    <p:cTn id="37" presetID="10" presetClass="entr" presetSubtype="0" fill="hold" nodeType="withEffect">
                                      <p:stCondLst>
                                        <p:cond delay="80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2" grpId="0"/>
          <p:bldP spid="37" grpId="0"/>
          <p:bldP spid="3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2" presetClass="entr" presetSubtype="8" accel="10000" fill="hold" nodeType="withEffect">
                                      <p:stCondLst>
                                        <p:cond delay="20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0-#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par>
                                    <p:cTn id="14" presetID="2" presetClass="entr" presetSubtype="2" accel="10000" fill="hold" grpId="0" nodeType="withEffect">
                                      <p:stCondLst>
                                        <p:cond delay="200"/>
                                      </p:stCondLst>
                                      <p:childTnLst>
                                        <p:set>
                                          <p:cBhvr>
                                            <p:cTn id="15" dur="1" fill="hold">
                                              <p:stCondLst>
                                                <p:cond delay="0"/>
                                              </p:stCondLst>
                                            </p:cTn>
                                            <p:tgtEl>
                                              <p:spTgt spid="32"/>
                                            </p:tgtEl>
                                            <p:attrNameLst>
                                              <p:attrName>style.visibility</p:attrName>
                                            </p:attrNameLst>
                                          </p:cBhvr>
                                          <p:to>
                                            <p:strVal val="visible"/>
                                          </p:to>
                                        </p:set>
                                        <p:anim calcmode="lin" valueType="num">
                                          <p:cBhvr additive="base">
                                            <p:cTn id="16" dur="500" fill="hold"/>
                                            <p:tgtEl>
                                              <p:spTgt spid="32"/>
                                            </p:tgtEl>
                                            <p:attrNameLst>
                                              <p:attrName>ppt_x</p:attrName>
                                            </p:attrNameLst>
                                          </p:cBhvr>
                                          <p:tavLst>
                                            <p:tav tm="0">
                                              <p:val>
                                                <p:strVal val="1+#ppt_w/2"/>
                                              </p:val>
                                            </p:tav>
                                            <p:tav tm="100000">
                                              <p:val>
                                                <p:strVal val="#ppt_x"/>
                                              </p:val>
                                            </p:tav>
                                          </p:tavLst>
                                        </p:anim>
                                        <p:anim calcmode="lin" valueType="num">
                                          <p:cBhvr additive="base">
                                            <p:cTn id="17" dur="500" fill="hold"/>
                                            <p:tgtEl>
                                              <p:spTgt spid="32"/>
                                            </p:tgtEl>
                                            <p:attrNameLst>
                                              <p:attrName>ppt_y</p:attrName>
                                            </p:attrNameLst>
                                          </p:cBhvr>
                                          <p:tavLst>
                                            <p:tav tm="0">
                                              <p:val>
                                                <p:strVal val="#ppt_y"/>
                                              </p:val>
                                            </p:tav>
                                            <p:tav tm="100000">
                                              <p:val>
                                                <p:strVal val="#ppt_y"/>
                                              </p:val>
                                            </p:tav>
                                          </p:tavLst>
                                        </p:anim>
                                      </p:childTnLst>
                                    </p:cTn>
                                  </p:par>
                                  <p:par>
                                    <p:cTn id="18" presetID="2" presetClass="entr" presetSubtype="8" accel="10000" fill="hold" grpId="0" nodeType="withEffect">
                                      <p:stCondLst>
                                        <p:cond delay="30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500" fill="hold"/>
                                            <p:tgtEl>
                                              <p:spTgt spid="30"/>
                                            </p:tgtEl>
                                            <p:attrNameLst>
                                              <p:attrName>ppt_x</p:attrName>
                                            </p:attrNameLst>
                                          </p:cBhvr>
                                          <p:tavLst>
                                            <p:tav tm="0">
                                              <p:val>
                                                <p:strVal val="0-#ppt_w/2"/>
                                              </p:val>
                                            </p:tav>
                                            <p:tav tm="100000">
                                              <p:val>
                                                <p:strVal val="#ppt_x"/>
                                              </p:val>
                                            </p:tav>
                                          </p:tavLst>
                                        </p:anim>
                                        <p:anim calcmode="lin" valueType="num">
                                          <p:cBhvr additive="base">
                                            <p:cTn id="21" dur="500" fill="hold"/>
                                            <p:tgtEl>
                                              <p:spTgt spid="30"/>
                                            </p:tgtEl>
                                            <p:attrNameLst>
                                              <p:attrName>ppt_y</p:attrName>
                                            </p:attrNameLst>
                                          </p:cBhvr>
                                          <p:tavLst>
                                            <p:tav tm="0">
                                              <p:val>
                                                <p:strVal val="#ppt_y"/>
                                              </p:val>
                                            </p:tav>
                                            <p:tav tm="100000">
                                              <p:val>
                                                <p:strVal val="#ppt_y"/>
                                              </p:val>
                                            </p:tav>
                                          </p:tavLst>
                                        </p:anim>
                                      </p:childTnLst>
                                    </p:cTn>
                                  </p:par>
                                  <p:par>
                                    <p:cTn id="22" presetID="10" presetClass="entr" presetSubtype="0" fill="hold" nodeType="withEffect">
                                      <p:stCondLst>
                                        <p:cond delay="30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2" presetClass="entr" presetSubtype="8" accel="10000" fill="hold" nodeType="withEffect">
                                      <p:stCondLst>
                                        <p:cond delay="50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0-#ppt_w/2"/>
                                              </p:val>
                                            </p:tav>
                                            <p:tav tm="100000">
                                              <p:val>
                                                <p:strVal val="#ppt_x"/>
                                              </p:val>
                                            </p:tav>
                                          </p:tavLst>
                                        </p:anim>
                                        <p:anim calcmode="lin" valueType="num">
                                          <p:cBhvr additive="base">
                                            <p:cTn id="28" dur="500" fill="hold"/>
                                            <p:tgtEl>
                                              <p:spTgt spid="8"/>
                                            </p:tgtEl>
                                            <p:attrNameLst>
                                              <p:attrName>ppt_y</p:attrName>
                                            </p:attrNameLst>
                                          </p:cBhvr>
                                          <p:tavLst>
                                            <p:tav tm="0">
                                              <p:val>
                                                <p:strVal val="#ppt_y"/>
                                              </p:val>
                                            </p:tav>
                                            <p:tav tm="100000">
                                              <p:val>
                                                <p:strVal val="#ppt_y"/>
                                              </p:val>
                                            </p:tav>
                                          </p:tavLst>
                                        </p:anim>
                                      </p:childTnLst>
                                    </p:cTn>
                                  </p:par>
                                  <p:par>
                                    <p:cTn id="29" presetID="2" presetClass="entr" presetSubtype="2" accel="10000" fill="hold" grpId="0" nodeType="withEffect">
                                      <p:stCondLst>
                                        <p:cond delay="600"/>
                                      </p:stCondLst>
                                      <p:childTnLst>
                                        <p:set>
                                          <p:cBhvr>
                                            <p:cTn id="30" dur="1" fill="hold">
                                              <p:stCondLst>
                                                <p:cond delay="0"/>
                                              </p:stCondLst>
                                            </p:cTn>
                                            <p:tgtEl>
                                              <p:spTgt spid="38"/>
                                            </p:tgtEl>
                                            <p:attrNameLst>
                                              <p:attrName>style.visibility</p:attrName>
                                            </p:attrNameLst>
                                          </p:cBhvr>
                                          <p:to>
                                            <p:strVal val="visible"/>
                                          </p:to>
                                        </p:set>
                                        <p:anim calcmode="lin" valueType="num">
                                          <p:cBhvr additive="base">
                                            <p:cTn id="31" dur="500" fill="hold"/>
                                            <p:tgtEl>
                                              <p:spTgt spid="38"/>
                                            </p:tgtEl>
                                            <p:attrNameLst>
                                              <p:attrName>ppt_x</p:attrName>
                                            </p:attrNameLst>
                                          </p:cBhvr>
                                          <p:tavLst>
                                            <p:tav tm="0">
                                              <p:val>
                                                <p:strVal val="1+#ppt_w/2"/>
                                              </p:val>
                                            </p:tav>
                                            <p:tav tm="100000">
                                              <p:val>
                                                <p:strVal val="#ppt_x"/>
                                              </p:val>
                                            </p:tav>
                                          </p:tavLst>
                                        </p:anim>
                                        <p:anim calcmode="lin" valueType="num">
                                          <p:cBhvr additive="base">
                                            <p:cTn id="32" dur="500" fill="hold"/>
                                            <p:tgtEl>
                                              <p:spTgt spid="38"/>
                                            </p:tgtEl>
                                            <p:attrNameLst>
                                              <p:attrName>ppt_y</p:attrName>
                                            </p:attrNameLst>
                                          </p:cBhvr>
                                          <p:tavLst>
                                            <p:tav tm="0">
                                              <p:val>
                                                <p:strVal val="#ppt_y"/>
                                              </p:val>
                                            </p:tav>
                                            <p:tav tm="100000">
                                              <p:val>
                                                <p:strVal val="#ppt_y"/>
                                              </p:val>
                                            </p:tav>
                                          </p:tavLst>
                                        </p:anim>
                                      </p:childTnLst>
                                    </p:cTn>
                                  </p:par>
                                  <p:par>
                                    <p:cTn id="33" presetID="2" presetClass="entr" presetSubtype="8" accel="10000" fill="hold" grpId="0" nodeType="withEffect">
                                      <p:stCondLst>
                                        <p:cond delay="800"/>
                                      </p:stCondLst>
                                      <p:childTnLst>
                                        <p:set>
                                          <p:cBhvr>
                                            <p:cTn id="34" dur="1" fill="hold">
                                              <p:stCondLst>
                                                <p:cond delay="0"/>
                                              </p:stCondLst>
                                            </p:cTn>
                                            <p:tgtEl>
                                              <p:spTgt spid="37"/>
                                            </p:tgtEl>
                                            <p:attrNameLst>
                                              <p:attrName>style.visibility</p:attrName>
                                            </p:attrNameLst>
                                          </p:cBhvr>
                                          <p:to>
                                            <p:strVal val="visible"/>
                                          </p:to>
                                        </p:set>
                                        <p:anim calcmode="lin" valueType="num">
                                          <p:cBhvr additive="base">
                                            <p:cTn id="35" dur="500" fill="hold"/>
                                            <p:tgtEl>
                                              <p:spTgt spid="37"/>
                                            </p:tgtEl>
                                            <p:attrNameLst>
                                              <p:attrName>ppt_x</p:attrName>
                                            </p:attrNameLst>
                                          </p:cBhvr>
                                          <p:tavLst>
                                            <p:tav tm="0">
                                              <p:val>
                                                <p:strVal val="0-#ppt_w/2"/>
                                              </p:val>
                                            </p:tav>
                                            <p:tav tm="100000">
                                              <p:val>
                                                <p:strVal val="#ppt_x"/>
                                              </p:val>
                                            </p:tav>
                                          </p:tavLst>
                                        </p:anim>
                                        <p:anim calcmode="lin" valueType="num">
                                          <p:cBhvr additive="base">
                                            <p:cTn id="36" dur="500" fill="hold"/>
                                            <p:tgtEl>
                                              <p:spTgt spid="37"/>
                                            </p:tgtEl>
                                            <p:attrNameLst>
                                              <p:attrName>ppt_y</p:attrName>
                                            </p:attrNameLst>
                                          </p:cBhvr>
                                          <p:tavLst>
                                            <p:tav tm="0">
                                              <p:val>
                                                <p:strVal val="#ppt_y"/>
                                              </p:val>
                                            </p:tav>
                                            <p:tav tm="100000">
                                              <p:val>
                                                <p:strVal val="#ppt_y"/>
                                              </p:val>
                                            </p:tav>
                                          </p:tavLst>
                                        </p:anim>
                                      </p:childTnLst>
                                    </p:cTn>
                                  </p:par>
                                  <p:par>
                                    <p:cTn id="37" presetID="10" presetClass="entr" presetSubtype="0" fill="hold" nodeType="withEffect">
                                      <p:stCondLst>
                                        <p:cond delay="80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2" grpId="0"/>
          <p:bldP spid="37" grpId="0"/>
          <p:bldP spid="38" grpId="0"/>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A8192C64-6733-4A94-B0E2-D476E4C54CCA}"/>
              </a:ext>
            </a:extLst>
          </p:cNvPr>
          <p:cNvGrpSpPr/>
          <p:nvPr/>
        </p:nvGrpSpPr>
        <p:grpSpPr>
          <a:xfrm>
            <a:off x="-43962" y="-2"/>
            <a:ext cx="12265321" cy="1081456"/>
            <a:chOff x="-43962" y="-2"/>
            <a:chExt cx="12265321" cy="1081456"/>
          </a:xfrm>
        </p:grpSpPr>
        <p:grpSp>
          <p:nvGrpSpPr>
            <p:cNvPr id="5" name="组合 4">
              <a:extLst>
                <a:ext uri="{FF2B5EF4-FFF2-40B4-BE49-F238E27FC236}">
                  <a16:creationId xmlns:a16="http://schemas.microsoft.com/office/drawing/2014/main" id="{A02D8D5F-9092-40A1-BEE7-2E18BC595794}"/>
                </a:ext>
              </a:extLst>
            </p:cNvPr>
            <p:cNvGrpSpPr/>
            <p:nvPr/>
          </p:nvGrpSpPr>
          <p:grpSpPr>
            <a:xfrm rot="10800000">
              <a:off x="-43962" y="-2"/>
              <a:ext cx="12265321" cy="1081456"/>
              <a:chOff x="1" y="5010588"/>
              <a:chExt cx="12265322" cy="1905823"/>
            </a:xfrm>
          </p:grpSpPr>
          <p:sp>
            <p:nvSpPr>
              <p:cNvPr id="6" name="îṧļiḑe">
                <a:extLst>
                  <a:ext uri="{FF2B5EF4-FFF2-40B4-BE49-F238E27FC236}">
                    <a16:creationId xmlns:a16="http://schemas.microsoft.com/office/drawing/2014/main" id="{49F6E0D8-E3BC-4BD3-84FB-161A76550555}"/>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îṩľiḑê">
                <a:extLst>
                  <a:ext uri="{FF2B5EF4-FFF2-40B4-BE49-F238E27FC236}">
                    <a16:creationId xmlns:a16="http://schemas.microsoft.com/office/drawing/2014/main" id="{E47AD772-61D7-455A-AF1D-07952261DFE2}"/>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sp>
          <p:nvSpPr>
            <p:cNvPr id="9" name="矩形 8">
              <a:extLst>
                <a:ext uri="{FF2B5EF4-FFF2-40B4-BE49-F238E27FC236}">
                  <a16:creationId xmlns:a16="http://schemas.microsoft.com/office/drawing/2014/main" id="{559493B6-54D5-4BFB-8173-8ADF4B215E18}"/>
                </a:ext>
              </a:extLst>
            </p:cNvPr>
            <p:cNvSpPr/>
            <p:nvPr/>
          </p:nvSpPr>
          <p:spPr>
            <a:xfrm>
              <a:off x="1028700" y="139985"/>
              <a:ext cx="9944100" cy="369332"/>
            </a:xfrm>
            <a:prstGeom prst="rect">
              <a:avLst/>
            </a:prstGeom>
          </p:spPr>
          <p:txBody>
            <a:bodyPr wrap="square">
              <a:spAutoFit/>
            </a:bodyPr>
            <a:lstStyle/>
            <a:p>
              <a:r>
                <a:rPr lang="zh-CN" altLang="en-US" dirty="0">
                  <a:solidFill>
                    <a:schemeClr val="bg1"/>
                  </a:solidFill>
                </a:rPr>
                <a:t>简述</a:t>
              </a:r>
              <a:r>
                <a:rPr lang="en-US" altLang="zh-CN" dirty="0" err="1">
                  <a:solidFill>
                    <a:schemeClr val="bg1"/>
                  </a:solidFill>
                </a:rPr>
                <a:t>ePAD</a:t>
              </a:r>
              <a:r>
                <a:rPr lang="zh-CN" altLang="en-US" dirty="0">
                  <a:solidFill>
                    <a:schemeClr val="bg1"/>
                  </a:solidFill>
                </a:rPr>
                <a:t>如何恢复设计模式实例 </a:t>
              </a:r>
            </a:p>
          </p:txBody>
        </p:sp>
        <p:sp>
          <p:nvSpPr>
            <p:cNvPr id="29" name="ïṧ1ïḓè">
              <a:extLst>
                <a:ext uri="{FF2B5EF4-FFF2-40B4-BE49-F238E27FC236}">
                  <a16:creationId xmlns:a16="http://schemas.microsoft.com/office/drawing/2014/main" id="{9AD00169-7D5E-4C65-B639-7D61B5B46787}"/>
                </a:ext>
              </a:extLst>
            </p:cNvPr>
            <p:cNvSpPr/>
            <p:nvPr/>
          </p:nvSpPr>
          <p:spPr bwMode="auto">
            <a:xfrm>
              <a:off x="378118" y="126361"/>
              <a:ext cx="454522" cy="453854"/>
            </a:xfrm>
            <a:custGeom>
              <a:avLst/>
              <a:gdLst>
                <a:gd name="T0" fmla="*/ 5325 w 5608"/>
                <a:gd name="T1" fmla="*/ 2335 h 5608"/>
                <a:gd name="T2" fmla="*/ 4864 w 5608"/>
                <a:gd name="T3" fmla="*/ 1873 h 5608"/>
                <a:gd name="T4" fmla="*/ 5001 w 5608"/>
                <a:gd name="T5" fmla="*/ 1736 h 5608"/>
                <a:gd name="T6" fmla="*/ 5001 w 5608"/>
                <a:gd name="T7" fmla="*/ 710 h 5608"/>
                <a:gd name="T8" fmla="*/ 4899 w 5608"/>
                <a:gd name="T9" fmla="*/ 607 h 5608"/>
                <a:gd name="T10" fmla="*/ 3873 w 5608"/>
                <a:gd name="T11" fmla="*/ 607 h 5608"/>
                <a:gd name="T12" fmla="*/ 3735 w 5608"/>
                <a:gd name="T13" fmla="*/ 745 h 5608"/>
                <a:gd name="T14" fmla="*/ 3274 w 5608"/>
                <a:gd name="T15" fmla="*/ 283 h 5608"/>
                <a:gd name="T16" fmla="*/ 2248 w 5608"/>
                <a:gd name="T17" fmla="*/ 283 h 5608"/>
                <a:gd name="T18" fmla="*/ 1830 w 5608"/>
                <a:gd name="T19" fmla="*/ 702 h 5608"/>
                <a:gd name="T20" fmla="*/ 2144 w 5608"/>
                <a:gd name="T21" fmla="*/ 1015 h 5608"/>
                <a:gd name="T22" fmla="*/ 2144 w 5608"/>
                <a:gd name="T23" fmla="*/ 2041 h 5608"/>
                <a:gd name="T24" fmla="*/ 2041 w 5608"/>
                <a:gd name="T25" fmla="*/ 2144 h 5608"/>
                <a:gd name="T26" fmla="*/ 1015 w 5608"/>
                <a:gd name="T27" fmla="*/ 2144 h 5608"/>
                <a:gd name="T28" fmla="*/ 702 w 5608"/>
                <a:gd name="T29" fmla="*/ 1830 h 5608"/>
                <a:gd name="T30" fmla="*/ 283 w 5608"/>
                <a:gd name="T31" fmla="*/ 2248 h 5608"/>
                <a:gd name="T32" fmla="*/ 283 w 5608"/>
                <a:gd name="T33" fmla="*/ 3274 h 5608"/>
                <a:gd name="T34" fmla="*/ 745 w 5608"/>
                <a:gd name="T35" fmla="*/ 3735 h 5608"/>
                <a:gd name="T36" fmla="*/ 1042 w 5608"/>
                <a:gd name="T37" fmla="*/ 3439 h 5608"/>
                <a:gd name="T38" fmla="*/ 2068 w 5608"/>
                <a:gd name="T39" fmla="*/ 3439 h 5608"/>
                <a:gd name="T40" fmla="*/ 2170 w 5608"/>
                <a:gd name="T41" fmla="*/ 3541 h 5608"/>
                <a:gd name="T42" fmla="*/ 2170 w 5608"/>
                <a:gd name="T43" fmla="*/ 4567 h 5608"/>
                <a:gd name="T44" fmla="*/ 1873 w 5608"/>
                <a:gd name="T45" fmla="*/ 4864 h 5608"/>
                <a:gd name="T46" fmla="*/ 2335 w 5608"/>
                <a:gd name="T47" fmla="*/ 5325 h 5608"/>
                <a:gd name="T48" fmla="*/ 3361 w 5608"/>
                <a:gd name="T49" fmla="*/ 5325 h 5608"/>
                <a:gd name="T50" fmla="*/ 3779 w 5608"/>
                <a:gd name="T51" fmla="*/ 4907 h 5608"/>
                <a:gd name="T52" fmla="*/ 3956 w 5608"/>
                <a:gd name="T53" fmla="*/ 5084 h 5608"/>
                <a:gd name="T54" fmla="*/ 4982 w 5608"/>
                <a:gd name="T55" fmla="*/ 5084 h 5608"/>
                <a:gd name="T56" fmla="*/ 5084 w 5608"/>
                <a:gd name="T57" fmla="*/ 4982 h 5608"/>
                <a:gd name="T58" fmla="*/ 5084 w 5608"/>
                <a:gd name="T59" fmla="*/ 3956 h 5608"/>
                <a:gd name="T60" fmla="*/ 4907 w 5608"/>
                <a:gd name="T61" fmla="*/ 3779 h 5608"/>
                <a:gd name="T62" fmla="*/ 5325 w 5608"/>
                <a:gd name="T63" fmla="*/ 3361 h 5608"/>
                <a:gd name="T64" fmla="*/ 5325 w 5608"/>
                <a:gd name="T65" fmla="*/ 2335 h 5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08" h="5608">
                  <a:moveTo>
                    <a:pt x="5325" y="2335"/>
                  </a:moveTo>
                  <a:lnTo>
                    <a:pt x="4864" y="1873"/>
                  </a:lnTo>
                  <a:lnTo>
                    <a:pt x="5001" y="1736"/>
                  </a:lnTo>
                  <a:cubicBezTo>
                    <a:pt x="5285" y="1452"/>
                    <a:pt x="5285" y="993"/>
                    <a:pt x="5001" y="710"/>
                  </a:cubicBezTo>
                  <a:lnTo>
                    <a:pt x="4899" y="607"/>
                  </a:lnTo>
                  <a:cubicBezTo>
                    <a:pt x="4616" y="324"/>
                    <a:pt x="4156" y="324"/>
                    <a:pt x="3873" y="607"/>
                  </a:cubicBezTo>
                  <a:lnTo>
                    <a:pt x="3735" y="745"/>
                  </a:lnTo>
                  <a:lnTo>
                    <a:pt x="3274" y="283"/>
                  </a:lnTo>
                  <a:cubicBezTo>
                    <a:pt x="2991" y="0"/>
                    <a:pt x="2531" y="0"/>
                    <a:pt x="2248" y="283"/>
                  </a:cubicBezTo>
                  <a:lnTo>
                    <a:pt x="1830" y="702"/>
                  </a:lnTo>
                  <a:lnTo>
                    <a:pt x="2144" y="1015"/>
                  </a:lnTo>
                  <a:cubicBezTo>
                    <a:pt x="2427" y="1299"/>
                    <a:pt x="2427" y="1758"/>
                    <a:pt x="2144" y="2041"/>
                  </a:cubicBezTo>
                  <a:lnTo>
                    <a:pt x="2041" y="2144"/>
                  </a:lnTo>
                  <a:cubicBezTo>
                    <a:pt x="1758" y="2427"/>
                    <a:pt x="1299" y="2427"/>
                    <a:pt x="1015" y="2144"/>
                  </a:cubicBezTo>
                  <a:lnTo>
                    <a:pt x="702" y="1830"/>
                  </a:lnTo>
                  <a:lnTo>
                    <a:pt x="283" y="2248"/>
                  </a:lnTo>
                  <a:cubicBezTo>
                    <a:pt x="0" y="2531"/>
                    <a:pt x="0" y="2991"/>
                    <a:pt x="283" y="3274"/>
                  </a:cubicBezTo>
                  <a:lnTo>
                    <a:pt x="745" y="3735"/>
                  </a:lnTo>
                  <a:lnTo>
                    <a:pt x="1042" y="3439"/>
                  </a:lnTo>
                  <a:cubicBezTo>
                    <a:pt x="1325" y="3155"/>
                    <a:pt x="1784" y="3155"/>
                    <a:pt x="2068" y="3439"/>
                  </a:cubicBezTo>
                  <a:lnTo>
                    <a:pt x="2170" y="3541"/>
                  </a:lnTo>
                  <a:cubicBezTo>
                    <a:pt x="2453" y="3824"/>
                    <a:pt x="2453" y="4284"/>
                    <a:pt x="2170" y="4567"/>
                  </a:cubicBezTo>
                  <a:lnTo>
                    <a:pt x="1873" y="4864"/>
                  </a:lnTo>
                  <a:lnTo>
                    <a:pt x="2335" y="5325"/>
                  </a:lnTo>
                  <a:cubicBezTo>
                    <a:pt x="2618" y="5608"/>
                    <a:pt x="3077" y="5608"/>
                    <a:pt x="3361" y="5325"/>
                  </a:cubicBezTo>
                  <a:lnTo>
                    <a:pt x="3779" y="4907"/>
                  </a:lnTo>
                  <a:lnTo>
                    <a:pt x="3956" y="5084"/>
                  </a:lnTo>
                  <a:cubicBezTo>
                    <a:pt x="4239" y="5367"/>
                    <a:pt x="4698" y="5367"/>
                    <a:pt x="4982" y="5084"/>
                  </a:cubicBezTo>
                  <a:lnTo>
                    <a:pt x="5084" y="4982"/>
                  </a:lnTo>
                  <a:cubicBezTo>
                    <a:pt x="5367" y="4698"/>
                    <a:pt x="5367" y="4239"/>
                    <a:pt x="5084" y="3956"/>
                  </a:cubicBezTo>
                  <a:lnTo>
                    <a:pt x="4907" y="3779"/>
                  </a:lnTo>
                  <a:lnTo>
                    <a:pt x="5325" y="3361"/>
                  </a:lnTo>
                  <a:cubicBezTo>
                    <a:pt x="5608" y="3077"/>
                    <a:pt x="5608" y="2618"/>
                    <a:pt x="5325" y="2335"/>
                  </a:cubicBezTo>
                  <a:close/>
                </a:path>
              </a:pathLst>
            </a:custGeom>
            <a:solidFill>
              <a:schemeClr val="bg1"/>
            </a:solidFill>
            <a:ln>
              <a:noFill/>
            </a:ln>
            <a:effectLst>
              <a:outerShdw blurRad="63500" sx="102000" sy="102000" algn="ctr" rotWithShape="0">
                <a:prstClr val="black">
                  <a:alpha val="40000"/>
                </a:prstClr>
              </a:outerShdw>
            </a:effectLst>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16" name="28220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9C3DF5B-A39E-4311-9735-2E5D5D9B5900}"/>
              </a:ext>
            </a:extLst>
          </p:cNvPr>
          <p:cNvGrpSpPr>
            <a:grpSpLocks noChangeAspect="1"/>
          </p:cNvGrpSpPr>
          <p:nvPr>
            <p:custDataLst>
              <p:tags r:id="rId1"/>
            </p:custDataLst>
          </p:nvPr>
        </p:nvGrpSpPr>
        <p:grpSpPr>
          <a:xfrm>
            <a:off x="894415" y="1366193"/>
            <a:ext cx="10121809" cy="4611357"/>
            <a:chOff x="894415" y="1366193"/>
            <a:chExt cx="10121809" cy="4611357"/>
          </a:xfrm>
        </p:grpSpPr>
        <p:sp>
          <p:nvSpPr>
            <p:cNvPr id="17" name="îšļíḓè">
              <a:extLst>
                <a:ext uri="{FF2B5EF4-FFF2-40B4-BE49-F238E27FC236}">
                  <a16:creationId xmlns:a16="http://schemas.microsoft.com/office/drawing/2014/main" id="{F771AF2D-2BD1-49CA-B250-8C85D0EABB38}"/>
                </a:ext>
              </a:extLst>
            </p:cNvPr>
            <p:cNvSpPr/>
            <p:nvPr/>
          </p:nvSpPr>
          <p:spPr>
            <a:xfrm>
              <a:off x="2589902" y="4154156"/>
              <a:ext cx="291356" cy="2913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8" name="ïṥľiďé">
              <a:extLst>
                <a:ext uri="{FF2B5EF4-FFF2-40B4-BE49-F238E27FC236}">
                  <a16:creationId xmlns:a16="http://schemas.microsoft.com/office/drawing/2014/main" id="{86EFB483-8F99-4C81-9A44-1F2EC80BA60C}"/>
                </a:ext>
              </a:extLst>
            </p:cNvPr>
            <p:cNvSpPr/>
            <p:nvPr/>
          </p:nvSpPr>
          <p:spPr>
            <a:xfrm>
              <a:off x="5964717" y="4154156"/>
              <a:ext cx="291356" cy="291356"/>
            </a:xfrm>
            <a:prstGeom prst="ellipse">
              <a:avLst/>
            </a:prstGeom>
            <a:solidFill>
              <a:srgbClr val="FF696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9" name="ïṡľïdé">
              <a:extLst>
                <a:ext uri="{FF2B5EF4-FFF2-40B4-BE49-F238E27FC236}">
                  <a16:creationId xmlns:a16="http://schemas.microsoft.com/office/drawing/2014/main" id="{14CE36C9-DC11-4987-907B-1921C3BFEE8B}"/>
                </a:ext>
              </a:extLst>
            </p:cNvPr>
            <p:cNvSpPr/>
            <p:nvPr/>
          </p:nvSpPr>
          <p:spPr>
            <a:xfrm>
              <a:off x="9344202" y="4154156"/>
              <a:ext cx="291356" cy="291356"/>
            </a:xfrm>
            <a:prstGeom prst="ellipse">
              <a:avLst/>
            </a:prstGeom>
            <a:solidFill>
              <a:srgbClr val="FF696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0" name="îṥ1îḋé">
              <a:extLst>
                <a:ext uri="{FF2B5EF4-FFF2-40B4-BE49-F238E27FC236}">
                  <a16:creationId xmlns:a16="http://schemas.microsoft.com/office/drawing/2014/main" id="{DB243D9C-69C8-4CDF-BD67-7B7368108132}"/>
                </a:ext>
              </a:extLst>
            </p:cNvPr>
            <p:cNvSpPr/>
            <p:nvPr/>
          </p:nvSpPr>
          <p:spPr>
            <a:xfrm>
              <a:off x="10101824" y="2611762"/>
              <a:ext cx="914400" cy="9144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1" name="íṣḷîďé">
              <a:extLst>
                <a:ext uri="{FF2B5EF4-FFF2-40B4-BE49-F238E27FC236}">
                  <a16:creationId xmlns:a16="http://schemas.microsoft.com/office/drawing/2014/main" id="{552528F0-8AA7-469D-8FC9-25F330A95445}"/>
                </a:ext>
              </a:extLst>
            </p:cNvPr>
            <p:cNvSpPr/>
            <p:nvPr/>
          </p:nvSpPr>
          <p:spPr>
            <a:xfrm>
              <a:off x="7643389" y="2460429"/>
              <a:ext cx="1217066" cy="121706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2" name="iṩľîḓe">
              <a:extLst>
                <a:ext uri="{FF2B5EF4-FFF2-40B4-BE49-F238E27FC236}">
                  <a16:creationId xmlns:a16="http://schemas.microsoft.com/office/drawing/2014/main" id="{F54DC62E-6800-45D5-AD13-A8C330E64D30}"/>
                </a:ext>
              </a:extLst>
            </p:cNvPr>
            <p:cNvSpPr/>
            <p:nvPr/>
          </p:nvSpPr>
          <p:spPr>
            <a:xfrm>
              <a:off x="8598927" y="2178008"/>
              <a:ext cx="1781907" cy="1781907"/>
            </a:xfrm>
            <a:prstGeom prst="ellipse">
              <a:avLst/>
            </a:prstGeom>
            <a:solidFill>
              <a:srgbClr val="FF696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3" name="íśḻiḍè">
              <a:extLst>
                <a:ext uri="{FF2B5EF4-FFF2-40B4-BE49-F238E27FC236}">
                  <a16:creationId xmlns:a16="http://schemas.microsoft.com/office/drawing/2014/main" id="{8F55E0EA-AABF-4D77-A201-5AD96F46CEC3}"/>
                </a:ext>
              </a:extLst>
            </p:cNvPr>
            <p:cNvSpPr/>
            <p:nvPr/>
          </p:nvSpPr>
          <p:spPr>
            <a:xfrm>
              <a:off x="6725685" y="2611761"/>
              <a:ext cx="914400" cy="9144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4" name="iślíďè">
              <a:extLst>
                <a:ext uri="{FF2B5EF4-FFF2-40B4-BE49-F238E27FC236}">
                  <a16:creationId xmlns:a16="http://schemas.microsoft.com/office/drawing/2014/main" id="{CE169D19-6680-489F-A7DA-AAC0D1C2C2E1}"/>
                </a:ext>
              </a:extLst>
            </p:cNvPr>
            <p:cNvSpPr/>
            <p:nvPr/>
          </p:nvSpPr>
          <p:spPr>
            <a:xfrm>
              <a:off x="4267250" y="2460428"/>
              <a:ext cx="1217066" cy="121706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5" name="iṡ1idé">
              <a:extLst>
                <a:ext uri="{FF2B5EF4-FFF2-40B4-BE49-F238E27FC236}">
                  <a16:creationId xmlns:a16="http://schemas.microsoft.com/office/drawing/2014/main" id="{86EBB60C-8573-4FA8-93BD-A75B8342DCDE}"/>
                </a:ext>
              </a:extLst>
            </p:cNvPr>
            <p:cNvSpPr/>
            <p:nvPr/>
          </p:nvSpPr>
          <p:spPr>
            <a:xfrm>
              <a:off x="5222788" y="2178007"/>
              <a:ext cx="1781907" cy="1781907"/>
            </a:xfrm>
            <a:prstGeom prst="ellipse">
              <a:avLst/>
            </a:prstGeom>
            <a:solidFill>
              <a:srgbClr val="FF696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6" name="îšḷide">
              <a:extLst>
                <a:ext uri="{FF2B5EF4-FFF2-40B4-BE49-F238E27FC236}">
                  <a16:creationId xmlns:a16="http://schemas.microsoft.com/office/drawing/2014/main" id="{F99CADAC-FB99-4537-B6DA-51DB99124879}"/>
                </a:ext>
              </a:extLst>
            </p:cNvPr>
            <p:cNvSpPr/>
            <p:nvPr/>
          </p:nvSpPr>
          <p:spPr>
            <a:xfrm>
              <a:off x="3352850" y="2611762"/>
              <a:ext cx="914400" cy="9144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7" name="îśļïďè">
              <a:extLst>
                <a:ext uri="{FF2B5EF4-FFF2-40B4-BE49-F238E27FC236}">
                  <a16:creationId xmlns:a16="http://schemas.microsoft.com/office/drawing/2014/main" id="{588A715E-B453-4E1D-9305-114CB20715D7}"/>
                </a:ext>
              </a:extLst>
            </p:cNvPr>
            <p:cNvSpPr/>
            <p:nvPr/>
          </p:nvSpPr>
          <p:spPr>
            <a:xfrm>
              <a:off x="894415" y="2460429"/>
              <a:ext cx="1217066" cy="121706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8" name="iṡļiḑé">
              <a:extLst>
                <a:ext uri="{FF2B5EF4-FFF2-40B4-BE49-F238E27FC236}">
                  <a16:creationId xmlns:a16="http://schemas.microsoft.com/office/drawing/2014/main" id="{ABD42BAB-B5B4-459C-9172-A52E65609AB1}"/>
                </a:ext>
              </a:extLst>
            </p:cNvPr>
            <p:cNvSpPr/>
            <p:nvPr/>
          </p:nvSpPr>
          <p:spPr>
            <a:xfrm>
              <a:off x="1849953" y="2178008"/>
              <a:ext cx="1781907" cy="178190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31" name="ïṩlîḑê">
              <a:extLst>
                <a:ext uri="{FF2B5EF4-FFF2-40B4-BE49-F238E27FC236}">
                  <a16:creationId xmlns:a16="http://schemas.microsoft.com/office/drawing/2014/main" id="{F2410853-5DAA-4FCE-8BFF-E8FB60832987}"/>
                </a:ext>
              </a:extLst>
            </p:cNvPr>
            <p:cNvSpPr/>
            <p:nvPr/>
          </p:nvSpPr>
          <p:spPr>
            <a:xfrm>
              <a:off x="3859822" y="2566039"/>
              <a:ext cx="1005840" cy="10058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34" name="íšḷiḑé">
              <a:extLst>
                <a:ext uri="{FF2B5EF4-FFF2-40B4-BE49-F238E27FC236}">
                  <a16:creationId xmlns:a16="http://schemas.microsoft.com/office/drawing/2014/main" id="{AE5E45A9-6917-4E75-8E3D-024A56ED343C}"/>
                </a:ext>
              </a:extLst>
            </p:cNvPr>
            <p:cNvSpPr/>
            <p:nvPr/>
          </p:nvSpPr>
          <p:spPr>
            <a:xfrm>
              <a:off x="7229898" y="2566039"/>
              <a:ext cx="1005840" cy="10058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36" name="íSľïdê">
              <a:extLst>
                <a:ext uri="{FF2B5EF4-FFF2-40B4-BE49-F238E27FC236}">
                  <a16:creationId xmlns:a16="http://schemas.microsoft.com/office/drawing/2014/main" id="{92095628-9DFE-4550-A401-0219FEAAA23F}"/>
                </a:ext>
              </a:extLst>
            </p:cNvPr>
            <p:cNvSpPr/>
            <p:nvPr/>
          </p:nvSpPr>
          <p:spPr bwMode="auto">
            <a:xfrm>
              <a:off x="4176615" y="2884851"/>
              <a:ext cx="351924" cy="368215"/>
            </a:xfrm>
            <a:custGeom>
              <a:avLst/>
              <a:gdLst>
                <a:gd name="T0" fmla="*/ 174 w 181"/>
                <a:gd name="T1" fmla="*/ 78 h 190"/>
                <a:gd name="T2" fmla="*/ 105 w 181"/>
                <a:gd name="T3" fmla="*/ 9 h 190"/>
                <a:gd name="T4" fmla="*/ 73 w 181"/>
                <a:gd name="T5" fmla="*/ 9 h 190"/>
                <a:gd name="T6" fmla="*/ 73 w 181"/>
                <a:gd name="T7" fmla="*/ 41 h 190"/>
                <a:gd name="T8" fmla="*/ 100 w 181"/>
                <a:gd name="T9" fmla="*/ 68 h 190"/>
                <a:gd name="T10" fmla="*/ 26 w 181"/>
                <a:gd name="T11" fmla="*/ 68 h 190"/>
                <a:gd name="T12" fmla="*/ 0 w 181"/>
                <a:gd name="T13" fmla="*/ 92 h 190"/>
                <a:gd name="T14" fmla="*/ 26 w 181"/>
                <a:gd name="T15" fmla="*/ 116 h 190"/>
                <a:gd name="T16" fmla="*/ 104 w 181"/>
                <a:gd name="T17" fmla="*/ 116 h 190"/>
                <a:gd name="T18" fmla="*/ 73 w 181"/>
                <a:gd name="T19" fmla="*/ 148 h 190"/>
                <a:gd name="T20" fmla="*/ 73 w 181"/>
                <a:gd name="T21" fmla="*/ 181 h 190"/>
                <a:gd name="T22" fmla="*/ 105 w 181"/>
                <a:gd name="T23" fmla="*/ 181 h 190"/>
                <a:gd name="T24" fmla="*/ 174 w 181"/>
                <a:gd name="T25" fmla="*/ 112 h 190"/>
                <a:gd name="T26" fmla="*/ 181 w 181"/>
                <a:gd name="T27" fmla="*/ 95 h 190"/>
                <a:gd name="T28" fmla="*/ 174 w 181"/>
                <a:gd name="T29" fmla="*/ 7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90">
                  <a:moveTo>
                    <a:pt x="174" y="78"/>
                  </a:moveTo>
                  <a:cubicBezTo>
                    <a:pt x="105" y="9"/>
                    <a:pt x="105" y="9"/>
                    <a:pt x="105" y="9"/>
                  </a:cubicBezTo>
                  <a:cubicBezTo>
                    <a:pt x="96" y="0"/>
                    <a:pt x="82" y="0"/>
                    <a:pt x="73" y="9"/>
                  </a:cubicBezTo>
                  <a:cubicBezTo>
                    <a:pt x="64" y="18"/>
                    <a:pt x="64" y="32"/>
                    <a:pt x="73" y="41"/>
                  </a:cubicBezTo>
                  <a:cubicBezTo>
                    <a:pt x="100" y="68"/>
                    <a:pt x="100" y="68"/>
                    <a:pt x="100" y="68"/>
                  </a:cubicBezTo>
                  <a:cubicBezTo>
                    <a:pt x="26" y="68"/>
                    <a:pt x="26" y="68"/>
                    <a:pt x="26" y="68"/>
                  </a:cubicBezTo>
                  <a:cubicBezTo>
                    <a:pt x="12" y="68"/>
                    <a:pt x="0" y="78"/>
                    <a:pt x="0" y="92"/>
                  </a:cubicBezTo>
                  <a:cubicBezTo>
                    <a:pt x="0" y="106"/>
                    <a:pt x="12" y="116"/>
                    <a:pt x="26" y="116"/>
                  </a:cubicBezTo>
                  <a:cubicBezTo>
                    <a:pt x="104" y="116"/>
                    <a:pt x="104" y="116"/>
                    <a:pt x="104" y="116"/>
                  </a:cubicBezTo>
                  <a:cubicBezTo>
                    <a:pt x="73" y="148"/>
                    <a:pt x="73" y="148"/>
                    <a:pt x="73" y="148"/>
                  </a:cubicBezTo>
                  <a:cubicBezTo>
                    <a:pt x="64" y="157"/>
                    <a:pt x="64" y="172"/>
                    <a:pt x="73" y="181"/>
                  </a:cubicBezTo>
                  <a:cubicBezTo>
                    <a:pt x="82" y="190"/>
                    <a:pt x="96" y="190"/>
                    <a:pt x="105" y="181"/>
                  </a:cubicBezTo>
                  <a:cubicBezTo>
                    <a:pt x="174" y="112"/>
                    <a:pt x="174" y="112"/>
                    <a:pt x="174" y="112"/>
                  </a:cubicBezTo>
                  <a:cubicBezTo>
                    <a:pt x="179" y="107"/>
                    <a:pt x="181" y="101"/>
                    <a:pt x="181" y="95"/>
                  </a:cubicBezTo>
                  <a:cubicBezTo>
                    <a:pt x="181" y="89"/>
                    <a:pt x="179" y="83"/>
                    <a:pt x="174"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ṡlïḍe">
              <a:extLst>
                <a:ext uri="{FF2B5EF4-FFF2-40B4-BE49-F238E27FC236}">
                  <a16:creationId xmlns:a16="http://schemas.microsoft.com/office/drawing/2014/main" id="{8FE4B734-886D-464C-92DE-8F140C5B406C}"/>
                </a:ext>
              </a:extLst>
            </p:cNvPr>
            <p:cNvSpPr/>
            <p:nvPr/>
          </p:nvSpPr>
          <p:spPr bwMode="auto">
            <a:xfrm>
              <a:off x="7550112" y="2884851"/>
              <a:ext cx="351924" cy="368215"/>
            </a:xfrm>
            <a:custGeom>
              <a:avLst/>
              <a:gdLst>
                <a:gd name="T0" fmla="*/ 174 w 181"/>
                <a:gd name="T1" fmla="*/ 78 h 190"/>
                <a:gd name="T2" fmla="*/ 105 w 181"/>
                <a:gd name="T3" fmla="*/ 9 h 190"/>
                <a:gd name="T4" fmla="*/ 73 w 181"/>
                <a:gd name="T5" fmla="*/ 9 h 190"/>
                <a:gd name="T6" fmla="*/ 73 w 181"/>
                <a:gd name="T7" fmla="*/ 41 h 190"/>
                <a:gd name="T8" fmla="*/ 100 w 181"/>
                <a:gd name="T9" fmla="*/ 68 h 190"/>
                <a:gd name="T10" fmla="*/ 26 w 181"/>
                <a:gd name="T11" fmla="*/ 68 h 190"/>
                <a:gd name="T12" fmla="*/ 0 w 181"/>
                <a:gd name="T13" fmla="*/ 92 h 190"/>
                <a:gd name="T14" fmla="*/ 26 w 181"/>
                <a:gd name="T15" fmla="*/ 116 h 190"/>
                <a:gd name="T16" fmla="*/ 104 w 181"/>
                <a:gd name="T17" fmla="*/ 116 h 190"/>
                <a:gd name="T18" fmla="*/ 73 w 181"/>
                <a:gd name="T19" fmla="*/ 148 h 190"/>
                <a:gd name="T20" fmla="*/ 73 w 181"/>
                <a:gd name="T21" fmla="*/ 181 h 190"/>
                <a:gd name="T22" fmla="*/ 105 w 181"/>
                <a:gd name="T23" fmla="*/ 181 h 190"/>
                <a:gd name="T24" fmla="*/ 174 w 181"/>
                <a:gd name="T25" fmla="*/ 112 h 190"/>
                <a:gd name="T26" fmla="*/ 181 w 181"/>
                <a:gd name="T27" fmla="*/ 95 h 190"/>
                <a:gd name="T28" fmla="*/ 174 w 181"/>
                <a:gd name="T29" fmla="*/ 7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90">
                  <a:moveTo>
                    <a:pt x="174" y="78"/>
                  </a:moveTo>
                  <a:cubicBezTo>
                    <a:pt x="105" y="9"/>
                    <a:pt x="105" y="9"/>
                    <a:pt x="105" y="9"/>
                  </a:cubicBezTo>
                  <a:cubicBezTo>
                    <a:pt x="96" y="0"/>
                    <a:pt x="82" y="0"/>
                    <a:pt x="73" y="9"/>
                  </a:cubicBezTo>
                  <a:cubicBezTo>
                    <a:pt x="64" y="18"/>
                    <a:pt x="64" y="32"/>
                    <a:pt x="73" y="41"/>
                  </a:cubicBezTo>
                  <a:cubicBezTo>
                    <a:pt x="100" y="68"/>
                    <a:pt x="100" y="68"/>
                    <a:pt x="100" y="68"/>
                  </a:cubicBezTo>
                  <a:cubicBezTo>
                    <a:pt x="26" y="68"/>
                    <a:pt x="26" y="68"/>
                    <a:pt x="26" y="68"/>
                  </a:cubicBezTo>
                  <a:cubicBezTo>
                    <a:pt x="12" y="68"/>
                    <a:pt x="0" y="78"/>
                    <a:pt x="0" y="92"/>
                  </a:cubicBezTo>
                  <a:cubicBezTo>
                    <a:pt x="0" y="106"/>
                    <a:pt x="12" y="116"/>
                    <a:pt x="26" y="116"/>
                  </a:cubicBezTo>
                  <a:cubicBezTo>
                    <a:pt x="104" y="116"/>
                    <a:pt x="104" y="116"/>
                    <a:pt x="104" y="116"/>
                  </a:cubicBezTo>
                  <a:cubicBezTo>
                    <a:pt x="73" y="148"/>
                    <a:pt x="73" y="148"/>
                    <a:pt x="73" y="148"/>
                  </a:cubicBezTo>
                  <a:cubicBezTo>
                    <a:pt x="64" y="157"/>
                    <a:pt x="64" y="172"/>
                    <a:pt x="73" y="181"/>
                  </a:cubicBezTo>
                  <a:cubicBezTo>
                    <a:pt x="82" y="190"/>
                    <a:pt x="96" y="190"/>
                    <a:pt x="105" y="181"/>
                  </a:cubicBezTo>
                  <a:cubicBezTo>
                    <a:pt x="174" y="112"/>
                    <a:pt x="174" y="112"/>
                    <a:pt x="174" y="112"/>
                  </a:cubicBezTo>
                  <a:cubicBezTo>
                    <a:pt x="179" y="107"/>
                    <a:pt x="181" y="101"/>
                    <a:pt x="181" y="95"/>
                  </a:cubicBezTo>
                  <a:cubicBezTo>
                    <a:pt x="181" y="89"/>
                    <a:pt x="179" y="83"/>
                    <a:pt x="174"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ślïḋé">
              <a:extLst>
                <a:ext uri="{FF2B5EF4-FFF2-40B4-BE49-F238E27FC236}">
                  <a16:creationId xmlns:a16="http://schemas.microsoft.com/office/drawing/2014/main" id="{51FB53F6-E33C-4878-9A39-7ECEA2617790}"/>
                </a:ext>
              </a:extLst>
            </p:cNvPr>
            <p:cNvSpPr/>
            <p:nvPr/>
          </p:nvSpPr>
          <p:spPr bwMode="auto">
            <a:xfrm>
              <a:off x="5945027" y="2552786"/>
              <a:ext cx="423005" cy="383365"/>
            </a:xfrm>
            <a:custGeom>
              <a:avLst/>
              <a:gdLst>
                <a:gd name="connsiteX0" fmla="*/ 496512 w 622984"/>
                <a:gd name="connsiteY0" fmla="*/ 492841 h 564606"/>
                <a:gd name="connsiteX1" fmla="*/ 473955 w 622984"/>
                <a:gd name="connsiteY1" fmla="*/ 515853 h 564606"/>
                <a:gd name="connsiteX2" fmla="*/ 496512 w 622984"/>
                <a:gd name="connsiteY2" fmla="*/ 535354 h 564606"/>
                <a:gd name="connsiteX3" fmla="*/ 519457 w 622984"/>
                <a:gd name="connsiteY3" fmla="*/ 515853 h 564606"/>
                <a:gd name="connsiteX4" fmla="*/ 496512 w 622984"/>
                <a:gd name="connsiteY4" fmla="*/ 492841 h 564606"/>
                <a:gd name="connsiteX5" fmla="*/ 249694 w 622984"/>
                <a:gd name="connsiteY5" fmla="*/ 352049 h 564606"/>
                <a:gd name="connsiteX6" fmla="*/ 272741 w 622984"/>
                <a:gd name="connsiteY6" fmla="*/ 374570 h 564606"/>
                <a:gd name="connsiteX7" fmla="*/ 171569 w 622984"/>
                <a:gd name="connsiteY7" fmla="*/ 475137 h 564606"/>
                <a:gd name="connsiteX8" fmla="*/ 177819 w 622984"/>
                <a:gd name="connsiteY8" fmla="*/ 481738 h 564606"/>
                <a:gd name="connsiteX9" fmla="*/ 155163 w 622984"/>
                <a:gd name="connsiteY9" fmla="*/ 510860 h 564606"/>
                <a:gd name="connsiteX10" fmla="*/ 73522 w 622984"/>
                <a:gd name="connsiteY10" fmla="*/ 562891 h 564606"/>
                <a:gd name="connsiteX11" fmla="*/ 60241 w 622984"/>
                <a:gd name="connsiteY11" fmla="*/ 550077 h 564606"/>
                <a:gd name="connsiteX12" fmla="*/ 112585 w 622984"/>
                <a:gd name="connsiteY12" fmla="*/ 468925 h 564606"/>
                <a:gd name="connsiteX13" fmla="*/ 141882 w 622984"/>
                <a:gd name="connsiteY13" fmla="*/ 446015 h 564606"/>
                <a:gd name="connsiteX14" fmla="*/ 148522 w 622984"/>
                <a:gd name="connsiteY14" fmla="*/ 452616 h 564606"/>
                <a:gd name="connsiteX15" fmla="*/ 122234 w 622984"/>
                <a:gd name="connsiteY15" fmla="*/ 15041 h 564606"/>
                <a:gd name="connsiteX16" fmla="*/ 210667 w 622984"/>
                <a:gd name="connsiteY16" fmla="*/ 52502 h 564606"/>
                <a:gd name="connsiteX17" fmla="*/ 242946 w 622984"/>
                <a:gd name="connsiteY17" fmla="*/ 173410 h 564606"/>
                <a:gd name="connsiteX18" fmla="*/ 532291 w 622984"/>
                <a:gd name="connsiteY18" fmla="*/ 463589 h 564606"/>
                <a:gd name="connsiteX19" fmla="*/ 532291 w 622984"/>
                <a:gd name="connsiteY19" fmla="*/ 545105 h 564606"/>
                <a:gd name="connsiteX20" fmla="*/ 493400 w 622984"/>
                <a:gd name="connsiteY20" fmla="*/ 564606 h 564606"/>
                <a:gd name="connsiteX21" fmla="*/ 451010 w 622984"/>
                <a:gd name="connsiteY21" fmla="*/ 545105 h 564606"/>
                <a:gd name="connsiteX22" fmla="*/ 161665 w 622984"/>
                <a:gd name="connsiteY22" fmla="*/ 258046 h 564606"/>
                <a:gd name="connsiteX23" fmla="*/ 34882 w 622984"/>
                <a:gd name="connsiteY23" fmla="*/ 225674 h 564606"/>
                <a:gd name="connsiteX24" fmla="*/ 5715 w 622984"/>
                <a:gd name="connsiteY24" fmla="*/ 104766 h 564606"/>
                <a:gd name="connsiteX25" fmla="*/ 74162 w 622984"/>
                <a:gd name="connsiteY25" fmla="*/ 176530 h 564606"/>
                <a:gd name="connsiteX26" fmla="*/ 142220 w 622984"/>
                <a:gd name="connsiteY26" fmla="*/ 157029 h 564606"/>
                <a:gd name="connsiteX27" fmla="*/ 161665 w 622984"/>
                <a:gd name="connsiteY27" fmla="*/ 88385 h 564606"/>
                <a:gd name="connsiteX28" fmla="*/ 90107 w 622984"/>
                <a:gd name="connsiteY28" fmla="*/ 20130 h 564606"/>
                <a:gd name="connsiteX29" fmla="*/ 122234 w 622984"/>
                <a:gd name="connsiteY29" fmla="*/ 15041 h 564606"/>
                <a:gd name="connsiteX30" fmla="*/ 531841 w 622984"/>
                <a:gd name="connsiteY30" fmla="*/ 0 h 564606"/>
                <a:gd name="connsiteX31" fmla="*/ 622984 w 622984"/>
                <a:gd name="connsiteY31" fmla="*/ 87684 h 564606"/>
                <a:gd name="connsiteX32" fmla="*/ 463289 w 622984"/>
                <a:gd name="connsiteY32" fmla="*/ 247465 h 564606"/>
                <a:gd name="connsiteX33" fmla="*/ 424339 w 622984"/>
                <a:gd name="connsiteY33" fmla="*/ 257207 h 564606"/>
                <a:gd name="connsiteX34" fmla="*/ 362409 w 622984"/>
                <a:gd name="connsiteY34" fmla="*/ 198751 h 564606"/>
                <a:gd name="connsiteX35" fmla="*/ 375263 w 622984"/>
                <a:gd name="connsiteY35" fmla="*/ 159391 h 564606"/>
                <a:gd name="connsiteX36" fmla="*/ 531841 w 622984"/>
                <a:gd name="connsiteY36" fmla="*/ 0 h 56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984" h="564606">
                  <a:moveTo>
                    <a:pt x="496512" y="492841"/>
                  </a:moveTo>
                  <a:cubicBezTo>
                    <a:pt x="483678" y="492841"/>
                    <a:pt x="473955" y="502592"/>
                    <a:pt x="473955" y="515853"/>
                  </a:cubicBezTo>
                  <a:cubicBezTo>
                    <a:pt x="473955" y="525604"/>
                    <a:pt x="483678" y="535354"/>
                    <a:pt x="496512" y="535354"/>
                  </a:cubicBezTo>
                  <a:cubicBezTo>
                    <a:pt x="509734" y="535354"/>
                    <a:pt x="519457" y="525604"/>
                    <a:pt x="519457" y="515853"/>
                  </a:cubicBezTo>
                  <a:cubicBezTo>
                    <a:pt x="519457" y="502592"/>
                    <a:pt x="509734" y="492841"/>
                    <a:pt x="496512" y="492841"/>
                  </a:cubicBezTo>
                  <a:close/>
                  <a:moveTo>
                    <a:pt x="249694" y="352049"/>
                  </a:moveTo>
                  <a:lnTo>
                    <a:pt x="272741" y="374570"/>
                  </a:lnTo>
                  <a:lnTo>
                    <a:pt x="171569" y="475137"/>
                  </a:lnTo>
                  <a:lnTo>
                    <a:pt x="177819" y="481738"/>
                  </a:lnTo>
                  <a:lnTo>
                    <a:pt x="155163" y="510860"/>
                  </a:lnTo>
                  <a:lnTo>
                    <a:pt x="73522" y="562891"/>
                  </a:lnTo>
                  <a:lnTo>
                    <a:pt x="60241" y="550077"/>
                  </a:lnTo>
                  <a:lnTo>
                    <a:pt x="112585" y="468925"/>
                  </a:lnTo>
                  <a:lnTo>
                    <a:pt x="141882" y="446015"/>
                  </a:lnTo>
                  <a:lnTo>
                    <a:pt x="148522" y="452616"/>
                  </a:lnTo>
                  <a:close/>
                  <a:moveTo>
                    <a:pt x="122234" y="15041"/>
                  </a:moveTo>
                  <a:cubicBezTo>
                    <a:pt x="154446" y="14694"/>
                    <a:pt x="186166" y="28223"/>
                    <a:pt x="210667" y="52502"/>
                  </a:cubicBezTo>
                  <a:cubicBezTo>
                    <a:pt x="242946" y="85264"/>
                    <a:pt x="256169" y="130897"/>
                    <a:pt x="242946" y="173410"/>
                  </a:cubicBezTo>
                  <a:lnTo>
                    <a:pt x="532291" y="463589"/>
                  </a:lnTo>
                  <a:cubicBezTo>
                    <a:pt x="555236" y="486211"/>
                    <a:pt x="555236" y="522093"/>
                    <a:pt x="532291" y="545105"/>
                  </a:cubicBezTo>
                  <a:cubicBezTo>
                    <a:pt x="522568" y="557976"/>
                    <a:pt x="506234" y="564606"/>
                    <a:pt x="493400" y="564606"/>
                  </a:cubicBezTo>
                  <a:cubicBezTo>
                    <a:pt x="477066" y="564606"/>
                    <a:pt x="460733" y="557976"/>
                    <a:pt x="451010" y="545105"/>
                  </a:cubicBezTo>
                  <a:cubicBezTo>
                    <a:pt x="451010" y="545105"/>
                    <a:pt x="451010" y="545105"/>
                    <a:pt x="161665" y="258046"/>
                  </a:cubicBezTo>
                  <a:cubicBezTo>
                    <a:pt x="119275" y="270917"/>
                    <a:pt x="70662" y="261556"/>
                    <a:pt x="34882" y="225674"/>
                  </a:cubicBezTo>
                  <a:cubicBezTo>
                    <a:pt x="2215" y="192911"/>
                    <a:pt x="-7508" y="147278"/>
                    <a:pt x="5715" y="104766"/>
                  </a:cubicBezTo>
                  <a:cubicBezTo>
                    <a:pt x="5715" y="104766"/>
                    <a:pt x="5715" y="104766"/>
                    <a:pt x="74162" y="176530"/>
                  </a:cubicBezTo>
                  <a:cubicBezTo>
                    <a:pt x="74162" y="176530"/>
                    <a:pt x="74162" y="176530"/>
                    <a:pt x="142220" y="157029"/>
                  </a:cubicBezTo>
                  <a:cubicBezTo>
                    <a:pt x="142220" y="157029"/>
                    <a:pt x="142220" y="157029"/>
                    <a:pt x="161665" y="88385"/>
                  </a:cubicBezTo>
                  <a:cubicBezTo>
                    <a:pt x="161665" y="88385"/>
                    <a:pt x="161665" y="88385"/>
                    <a:pt x="90107" y="20130"/>
                  </a:cubicBezTo>
                  <a:cubicBezTo>
                    <a:pt x="100704" y="16815"/>
                    <a:pt x="111497" y="15157"/>
                    <a:pt x="122234" y="15041"/>
                  </a:cubicBezTo>
                  <a:close/>
                  <a:moveTo>
                    <a:pt x="531841" y="0"/>
                  </a:moveTo>
                  <a:cubicBezTo>
                    <a:pt x="531841" y="0"/>
                    <a:pt x="531841" y="0"/>
                    <a:pt x="622984" y="87684"/>
                  </a:cubicBezTo>
                  <a:cubicBezTo>
                    <a:pt x="622984" y="87684"/>
                    <a:pt x="622984" y="87684"/>
                    <a:pt x="463289" y="247465"/>
                  </a:cubicBezTo>
                  <a:cubicBezTo>
                    <a:pt x="450436" y="247465"/>
                    <a:pt x="434077" y="250582"/>
                    <a:pt x="424339" y="257207"/>
                  </a:cubicBezTo>
                  <a:lnTo>
                    <a:pt x="362409" y="198751"/>
                  </a:lnTo>
                  <a:cubicBezTo>
                    <a:pt x="372147" y="189009"/>
                    <a:pt x="375263" y="172641"/>
                    <a:pt x="375263" y="159391"/>
                  </a:cubicBezTo>
                  <a:cubicBezTo>
                    <a:pt x="375263" y="159391"/>
                    <a:pt x="375263" y="159391"/>
                    <a:pt x="531841" y="0"/>
                  </a:cubicBezTo>
                  <a:close/>
                </a:path>
              </a:pathLst>
            </a:custGeom>
            <a:solidFill>
              <a:schemeClr val="bg1"/>
            </a:solidFill>
            <a:ln>
              <a:noFill/>
            </a:ln>
            <a:effectLst/>
            <a:extLst>
              <a:ext uri="{91240B29-F687-4f45-9708-019B960494DF}">
                <a14:hiddenLine xmlns:a16="http://schemas.microsoft.com/office/drawing/2014/main" xmlns:p14="http://schemas.microsoft.com/office/powerpoint/2010/main" xmlns:a14="http://schemas.microsoft.com/office/drawing/2010/main" xmlns:lc="http://schemas.openxmlformats.org/drawingml/2006/lockedCanvas" xmlns="" w="9525" cap="flat">
                  <a:solidFill>
                    <a:srgbClr val="808080"/>
                  </a:solidFill>
                  <a:bevel/>
                  <a:headEnd/>
                  <a:tailEnd/>
                </a14:hiddenLine>
              </a:ext>
              <a:ext uri="{AF507438-7753-43e0-B8FC-AC1667EBCBE1}">
                <a14:hiddenEffects xmlns:a16="http://schemas.microsoft.com/office/drawing/2014/main" xmlns:p14="http://schemas.microsoft.com/office/powerpoint/2010/main" xmlns:a14="http://schemas.microsoft.com/office/drawing/2010/main" xmlns:lc="http://schemas.openxmlformats.org/drawingml/2006/lockedCanvas" xmlns="">
                  <a:effectLst>
                    <a:outerShdw blurRad="63500" dist="38099" dir="2700000" algn="ctr" rotWithShape="0">
                      <a:srgbClr val="000000">
                        <a:alpha val="74998"/>
                      </a:srgbClr>
                    </a:outerShdw>
                  </a:effectLst>
                </a14:hiddenEffects>
              </a:ext>
            </a:extLst>
          </p:spPr>
          <p:txBody>
            <a:bodyPr anchor="ctr"/>
            <a:lstStyle/>
            <a:p>
              <a:pPr algn="ctr"/>
              <a:endParaRPr/>
            </a:p>
          </p:txBody>
        </p:sp>
        <p:sp>
          <p:nvSpPr>
            <p:cNvPr id="41" name="ïṧḻíḍé">
              <a:extLst>
                <a:ext uri="{FF2B5EF4-FFF2-40B4-BE49-F238E27FC236}">
                  <a16:creationId xmlns:a16="http://schemas.microsoft.com/office/drawing/2014/main" id="{9AA6D48B-7F0A-44E8-965C-B2C33A0B1284}"/>
                </a:ext>
              </a:extLst>
            </p:cNvPr>
            <p:cNvSpPr/>
            <p:nvPr/>
          </p:nvSpPr>
          <p:spPr bwMode="auto">
            <a:xfrm>
              <a:off x="9319630" y="2542542"/>
              <a:ext cx="393506" cy="393609"/>
            </a:xfrm>
            <a:custGeom>
              <a:avLst/>
              <a:gdLst>
                <a:gd name="T0" fmla="*/ 10800 w 21600"/>
                <a:gd name="T1" fmla="*/ 10789 h 21579"/>
                <a:gd name="T2" fmla="*/ 10800 w 21600"/>
                <a:gd name="T3" fmla="*/ 10789 h 21579"/>
                <a:gd name="T4" fmla="*/ 10800 w 21600"/>
                <a:gd name="T5" fmla="*/ 10789 h 21579"/>
                <a:gd name="T6" fmla="*/ 10800 w 21600"/>
                <a:gd name="T7" fmla="*/ 10789 h 21579"/>
              </a:gdLst>
              <a:ahLst/>
              <a:cxnLst>
                <a:cxn ang="0">
                  <a:pos x="T0" y="T1"/>
                </a:cxn>
                <a:cxn ang="0">
                  <a:pos x="T2" y="T3"/>
                </a:cxn>
                <a:cxn ang="0">
                  <a:pos x="T4" y="T5"/>
                </a:cxn>
                <a:cxn ang="0">
                  <a:pos x="T6" y="T7"/>
                </a:cxn>
              </a:cxnLst>
              <a:rect l="0" t="0" r="r" b="b"/>
              <a:pathLst>
                <a:path w="21600" h="21579">
                  <a:moveTo>
                    <a:pt x="21599" y="9391"/>
                  </a:moveTo>
                  <a:cubicBezTo>
                    <a:pt x="21599" y="9887"/>
                    <a:pt x="21472" y="10321"/>
                    <a:pt x="21218" y="10697"/>
                  </a:cubicBezTo>
                  <a:cubicBezTo>
                    <a:pt x="20963" y="11072"/>
                    <a:pt x="20647" y="11313"/>
                    <a:pt x="20263" y="11427"/>
                  </a:cubicBezTo>
                  <a:lnTo>
                    <a:pt x="20263" y="16610"/>
                  </a:lnTo>
                  <a:cubicBezTo>
                    <a:pt x="20263" y="17200"/>
                    <a:pt x="20087" y="17708"/>
                    <a:pt x="19729" y="18128"/>
                  </a:cubicBezTo>
                  <a:cubicBezTo>
                    <a:pt x="19374" y="18550"/>
                    <a:pt x="18951" y="18758"/>
                    <a:pt x="18459" y="18758"/>
                  </a:cubicBezTo>
                  <a:cubicBezTo>
                    <a:pt x="17927" y="18122"/>
                    <a:pt x="17286" y="17505"/>
                    <a:pt x="16537" y="16904"/>
                  </a:cubicBezTo>
                  <a:cubicBezTo>
                    <a:pt x="15785" y="16305"/>
                    <a:pt x="14980" y="15756"/>
                    <a:pt x="14116" y="15254"/>
                  </a:cubicBezTo>
                  <a:cubicBezTo>
                    <a:pt x="13254" y="14755"/>
                    <a:pt x="12363" y="14324"/>
                    <a:pt x="11449" y="13969"/>
                  </a:cubicBezTo>
                  <a:cubicBezTo>
                    <a:pt x="10536" y="13614"/>
                    <a:pt x="9648" y="13379"/>
                    <a:pt x="8788" y="13267"/>
                  </a:cubicBezTo>
                  <a:cubicBezTo>
                    <a:pt x="8453" y="13379"/>
                    <a:pt x="8179" y="13564"/>
                    <a:pt x="7968" y="13828"/>
                  </a:cubicBezTo>
                  <a:cubicBezTo>
                    <a:pt x="7758" y="14092"/>
                    <a:pt x="7613" y="14386"/>
                    <a:pt x="7535" y="14706"/>
                  </a:cubicBezTo>
                  <a:cubicBezTo>
                    <a:pt x="7457" y="15028"/>
                    <a:pt x="7449" y="15360"/>
                    <a:pt x="7510" y="15698"/>
                  </a:cubicBezTo>
                  <a:cubicBezTo>
                    <a:pt x="7574" y="16035"/>
                    <a:pt x="7719" y="16340"/>
                    <a:pt x="7946" y="16610"/>
                  </a:cubicBezTo>
                  <a:cubicBezTo>
                    <a:pt x="7750" y="16992"/>
                    <a:pt x="7660" y="17347"/>
                    <a:pt x="7677" y="17673"/>
                  </a:cubicBezTo>
                  <a:cubicBezTo>
                    <a:pt x="7692" y="17993"/>
                    <a:pt x="7772" y="18307"/>
                    <a:pt x="7917" y="18606"/>
                  </a:cubicBezTo>
                  <a:cubicBezTo>
                    <a:pt x="8059" y="18908"/>
                    <a:pt x="8255" y="19193"/>
                    <a:pt x="8497" y="19469"/>
                  </a:cubicBezTo>
                  <a:cubicBezTo>
                    <a:pt x="8737" y="19745"/>
                    <a:pt x="8996" y="20021"/>
                    <a:pt x="9271" y="20291"/>
                  </a:cubicBezTo>
                  <a:cubicBezTo>
                    <a:pt x="9114" y="20696"/>
                    <a:pt x="8842" y="21001"/>
                    <a:pt x="8455" y="21212"/>
                  </a:cubicBezTo>
                  <a:cubicBezTo>
                    <a:pt x="8069" y="21423"/>
                    <a:pt x="7655" y="21541"/>
                    <a:pt x="7212" y="21570"/>
                  </a:cubicBezTo>
                  <a:cubicBezTo>
                    <a:pt x="6771" y="21599"/>
                    <a:pt x="6340" y="21550"/>
                    <a:pt x="5917" y="21423"/>
                  </a:cubicBezTo>
                  <a:cubicBezTo>
                    <a:pt x="5496" y="21294"/>
                    <a:pt x="5163" y="21092"/>
                    <a:pt x="4923" y="20810"/>
                  </a:cubicBezTo>
                  <a:cubicBezTo>
                    <a:pt x="4781" y="20241"/>
                    <a:pt x="4624" y="19657"/>
                    <a:pt x="4453" y="19055"/>
                  </a:cubicBezTo>
                  <a:cubicBezTo>
                    <a:pt x="4281" y="18453"/>
                    <a:pt x="4139" y="17843"/>
                    <a:pt x="4032" y="17224"/>
                  </a:cubicBezTo>
                  <a:cubicBezTo>
                    <a:pt x="3921" y="16599"/>
                    <a:pt x="3868" y="15953"/>
                    <a:pt x="3868" y="15281"/>
                  </a:cubicBezTo>
                  <a:cubicBezTo>
                    <a:pt x="3868" y="14615"/>
                    <a:pt x="3961" y="13905"/>
                    <a:pt x="4149" y="13153"/>
                  </a:cubicBezTo>
                  <a:lnTo>
                    <a:pt x="1804" y="13153"/>
                  </a:lnTo>
                  <a:cubicBezTo>
                    <a:pt x="1312" y="13153"/>
                    <a:pt x="888" y="12945"/>
                    <a:pt x="533" y="12522"/>
                  </a:cubicBezTo>
                  <a:cubicBezTo>
                    <a:pt x="176" y="12100"/>
                    <a:pt x="0" y="11592"/>
                    <a:pt x="0" y="10990"/>
                  </a:cubicBezTo>
                  <a:lnTo>
                    <a:pt x="0" y="7774"/>
                  </a:lnTo>
                  <a:cubicBezTo>
                    <a:pt x="0" y="7184"/>
                    <a:pt x="176" y="6676"/>
                    <a:pt x="526" y="6245"/>
                  </a:cubicBezTo>
                  <a:cubicBezTo>
                    <a:pt x="878" y="5819"/>
                    <a:pt x="1304" y="5605"/>
                    <a:pt x="1804" y="5605"/>
                  </a:cubicBezTo>
                  <a:lnTo>
                    <a:pt x="7652" y="5605"/>
                  </a:lnTo>
                  <a:cubicBezTo>
                    <a:pt x="8551" y="5605"/>
                    <a:pt x="9508" y="5449"/>
                    <a:pt x="10524" y="5135"/>
                  </a:cubicBezTo>
                  <a:cubicBezTo>
                    <a:pt x="11540" y="4821"/>
                    <a:pt x="12536" y="4399"/>
                    <a:pt x="13511" y="3873"/>
                  </a:cubicBezTo>
                  <a:cubicBezTo>
                    <a:pt x="14488" y="3342"/>
                    <a:pt x="15408" y="2744"/>
                    <a:pt x="16272" y="2071"/>
                  </a:cubicBezTo>
                  <a:cubicBezTo>
                    <a:pt x="17134" y="1405"/>
                    <a:pt x="17864" y="713"/>
                    <a:pt x="18459" y="0"/>
                  </a:cubicBezTo>
                  <a:cubicBezTo>
                    <a:pt x="18951" y="0"/>
                    <a:pt x="19374" y="214"/>
                    <a:pt x="19729" y="633"/>
                  </a:cubicBezTo>
                  <a:cubicBezTo>
                    <a:pt x="20087" y="1056"/>
                    <a:pt x="20263" y="1567"/>
                    <a:pt x="20263" y="2165"/>
                  </a:cubicBezTo>
                  <a:lnTo>
                    <a:pt x="20263" y="7334"/>
                  </a:lnTo>
                  <a:cubicBezTo>
                    <a:pt x="20647" y="7445"/>
                    <a:pt x="20963" y="7692"/>
                    <a:pt x="21218" y="8070"/>
                  </a:cubicBezTo>
                  <a:cubicBezTo>
                    <a:pt x="21472" y="8454"/>
                    <a:pt x="21599" y="8895"/>
                    <a:pt x="21599" y="9391"/>
                  </a:cubicBezTo>
                  <a:moveTo>
                    <a:pt x="18459" y="2855"/>
                  </a:moveTo>
                  <a:cubicBezTo>
                    <a:pt x="17864" y="3407"/>
                    <a:pt x="17215" y="3941"/>
                    <a:pt x="16512" y="4451"/>
                  </a:cubicBezTo>
                  <a:cubicBezTo>
                    <a:pt x="15810" y="4962"/>
                    <a:pt x="15065" y="5423"/>
                    <a:pt x="14280" y="5834"/>
                  </a:cubicBezTo>
                  <a:cubicBezTo>
                    <a:pt x="13494" y="6245"/>
                    <a:pt x="12693" y="6609"/>
                    <a:pt x="11878" y="6923"/>
                  </a:cubicBezTo>
                  <a:cubicBezTo>
                    <a:pt x="11060" y="7237"/>
                    <a:pt x="10255" y="7462"/>
                    <a:pt x="9457" y="7603"/>
                  </a:cubicBezTo>
                  <a:lnTo>
                    <a:pt x="9457" y="11172"/>
                  </a:lnTo>
                  <a:cubicBezTo>
                    <a:pt x="10255" y="11325"/>
                    <a:pt x="11060" y="11554"/>
                    <a:pt x="11878" y="11862"/>
                  </a:cubicBezTo>
                  <a:cubicBezTo>
                    <a:pt x="12693" y="12170"/>
                    <a:pt x="13494" y="12537"/>
                    <a:pt x="14280" y="12956"/>
                  </a:cubicBezTo>
                  <a:cubicBezTo>
                    <a:pt x="15065" y="13379"/>
                    <a:pt x="15812" y="13843"/>
                    <a:pt x="16524" y="14347"/>
                  </a:cubicBezTo>
                  <a:cubicBezTo>
                    <a:pt x="17234" y="14855"/>
                    <a:pt x="17881" y="15380"/>
                    <a:pt x="18459" y="15920"/>
                  </a:cubicBezTo>
                  <a:lnTo>
                    <a:pt x="18459" y="2855"/>
                  </a:lnTo>
                  <a:close/>
                </a:path>
              </a:pathLst>
            </a:custGeom>
            <a:solidFill>
              <a:schemeClr val="bg1"/>
            </a:solidFill>
            <a:ln>
              <a:noFill/>
            </a:ln>
            <a:effectLst/>
          </p:spPr>
          <p:txBody>
            <a:bodyPr anchor="ctr"/>
            <a:lstStyle/>
            <a:p>
              <a:pPr algn="ctr"/>
              <a:endParaRPr/>
            </a:p>
          </p:txBody>
        </p:sp>
        <p:sp>
          <p:nvSpPr>
            <p:cNvPr id="43" name="íšlîḑe">
              <a:extLst>
                <a:ext uri="{FF2B5EF4-FFF2-40B4-BE49-F238E27FC236}">
                  <a16:creationId xmlns:a16="http://schemas.microsoft.com/office/drawing/2014/main" id="{7189EA78-7504-451E-8E47-514CCF9AD414}"/>
                </a:ext>
              </a:extLst>
            </p:cNvPr>
            <p:cNvSpPr/>
            <p:nvPr/>
          </p:nvSpPr>
          <p:spPr bwMode="auto">
            <a:xfrm>
              <a:off x="2550053" y="2522029"/>
              <a:ext cx="371709" cy="444880"/>
            </a:xfrm>
            <a:custGeom>
              <a:avLst/>
              <a:gdLst>
                <a:gd name="connsiteX0" fmla="*/ 206367 w 449768"/>
                <a:gd name="connsiteY0" fmla="*/ 423375 h 538305"/>
                <a:gd name="connsiteX1" fmla="*/ 208536 w 449768"/>
                <a:gd name="connsiteY1" fmla="*/ 434347 h 538305"/>
                <a:gd name="connsiteX2" fmla="*/ 136133 w 449768"/>
                <a:gd name="connsiteY2" fmla="*/ 527584 h 538305"/>
                <a:gd name="connsiteX3" fmla="*/ 120760 w 449768"/>
                <a:gd name="connsiteY3" fmla="*/ 517169 h 538305"/>
                <a:gd name="connsiteX4" fmla="*/ 192667 w 449768"/>
                <a:gd name="connsiteY4" fmla="*/ 423933 h 538305"/>
                <a:gd name="connsiteX5" fmla="*/ 206367 w 449768"/>
                <a:gd name="connsiteY5" fmla="*/ 423375 h 538305"/>
                <a:gd name="connsiteX6" fmla="*/ 158371 w 449768"/>
                <a:gd name="connsiteY6" fmla="*/ 386315 h 538305"/>
                <a:gd name="connsiteX7" fmla="*/ 160292 w 449768"/>
                <a:gd name="connsiteY7" fmla="*/ 397002 h 538305"/>
                <a:gd name="connsiteX8" fmla="*/ 51725 w 449768"/>
                <a:gd name="connsiteY8" fmla="*/ 536376 h 538305"/>
                <a:gd name="connsiteX9" fmla="*/ 41315 w 449768"/>
                <a:gd name="connsiteY9" fmla="*/ 525997 h 538305"/>
                <a:gd name="connsiteX10" fmla="*/ 144924 w 449768"/>
                <a:gd name="connsiteY10" fmla="*/ 387118 h 538305"/>
                <a:gd name="connsiteX11" fmla="*/ 158371 w 449768"/>
                <a:gd name="connsiteY11" fmla="*/ 386315 h 538305"/>
                <a:gd name="connsiteX12" fmla="*/ 112005 w 449768"/>
                <a:gd name="connsiteY12" fmla="*/ 349971 h 538305"/>
                <a:gd name="connsiteX13" fmla="*/ 113740 w 449768"/>
                <a:gd name="connsiteY13" fmla="*/ 362927 h 538305"/>
                <a:gd name="connsiteX14" fmla="*/ 41338 w 449768"/>
                <a:gd name="connsiteY14" fmla="*/ 455221 h 538305"/>
                <a:gd name="connsiteX15" fmla="*/ 25965 w 449768"/>
                <a:gd name="connsiteY15" fmla="*/ 444857 h 538305"/>
                <a:gd name="connsiteX16" fmla="*/ 98367 w 449768"/>
                <a:gd name="connsiteY16" fmla="*/ 352562 h 538305"/>
                <a:gd name="connsiteX17" fmla="*/ 112005 w 449768"/>
                <a:gd name="connsiteY17" fmla="*/ 349971 h 538305"/>
                <a:gd name="connsiteX18" fmla="*/ 287508 w 449768"/>
                <a:gd name="connsiteY18" fmla="*/ 153269 h 538305"/>
                <a:gd name="connsiteX19" fmla="*/ 261020 w 449768"/>
                <a:gd name="connsiteY19" fmla="*/ 165441 h 538305"/>
                <a:gd name="connsiteX20" fmla="*/ 255548 w 449768"/>
                <a:gd name="connsiteY20" fmla="*/ 175874 h 538305"/>
                <a:gd name="connsiteX21" fmla="*/ 276441 w 449768"/>
                <a:gd name="connsiteY21" fmla="*/ 232511 h 538305"/>
                <a:gd name="connsiteX22" fmla="*/ 328174 w 449768"/>
                <a:gd name="connsiteY22" fmla="*/ 227543 h 538305"/>
                <a:gd name="connsiteX23" fmla="*/ 333645 w 449768"/>
                <a:gd name="connsiteY23" fmla="*/ 217110 h 538305"/>
                <a:gd name="connsiteX24" fmla="*/ 317727 w 449768"/>
                <a:gd name="connsiteY24" fmla="*/ 160472 h 538305"/>
                <a:gd name="connsiteX25" fmla="*/ 287508 w 449768"/>
                <a:gd name="connsiteY25" fmla="*/ 153269 h 538305"/>
                <a:gd name="connsiteX26" fmla="*/ 437111 w 449768"/>
                <a:gd name="connsiteY26" fmla="*/ 0 h 538305"/>
                <a:gd name="connsiteX27" fmla="*/ 442086 w 449768"/>
                <a:gd name="connsiteY27" fmla="*/ 0 h 538305"/>
                <a:gd name="connsiteX28" fmla="*/ 447557 w 449768"/>
                <a:gd name="connsiteY28" fmla="*/ 4968 h 538305"/>
                <a:gd name="connsiteX29" fmla="*/ 447557 w 449768"/>
                <a:gd name="connsiteY29" fmla="*/ 9937 h 538305"/>
                <a:gd name="connsiteX30" fmla="*/ 447557 w 449768"/>
                <a:gd name="connsiteY30" fmla="*/ 20370 h 538305"/>
                <a:gd name="connsiteX31" fmla="*/ 447557 w 449768"/>
                <a:gd name="connsiteY31" fmla="*/ 46204 h 538305"/>
                <a:gd name="connsiteX32" fmla="*/ 442086 w 449768"/>
                <a:gd name="connsiteY32" fmla="*/ 103338 h 538305"/>
                <a:gd name="connsiteX33" fmla="*/ 442086 w 449768"/>
                <a:gd name="connsiteY33" fmla="*/ 113771 h 538305"/>
                <a:gd name="connsiteX34" fmla="*/ 437111 w 449768"/>
                <a:gd name="connsiteY34" fmla="*/ 134141 h 538305"/>
                <a:gd name="connsiteX35" fmla="*/ 421194 w 449768"/>
                <a:gd name="connsiteY35" fmla="*/ 175874 h 538305"/>
                <a:gd name="connsiteX36" fmla="*/ 354040 w 449768"/>
                <a:gd name="connsiteY36" fmla="*/ 289645 h 538305"/>
                <a:gd name="connsiteX37" fmla="*/ 344091 w 449768"/>
                <a:gd name="connsiteY37" fmla="*/ 325913 h 538305"/>
                <a:gd name="connsiteX38" fmla="*/ 276441 w 449768"/>
                <a:gd name="connsiteY38" fmla="*/ 506754 h 538305"/>
                <a:gd name="connsiteX39" fmla="*/ 261020 w 449768"/>
                <a:gd name="connsiteY39" fmla="*/ 496321 h 538305"/>
                <a:gd name="connsiteX40" fmla="*/ 17278 w 449768"/>
                <a:gd name="connsiteY40" fmla="*/ 310511 h 538305"/>
                <a:gd name="connsiteX41" fmla="*/ 1858 w 449768"/>
                <a:gd name="connsiteY41" fmla="*/ 289645 h 538305"/>
                <a:gd name="connsiteX42" fmla="*/ 162528 w 449768"/>
                <a:gd name="connsiteY42" fmla="*/ 186307 h 538305"/>
                <a:gd name="connsiteX43" fmla="*/ 193369 w 449768"/>
                <a:gd name="connsiteY43" fmla="*/ 165441 h 538305"/>
                <a:gd name="connsiteX44" fmla="*/ 312753 w 449768"/>
                <a:gd name="connsiteY44" fmla="*/ 51669 h 538305"/>
                <a:gd name="connsiteX45" fmla="*/ 400799 w 449768"/>
                <a:gd name="connsiteY45" fmla="*/ 9937 h 538305"/>
                <a:gd name="connsiteX46" fmla="*/ 426665 w 449768"/>
                <a:gd name="connsiteY46" fmla="*/ 4968 h 538305"/>
                <a:gd name="connsiteX47" fmla="*/ 437111 w 449768"/>
                <a:gd name="connsiteY47" fmla="*/ 0 h 53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49768" h="538305">
                  <a:moveTo>
                    <a:pt x="206367" y="423375"/>
                  </a:moveTo>
                  <a:cubicBezTo>
                    <a:pt x="209652" y="425297"/>
                    <a:pt x="211016" y="429140"/>
                    <a:pt x="208536" y="434347"/>
                  </a:cubicBezTo>
                  <a:cubicBezTo>
                    <a:pt x="198122" y="460136"/>
                    <a:pt x="172335" y="506754"/>
                    <a:pt x="136133" y="527584"/>
                  </a:cubicBezTo>
                  <a:cubicBezTo>
                    <a:pt x="125719" y="532543"/>
                    <a:pt x="115305" y="527584"/>
                    <a:pt x="120760" y="517169"/>
                  </a:cubicBezTo>
                  <a:cubicBezTo>
                    <a:pt x="130678" y="491380"/>
                    <a:pt x="151507" y="450217"/>
                    <a:pt x="192667" y="423933"/>
                  </a:cubicBezTo>
                  <a:cubicBezTo>
                    <a:pt x="197874" y="421453"/>
                    <a:pt x="203081" y="421453"/>
                    <a:pt x="206367" y="423375"/>
                  </a:cubicBezTo>
                  <a:close/>
                  <a:moveTo>
                    <a:pt x="158371" y="386315"/>
                  </a:moveTo>
                  <a:cubicBezTo>
                    <a:pt x="161532" y="388230"/>
                    <a:pt x="162771" y="392060"/>
                    <a:pt x="160292" y="397002"/>
                  </a:cubicBezTo>
                  <a:cubicBezTo>
                    <a:pt x="144924" y="433081"/>
                    <a:pt x="113693" y="500297"/>
                    <a:pt x="51725" y="536376"/>
                  </a:cubicBezTo>
                  <a:cubicBezTo>
                    <a:pt x="41315" y="541318"/>
                    <a:pt x="36357" y="536376"/>
                    <a:pt x="41315" y="525997"/>
                  </a:cubicBezTo>
                  <a:cubicBezTo>
                    <a:pt x="51725" y="489918"/>
                    <a:pt x="82957" y="422702"/>
                    <a:pt x="144924" y="387118"/>
                  </a:cubicBezTo>
                  <a:cubicBezTo>
                    <a:pt x="150130" y="384399"/>
                    <a:pt x="155211" y="384399"/>
                    <a:pt x="158371" y="386315"/>
                  </a:cubicBezTo>
                  <a:close/>
                  <a:moveTo>
                    <a:pt x="112005" y="349971"/>
                  </a:moveTo>
                  <a:cubicBezTo>
                    <a:pt x="115228" y="352562"/>
                    <a:pt x="116468" y="357744"/>
                    <a:pt x="113740" y="362927"/>
                  </a:cubicBezTo>
                  <a:cubicBezTo>
                    <a:pt x="103326" y="388591"/>
                    <a:pt x="77539" y="429556"/>
                    <a:pt x="41338" y="455221"/>
                  </a:cubicBezTo>
                  <a:cubicBezTo>
                    <a:pt x="25965" y="460157"/>
                    <a:pt x="21006" y="455221"/>
                    <a:pt x="25965" y="444857"/>
                  </a:cubicBezTo>
                  <a:cubicBezTo>
                    <a:pt x="36379" y="419192"/>
                    <a:pt x="57207" y="378227"/>
                    <a:pt x="98367" y="352562"/>
                  </a:cubicBezTo>
                  <a:cubicBezTo>
                    <a:pt x="103574" y="347380"/>
                    <a:pt x="108781" y="347380"/>
                    <a:pt x="112005" y="349971"/>
                  </a:cubicBezTo>
                  <a:close/>
                  <a:moveTo>
                    <a:pt x="287508" y="153269"/>
                  </a:moveTo>
                  <a:cubicBezTo>
                    <a:pt x="277809" y="153890"/>
                    <a:pt x="268730" y="157740"/>
                    <a:pt x="261020" y="165441"/>
                  </a:cubicBezTo>
                  <a:cubicBezTo>
                    <a:pt x="261020" y="170409"/>
                    <a:pt x="261020" y="170409"/>
                    <a:pt x="255548" y="175874"/>
                  </a:cubicBezTo>
                  <a:cubicBezTo>
                    <a:pt x="245600" y="196243"/>
                    <a:pt x="250574" y="222575"/>
                    <a:pt x="276441" y="232511"/>
                  </a:cubicBezTo>
                  <a:cubicBezTo>
                    <a:pt x="291861" y="242944"/>
                    <a:pt x="317727" y="242944"/>
                    <a:pt x="328174" y="227543"/>
                  </a:cubicBezTo>
                  <a:cubicBezTo>
                    <a:pt x="333645" y="222575"/>
                    <a:pt x="333645" y="222575"/>
                    <a:pt x="333645" y="217110"/>
                  </a:cubicBezTo>
                  <a:cubicBezTo>
                    <a:pt x="349066" y="196243"/>
                    <a:pt x="338620" y="170409"/>
                    <a:pt x="317727" y="160472"/>
                  </a:cubicBezTo>
                  <a:cubicBezTo>
                    <a:pt x="307530" y="155256"/>
                    <a:pt x="297208" y="152648"/>
                    <a:pt x="287508" y="153269"/>
                  </a:cubicBezTo>
                  <a:close/>
                  <a:moveTo>
                    <a:pt x="437111" y="0"/>
                  </a:moveTo>
                  <a:lnTo>
                    <a:pt x="442086" y="0"/>
                  </a:lnTo>
                  <a:cubicBezTo>
                    <a:pt x="447557" y="0"/>
                    <a:pt x="452532" y="0"/>
                    <a:pt x="447557" y="4968"/>
                  </a:cubicBezTo>
                  <a:lnTo>
                    <a:pt x="447557" y="9937"/>
                  </a:lnTo>
                  <a:cubicBezTo>
                    <a:pt x="452532" y="15402"/>
                    <a:pt x="447557" y="15402"/>
                    <a:pt x="447557" y="20370"/>
                  </a:cubicBezTo>
                  <a:cubicBezTo>
                    <a:pt x="447557" y="25835"/>
                    <a:pt x="447557" y="36268"/>
                    <a:pt x="447557" y="46204"/>
                  </a:cubicBezTo>
                  <a:cubicBezTo>
                    <a:pt x="447557" y="62102"/>
                    <a:pt x="447557" y="82472"/>
                    <a:pt x="442086" y="103338"/>
                  </a:cubicBezTo>
                  <a:cubicBezTo>
                    <a:pt x="442086" y="108306"/>
                    <a:pt x="442086" y="108306"/>
                    <a:pt x="442086" y="113771"/>
                  </a:cubicBezTo>
                  <a:cubicBezTo>
                    <a:pt x="437111" y="124205"/>
                    <a:pt x="437111" y="129173"/>
                    <a:pt x="437111" y="134141"/>
                  </a:cubicBezTo>
                  <a:cubicBezTo>
                    <a:pt x="431640" y="150039"/>
                    <a:pt x="426665" y="165441"/>
                    <a:pt x="421194" y="175874"/>
                  </a:cubicBezTo>
                  <a:cubicBezTo>
                    <a:pt x="406271" y="212141"/>
                    <a:pt x="385378" y="248409"/>
                    <a:pt x="354040" y="289645"/>
                  </a:cubicBezTo>
                  <a:cubicBezTo>
                    <a:pt x="349066" y="294613"/>
                    <a:pt x="344091" y="315479"/>
                    <a:pt x="344091" y="325913"/>
                  </a:cubicBezTo>
                  <a:cubicBezTo>
                    <a:pt x="354040" y="367148"/>
                    <a:pt x="359512" y="460053"/>
                    <a:pt x="276441" y="506754"/>
                  </a:cubicBezTo>
                  <a:cubicBezTo>
                    <a:pt x="265994" y="517187"/>
                    <a:pt x="255548" y="512219"/>
                    <a:pt x="261020" y="496321"/>
                  </a:cubicBezTo>
                  <a:cubicBezTo>
                    <a:pt x="261020" y="439684"/>
                    <a:pt x="240128" y="305046"/>
                    <a:pt x="17278" y="310511"/>
                  </a:cubicBezTo>
                  <a:cubicBezTo>
                    <a:pt x="1858" y="310511"/>
                    <a:pt x="-3117" y="300078"/>
                    <a:pt x="1858" y="289645"/>
                  </a:cubicBezTo>
                  <a:cubicBezTo>
                    <a:pt x="17278" y="253377"/>
                    <a:pt x="59062" y="180842"/>
                    <a:pt x="162528" y="186307"/>
                  </a:cubicBezTo>
                  <a:cubicBezTo>
                    <a:pt x="172975" y="186307"/>
                    <a:pt x="188395" y="175874"/>
                    <a:pt x="193369" y="165441"/>
                  </a:cubicBezTo>
                  <a:cubicBezTo>
                    <a:pt x="214261" y="139606"/>
                    <a:pt x="250574" y="87937"/>
                    <a:pt x="312753" y="51669"/>
                  </a:cubicBezTo>
                  <a:cubicBezTo>
                    <a:pt x="349066" y="25835"/>
                    <a:pt x="379907" y="15402"/>
                    <a:pt x="400799" y="9937"/>
                  </a:cubicBezTo>
                  <a:cubicBezTo>
                    <a:pt x="416219" y="9937"/>
                    <a:pt x="426665" y="9937"/>
                    <a:pt x="426665" y="4968"/>
                  </a:cubicBezTo>
                  <a:cubicBezTo>
                    <a:pt x="431640" y="4968"/>
                    <a:pt x="431640" y="0"/>
                    <a:pt x="437111" y="0"/>
                  </a:cubicBezTo>
                  <a:close/>
                </a:path>
              </a:pathLst>
            </a:custGeom>
            <a:solidFill>
              <a:schemeClr val="bg1"/>
            </a:solidFill>
            <a:ln>
              <a:noFill/>
            </a:ln>
            <a:effectLst/>
            <a:extLst>
              <a:ext uri="{91240B29-F687-4f45-9708-019B960494DF}">
                <a14:hiddenLine xmlns:a16="http://schemas.microsoft.com/office/drawing/2014/main" xmlns:p14="http://schemas.microsoft.com/office/powerpoint/2010/main" xmlns:a14="http://schemas.microsoft.com/office/drawing/2010/main" xmlns:lc="http://schemas.openxmlformats.org/drawingml/2006/lockedCanvas" xmlns="" w="9525" cap="flat">
                  <a:solidFill>
                    <a:srgbClr val="808080"/>
                  </a:solidFill>
                  <a:bevel/>
                  <a:headEnd/>
                  <a:tailEnd/>
                </a14:hiddenLine>
              </a:ext>
              <a:ext uri="{AF507438-7753-43e0-B8FC-AC1667EBCBE1}">
                <a14:hiddenEffects xmlns:a16="http://schemas.microsoft.com/office/drawing/2014/main" xmlns:p14="http://schemas.microsoft.com/office/powerpoint/2010/main" xmlns:a14="http://schemas.microsoft.com/office/drawing/2010/main" xmlns:lc="http://schemas.openxmlformats.org/drawingml/2006/lockedCanvas" xmlns="">
                  <a:effectLst>
                    <a:outerShdw blurRad="63500" dist="38099" dir="2700000" algn="ctr" rotWithShape="0">
                      <a:srgbClr val="000000">
                        <a:alpha val="74998"/>
                      </a:srgbClr>
                    </a:outerShdw>
                  </a:effectLst>
                </a14:hiddenEffects>
              </a:ext>
            </a:extLst>
          </p:spPr>
          <p:txBody>
            <a:bodyPr anchor="ctr"/>
            <a:lstStyle/>
            <a:p>
              <a:pPr algn="ctr"/>
              <a:endParaRPr/>
            </a:p>
          </p:txBody>
        </p:sp>
        <p:cxnSp>
          <p:nvCxnSpPr>
            <p:cNvPr id="45" name="直接连接符 44">
              <a:extLst>
                <a:ext uri="{FF2B5EF4-FFF2-40B4-BE49-F238E27FC236}">
                  <a16:creationId xmlns:a16="http://schemas.microsoft.com/office/drawing/2014/main" id="{D3690043-4BFB-466B-B21A-E054E95AA004}"/>
                </a:ext>
              </a:extLst>
            </p:cNvPr>
            <p:cNvCxnSpPr>
              <a:stCxn id="31" idx="0"/>
              <a:endCxn id="47" idx="4"/>
            </p:cNvCxnSpPr>
            <p:nvPr/>
          </p:nvCxnSpPr>
          <p:spPr>
            <a:xfrm flipV="1">
              <a:off x="4362742" y="2123121"/>
              <a:ext cx="1" cy="442918"/>
            </a:xfrm>
            <a:prstGeom prst="line">
              <a:avLst/>
            </a:prstGeom>
            <a:ln>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直接连接符 45">
              <a:extLst>
                <a:ext uri="{FF2B5EF4-FFF2-40B4-BE49-F238E27FC236}">
                  <a16:creationId xmlns:a16="http://schemas.microsoft.com/office/drawing/2014/main" id="{1A143D1F-D338-4ED4-9842-87245FF03A49}"/>
                </a:ext>
              </a:extLst>
            </p:cNvPr>
            <p:cNvCxnSpPr>
              <a:stCxn id="34" idx="0"/>
              <a:endCxn id="48" idx="4"/>
            </p:cNvCxnSpPr>
            <p:nvPr/>
          </p:nvCxnSpPr>
          <p:spPr>
            <a:xfrm flipV="1">
              <a:off x="7732818" y="2121896"/>
              <a:ext cx="1" cy="444143"/>
            </a:xfrm>
            <a:prstGeom prst="line">
              <a:avLst/>
            </a:prstGeom>
            <a:ln>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7" name="íṩḷiḍê">
              <a:extLst>
                <a:ext uri="{FF2B5EF4-FFF2-40B4-BE49-F238E27FC236}">
                  <a16:creationId xmlns:a16="http://schemas.microsoft.com/office/drawing/2014/main" id="{9AA9E4E1-865D-4EFD-8D56-0B51748EDB3E}"/>
                </a:ext>
              </a:extLst>
            </p:cNvPr>
            <p:cNvSpPr/>
            <p:nvPr/>
          </p:nvSpPr>
          <p:spPr>
            <a:xfrm>
              <a:off x="3984891" y="1367418"/>
              <a:ext cx="755703" cy="75570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200" dirty="0"/>
            </a:p>
          </p:txBody>
        </p:sp>
        <p:sp>
          <p:nvSpPr>
            <p:cNvPr id="48" name="iślïḓe">
              <a:extLst>
                <a:ext uri="{FF2B5EF4-FFF2-40B4-BE49-F238E27FC236}">
                  <a16:creationId xmlns:a16="http://schemas.microsoft.com/office/drawing/2014/main" id="{B10E0E9A-3DAD-4D10-8F2D-B75864A5BEAD}"/>
                </a:ext>
              </a:extLst>
            </p:cNvPr>
            <p:cNvSpPr/>
            <p:nvPr/>
          </p:nvSpPr>
          <p:spPr>
            <a:xfrm>
              <a:off x="7354967" y="1366193"/>
              <a:ext cx="755703" cy="75570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endParaRPr sz="1200" dirty="0"/>
            </a:p>
          </p:txBody>
        </p:sp>
        <p:sp>
          <p:nvSpPr>
            <p:cNvPr id="49" name="íşḻiďè">
              <a:extLst>
                <a:ext uri="{FF2B5EF4-FFF2-40B4-BE49-F238E27FC236}">
                  <a16:creationId xmlns:a16="http://schemas.microsoft.com/office/drawing/2014/main" id="{357C28E0-17B9-455E-9E70-BB79ACE36C39}"/>
                </a:ext>
              </a:extLst>
            </p:cNvPr>
            <p:cNvSpPr txBox="1"/>
            <p:nvPr/>
          </p:nvSpPr>
          <p:spPr bwMode="auto">
            <a:xfrm>
              <a:off x="1899285" y="3078733"/>
              <a:ext cx="1672590" cy="559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a:normAutofit/>
            </a:bodyPr>
            <a:lstStyle/>
            <a:p>
              <a:pPr algn="ctr">
                <a:lnSpc>
                  <a:spcPct val="110000"/>
                </a:lnSpc>
                <a:spcBef>
                  <a:spcPct val="0"/>
                </a:spcBef>
              </a:pPr>
              <a:r>
                <a:rPr lang="zh-CN" altLang="en-US" b="1" dirty="0">
                  <a:solidFill>
                    <a:schemeClr val="bg1"/>
                  </a:solidFill>
                </a:rPr>
                <a:t>初步分析</a:t>
              </a:r>
              <a:endParaRPr lang="en-US" altLang="zh-CN" b="1" dirty="0">
                <a:solidFill>
                  <a:schemeClr val="bg1"/>
                </a:solidFill>
              </a:endParaRPr>
            </a:p>
          </p:txBody>
        </p:sp>
        <p:sp>
          <p:nvSpPr>
            <p:cNvPr id="50" name="îṣļiḍé">
              <a:extLst>
                <a:ext uri="{FF2B5EF4-FFF2-40B4-BE49-F238E27FC236}">
                  <a16:creationId xmlns:a16="http://schemas.microsoft.com/office/drawing/2014/main" id="{501D7E6B-C5E0-444F-ACE8-53B0F3010178}"/>
                </a:ext>
              </a:extLst>
            </p:cNvPr>
            <p:cNvSpPr txBox="1"/>
            <p:nvPr/>
          </p:nvSpPr>
          <p:spPr bwMode="auto">
            <a:xfrm>
              <a:off x="5271011" y="3078733"/>
              <a:ext cx="1672590" cy="559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a:normAutofit/>
            </a:bodyPr>
            <a:lstStyle/>
            <a:p>
              <a:pPr algn="ctr">
                <a:lnSpc>
                  <a:spcPct val="110000"/>
                </a:lnSpc>
                <a:spcBef>
                  <a:spcPct val="0"/>
                </a:spcBef>
              </a:pPr>
              <a:r>
                <a:rPr lang="zh-CN" altLang="en-US" b="1" dirty="0">
                  <a:solidFill>
                    <a:schemeClr val="bg1"/>
                  </a:solidFill>
                </a:rPr>
                <a:t>结构分析</a:t>
              </a:r>
              <a:endParaRPr lang="en-US" altLang="zh-CN" b="1" dirty="0">
                <a:solidFill>
                  <a:schemeClr val="bg1"/>
                </a:solidFill>
              </a:endParaRPr>
            </a:p>
          </p:txBody>
        </p:sp>
        <p:sp>
          <p:nvSpPr>
            <p:cNvPr id="51" name="îšļïḍe">
              <a:extLst>
                <a:ext uri="{FF2B5EF4-FFF2-40B4-BE49-F238E27FC236}">
                  <a16:creationId xmlns:a16="http://schemas.microsoft.com/office/drawing/2014/main" id="{9064FB69-4E70-434C-ACED-406249783E4F}"/>
                </a:ext>
              </a:extLst>
            </p:cNvPr>
            <p:cNvSpPr txBox="1"/>
            <p:nvPr/>
          </p:nvSpPr>
          <p:spPr bwMode="auto">
            <a:xfrm>
              <a:off x="8659973" y="3078733"/>
              <a:ext cx="1672590" cy="559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a:normAutofit/>
            </a:bodyPr>
            <a:lstStyle/>
            <a:p>
              <a:pPr algn="ctr">
                <a:lnSpc>
                  <a:spcPct val="110000"/>
                </a:lnSpc>
                <a:spcBef>
                  <a:spcPct val="0"/>
                </a:spcBef>
              </a:pPr>
              <a:r>
                <a:rPr lang="zh-CN" altLang="en-US" b="1" dirty="0">
                  <a:solidFill>
                    <a:schemeClr val="bg1"/>
                  </a:solidFill>
                </a:rPr>
                <a:t>行为分析</a:t>
              </a:r>
              <a:endParaRPr lang="en-US" altLang="zh-CN" b="1" dirty="0">
                <a:solidFill>
                  <a:schemeClr val="bg1"/>
                </a:solidFill>
              </a:endParaRPr>
            </a:p>
          </p:txBody>
        </p:sp>
        <p:grpSp>
          <p:nvGrpSpPr>
            <p:cNvPr id="52" name="íṩļiḓè">
              <a:extLst>
                <a:ext uri="{FF2B5EF4-FFF2-40B4-BE49-F238E27FC236}">
                  <a16:creationId xmlns:a16="http://schemas.microsoft.com/office/drawing/2014/main" id="{ED8AC544-2865-4021-83D2-6EC452C2D47F}"/>
                </a:ext>
              </a:extLst>
            </p:cNvPr>
            <p:cNvGrpSpPr/>
            <p:nvPr/>
          </p:nvGrpSpPr>
          <p:grpSpPr>
            <a:xfrm>
              <a:off x="1341120" y="4539275"/>
              <a:ext cx="2926130" cy="1438275"/>
              <a:chOff x="1364605" y="4539275"/>
              <a:chExt cx="2926130" cy="1438275"/>
            </a:xfrm>
          </p:grpSpPr>
          <p:sp>
            <p:nvSpPr>
              <p:cNvPr id="59" name="îŝḷiḍê">
                <a:extLst>
                  <a:ext uri="{FF2B5EF4-FFF2-40B4-BE49-F238E27FC236}">
                    <a16:creationId xmlns:a16="http://schemas.microsoft.com/office/drawing/2014/main" id="{A09C9064-7F79-4FC7-81E0-69D60D4A484A}"/>
                  </a:ext>
                </a:extLst>
              </p:cNvPr>
              <p:cNvSpPr txBox="1"/>
              <p:nvPr/>
            </p:nvSpPr>
            <p:spPr bwMode="auto">
              <a:xfrm>
                <a:off x="1543893" y="4539275"/>
                <a:ext cx="2440998" cy="537607"/>
              </a:xfrm>
              <a:prstGeom prst="rect">
                <a:avLst/>
              </a:prstGeom>
              <a:noFill/>
            </p:spPr>
            <p:txBody>
              <a:bodyPr wrap="square" lIns="91440" tIns="45720" rIns="91440" bIns="45720" anchor="b" anchorCtr="0">
                <a:normAutofit/>
              </a:bodyPr>
              <a:lstStyle/>
              <a:p>
                <a:pPr algn="ctr"/>
                <a:r>
                  <a:rPr lang="zh-CN" altLang="en-US" b="1" dirty="0"/>
                  <a:t>初步分析</a:t>
                </a:r>
                <a:endParaRPr lang="zh-CN" altLang="en-US" b="1" dirty="0">
                  <a:effectLst/>
                </a:endParaRPr>
              </a:p>
            </p:txBody>
          </p:sp>
          <p:sp>
            <p:nvSpPr>
              <p:cNvPr id="60" name="íṥḷíḓe">
                <a:extLst>
                  <a:ext uri="{FF2B5EF4-FFF2-40B4-BE49-F238E27FC236}">
                    <a16:creationId xmlns:a16="http://schemas.microsoft.com/office/drawing/2014/main" id="{FE6E993D-D873-4644-8636-DE022C5DEC74}"/>
                  </a:ext>
                </a:extLst>
              </p:cNvPr>
              <p:cNvSpPr txBox="1"/>
              <p:nvPr/>
            </p:nvSpPr>
            <p:spPr bwMode="auto">
              <a:xfrm>
                <a:off x="1364605" y="5076882"/>
                <a:ext cx="2926130" cy="900668"/>
              </a:xfrm>
              <a:prstGeom prst="rect">
                <a:avLst/>
              </a:prstGeom>
              <a:noFill/>
            </p:spPr>
            <p:txBody>
              <a:bodyPr wrap="square" lIns="91440" tIns="45720" rIns="91440" bIns="45720">
                <a:noAutofit/>
              </a:bodyPr>
              <a:lstStyle/>
              <a:p>
                <a:pPr lvl="0" algn="ctr">
                  <a:lnSpc>
                    <a:spcPts val="1600"/>
                  </a:lnSpc>
                  <a:buSzPct val="25000"/>
                  <a:defRPr/>
                </a:pPr>
                <a:r>
                  <a:rPr lang="zh-CN" altLang="en-US" sz="800" dirty="0"/>
                  <a:t>在初步分析期间，可从输入源代码中提取适合于恢复设计模式实例的信息，并使用源代码提取器将其存储在存储库中。 特别是，利用类图信息来构造相应的</a:t>
                </a:r>
                <a:r>
                  <a:rPr lang="en-US" altLang="zh-CN" sz="800" dirty="0"/>
                  <a:t>UML</a:t>
                </a:r>
                <a:r>
                  <a:rPr lang="zh-CN" altLang="en-US" sz="800" dirty="0"/>
                  <a:t>类图，并将其存储以用于模型分析。</a:t>
                </a:r>
                <a:endParaRPr lang="en-US" altLang="zh-CN" sz="800" dirty="0"/>
              </a:p>
            </p:txBody>
          </p:sp>
        </p:grpSp>
        <p:grpSp>
          <p:nvGrpSpPr>
            <p:cNvPr id="53" name="îśḻîďè">
              <a:extLst>
                <a:ext uri="{FF2B5EF4-FFF2-40B4-BE49-F238E27FC236}">
                  <a16:creationId xmlns:a16="http://schemas.microsoft.com/office/drawing/2014/main" id="{7C6BDA5B-C8BE-47FE-B1D9-DB3B39F68A58}"/>
                </a:ext>
              </a:extLst>
            </p:cNvPr>
            <p:cNvGrpSpPr/>
            <p:nvPr/>
          </p:nvGrpSpPr>
          <p:grpSpPr>
            <a:xfrm>
              <a:off x="4886806" y="4539275"/>
              <a:ext cx="2663305" cy="1438275"/>
              <a:chOff x="1543892" y="4539275"/>
              <a:chExt cx="2663305" cy="1438275"/>
            </a:xfrm>
          </p:grpSpPr>
          <p:sp>
            <p:nvSpPr>
              <p:cNvPr id="57" name="iS1îdè">
                <a:extLst>
                  <a:ext uri="{FF2B5EF4-FFF2-40B4-BE49-F238E27FC236}">
                    <a16:creationId xmlns:a16="http://schemas.microsoft.com/office/drawing/2014/main" id="{1454EB44-89F9-4267-B322-1588A0EECFAE}"/>
                  </a:ext>
                </a:extLst>
              </p:cNvPr>
              <p:cNvSpPr txBox="1"/>
              <p:nvPr/>
            </p:nvSpPr>
            <p:spPr bwMode="auto">
              <a:xfrm>
                <a:off x="1543893" y="4539275"/>
                <a:ext cx="2440998" cy="537607"/>
              </a:xfrm>
              <a:prstGeom prst="rect">
                <a:avLst/>
              </a:prstGeom>
              <a:noFill/>
            </p:spPr>
            <p:txBody>
              <a:bodyPr wrap="square" lIns="91440" tIns="45720" rIns="91440" bIns="45720" anchor="b" anchorCtr="0">
                <a:normAutofit/>
              </a:bodyPr>
              <a:lstStyle/>
              <a:p>
                <a:pPr algn="ctr"/>
                <a:r>
                  <a:rPr lang="zh-CN" altLang="en-US" b="1" dirty="0"/>
                  <a:t>结构分析</a:t>
                </a:r>
                <a:endParaRPr lang="zh-CN" altLang="en-US" b="1" dirty="0">
                  <a:effectLst/>
                </a:endParaRPr>
              </a:p>
            </p:txBody>
          </p:sp>
          <p:sp>
            <p:nvSpPr>
              <p:cNvPr id="58" name="îśḻïde">
                <a:extLst>
                  <a:ext uri="{FF2B5EF4-FFF2-40B4-BE49-F238E27FC236}">
                    <a16:creationId xmlns:a16="http://schemas.microsoft.com/office/drawing/2014/main" id="{ACB745FC-BF55-4C01-A57B-0349099424E1}"/>
                  </a:ext>
                </a:extLst>
              </p:cNvPr>
              <p:cNvSpPr txBox="1"/>
              <p:nvPr/>
            </p:nvSpPr>
            <p:spPr bwMode="auto">
              <a:xfrm>
                <a:off x="1543892" y="5076882"/>
                <a:ext cx="2663305" cy="900668"/>
              </a:xfrm>
              <a:prstGeom prst="rect">
                <a:avLst/>
              </a:prstGeom>
              <a:noFill/>
            </p:spPr>
            <p:txBody>
              <a:bodyPr wrap="square" lIns="91440" tIns="45720" rIns="91440" bIns="45720">
                <a:noAutofit/>
              </a:bodyPr>
              <a:lstStyle/>
              <a:p>
                <a:pPr lvl="0" algn="ctr">
                  <a:lnSpc>
                    <a:spcPts val="1600"/>
                  </a:lnSpc>
                  <a:buSzPct val="25000"/>
                  <a:defRPr/>
                </a:pPr>
                <a:r>
                  <a:rPr lang="zh-CN" altLang="en-US" sz="800" dirty="0"/>
                  <a:t>在结构分析期间，通过分析类图结构来识别设计模式的实例。 此恢复过程分为两个步骤。第一步是模型分析</a:t>
                </a:r>
                <a:r>
                  <a:rPr lang="en-US" altLang="zh-CN" sz="800" dirty="0"/>
                  <a:t>,</a:t>
                </a:r>
                <a:r>
                  <a:rPr lang="zh-CN" altLang="en-US" sz="800" dirty="0"/>
                  <a:t>第二步是源代码分析。</a:t>
                </a:r>
                <a:endParaRPr lang="en-US" altLang="zh-CN" sz="800" dirty="0"/>
              </a:p>
            </p:txBody>
          </p:sp>
        </p:grpSp>
        <p:grpSp>
          <p:nvGrpSpPr>
            <p:cNvPr id="54" name="îSḻide">
              <a:extLst>
                <a:ext uri="{FF2B5EF4-FFF2-40B4-BE49-F238E27FC236}">
                  <a16:creationId xmlns:a16="http://schemas.microsoft.com/office/drawing/2014/main" id="{0ABAEAEC-19F9-4F14-956E-CDED39B98282}"/>
                </a:ext>
              </a:extLst>
            </p:cNvPr>
            <p:cNvGrpSpPr/>
            <p:nvPr/>
          </p:nvGrpSpPr>
          <p:grpSpPr>
            <a:xfrm>
              <a:off x="8110670" y="4539275"/>
              <a:ext cx="2583534" cy="1438275"/>
              <a:chOff x="1401357" y="4539275"/>
              <a:chExt cx="2583534" cy="1438275"/>
            </a:xfrm>
          </p:grpSpPr>
          <p:sp>
            <p:nvSpPr>
              <p:cNvPr id="55" name="îś1iḍé">
                <a:extLst>
                  <a:ext uri="{FF2B5EF4-FFF2-40B4-BE49-F238E27FC236}">
                    <a16:creationId xmlns:a16="http://schemas.microsoft.com/office/drawing/2014/main" id="{B4E2FE89-B6E8-4ADB-AEE3-09916EF72324}"/>
                  </a:ext>
                </a:extLst>
              </p:cNvPr>
              <p:cNvSpPr txBox="1"/>
              <p:nvPr/>
            </p:nvSpPr>
            <p:spPr bwMode="auto">
              <a:xfrm>
                <a:off x="1543893" y="4539275"/>
                <a:ext cx="2440998" cy="537607"/>
              </a:xfrm>
              <a:prstGeom prst="rect">
                <a:avLst/>
              </a:prstGeom>
              <a:noFill/>
            </p:spPr>
            <p:txBody>
              <a:bodyPr wrap="square" lIns="91440" tIns="45720" rIns="91440" bIns="45720" anchor="b" anchorCtr="0">
                <a:normAutofit/>
              </a:bodyPr>
              <a:lstStyle/>
              <a:p>
                <a:pPr algn="ctr"/>
                <a:r>
                  <a:rPr lang="zh-CN" altLang="en-US" b="1" dirty="0"/>
                  <a:t>行为分析</a:t>
                </a:r>
                <a:endParaRPr lang="en-US" altLang="zh-CN" b="1" dirty="0"/>
              </a:p>
            </p:txBody>
          </p:sp>
          <p:sp>
            <p:nvSpPr>
              <p:cNvPr id="56" name="íśḷiḋe">
                <a:extLst>
                  <a:ext uri="{FF2B5EF4-FFF2-40B4-BE49-F238E27FC236}">
                    <a16:creationId xmlns:a16="http://schemas.microsoft.com/office/drawing/2014/main" id="{CA46DFFC-89F9-4857-A03B-F1777227049E}"/>
                  </a:ext>
                </a:extLst>
              </p:cNvPr>
              <p:cNvSpPr txBox="1"/>
              <p:nvPr/>
            </p:nvSpPr>
            <p:spPr bwMode="auto">
              <a:xfrm>
                <a:off x="1401357" y="5076882"/>
                <a:ext cx="2583534" cy="900668"/>
              </a:xfrm>
              <a:prstGeom prst="rect">
                <a:avLst/>
              </a:prstGeom>
              <a:noFill/>
            </p:spPr>
            <p:txBody>
              <a:bodyPr wrap="square" lIns="91440" tIns="45720" rIns="91440" bIns="45720">
                <a:noAutofit/>
              </a:bodyPr>
              <a:lstStyle/>
              <a:p>
                <a:pPr lvl="0" algn="ctr">
                  <a:lnSpc>
                    <a:spcPct val="150000"/>
                  </a:lnSpc>
                  <a:buSzPct val="25000"/>
                  <a:defRPr/>
                </a:pPr>
                <a:r>
                  <a:rPr lang="zh-CN" altLang="en-US" sz="800" dirty="0"/>
                  <a:t>从结构分析中获得的候选实例集连同模式行为的规范以及带有测试套件的可执行程序（即字节码和测试用例）一起被提供给行为分析。 目的是确定行为符合其实例模式定义的候选者。</a:t>
                </a:r>
                <a:endParaRPr lang="en-US" altLang="zh-CN" sz="800" dirty="0"/>
              </a:p>
            </p:txBody>
          </p:sp>
        </p:grpSp>
      </p:grpSp>
    </p:spTree>
    <p:extLst>
      <p:ext uri="{BB962C8B-B14F-4D97-AF65-F5344CB8AC3E}">
        <p14:creationId xmlns:p14="http://schemas.microsoft.com/office/powerpoint/2010/main" val="966319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50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9AD81192-8577-466A-851D-07CEB381863A}"/>
              </a:ext>
            </a:extLst>
          </p:cNvPr>
          <p:cNvGrpSpPr/>
          <p:nvPr/>
        </p:nvGrpSpPr>
        <p:grpSpPr>
          <a:xfrm flipH="1" flipV="1">
            <a:off x="0" y="506412"/>
            <a:ext cx="5189538" cy="6351588"/>
            <a:chOff x="7002463" y="0"/>
            <a:chExt cx="5189538" cy="6351588"/>
          </a:xfrm>
        </p:grpSpPr>
        <p:sp>
          <p:nvSpPr>
            <p:cNvPr id="6" name="Freeform 8">
              <a:extLst>
                <a:ext uri="{FF2B5EF4-FFF2-40B4-BE49-F238E27FC236}">
                  <a16:creationId xmlns:a16="http://schemas.microsoft.com/office/drawing/2014/main" id="{D294170D-9208-4629-B6E7-5BDB1C209B24}"/>
                </a:ext>
              </a:extLst>
            </p:cNvPr>
            <p:cNvSpPr>
              <a:spLocks/>
            </p:cNvSpPr>
            <p:nvPr userDrawn="1"/>
          </p:nvSpPr>
          <p:spPr bwMode="auto">
            <a:xfrm>
              <a:off x="7237413" y="0"/>
              <a:ext cx="4954588" cy="4941888"/>
            </a:xfrm>
            <a:custGeom>
              <a:avLst/>
              <a:gdLst>
                <a:gd name="T0" fmla="*/ 1501 w 1501"/>
                <a:gd name="T1" fmla="*/ 0 h 1500"/>
                <a:gd name="T2" fmla="*/ 267 w 1501"/>
                <a:gd name="T3" fmla="*/ 0 h 1500"/>
                <a:gd name="T4" fmla="*/ 517 w 1501"/>
                <a:gd name="T5" fmla="*/ 960 h 1500"/>
                <a:gd name="T6" fmla="*/ 1501 w 1501"/>
                <a:gd name="T7" fmla="*/ 1500 h 1500"/>
                <a:gd name="T8" fmla="*/ 1501 w 1501"/>
                <a:gd name="T9" fmla="*/ 0 h 1500"/>
              </a:gdLst>
              <a:ahLst/>
              <a:cxnLst>
                <a:cxn ang="0">
                  <a:pos x="T0" y="T1"/>
                </a:cxn>
                <a:cxn ang="0">
                  <a:pos x="T2" y="T3"/>
                </a:cxn>
                <a:cxn ang="0">
                  <a:pos x="T4" y="T5"/>
                </a:cxn>
                <a:cxn ang="0">
                  <a:pos x="T6" y="T7"/>
                </a:cxn>
                <a:cxn ang="0">
                  <a:pos x="T8" y="T9"/>
                </a:cxn>
              </a:cxnLst>
              <a:rect l="0" t="0" r="r" b="b"/>
              <a:pathLst>
                <a:path w="1501" h="1500">
                  <a:moveTo>
                    <a:pt x="1501" y="0"/>
                  </a:moveTo>
                  <a:cubicBezTo>
                    <a:pt x="267" y="0"/>
                    <a:pt x="267" y="0"/>
                    <a:pt x="267" y="0"/>
                  </a:cubicBezTo>
                  <a:cubicBezTo>
                    <a:pt x="102" y="234"/>
                    <a:pt x="0" y="599"/>
                    <a:pt x="517" y="960"/>
                  </a:cubicBezTo>
                  <a:cubicBezTo>
                    <a:pt x="894" y="1224"/>
                    <a:pt x="1236" y="1393"/>
                    <a:pt x="1501" y="1500"/>
                  </a:cubicBezTo>
                  <a:lnTo>
                    <a:pt x="1501" y="0"/>
                  </a:lnTo>
                  <a:close/>
                </a:path>
              </a:pathLst>
            </a:custGeom>
            <a:solidFill>
              <a:srgbClr val="113583">
                <a:alpha val="30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7" name="Freeform 7">
              <a:extLst>
                <a:ext uri="{FF2B5EF4-FFF2-40B4-BE49-F238E27FC236}">
                  <a16:creationId xmlns:a16="http://schemas.microsoft.com/office/drawing/2014/main" id="{6C73C419-FD7C-4460-95FA-136BC575F219}"/>
                </a:ext>
              </a:extLst>
            </p:cNvPr>
            <p:cNvSpPr>
              <a:spLocks/>
            </p:cNvSpPr>
            <p:nvPr userDrawn="1"/>
          </p:nvSpPr>
          <p:spPr bwMode="auto">
            <a:xfrm>
              <a:off x="7332663" y="0"/>
              <a:ext cx="4859338" cy="6351588"/>
            </a:xfrm>
            <a:custGeom>
              <a:avLst/>
              <a:gdLst>
                <a:gd name="T0" fmla="*/ 1472 w 1472"/>
                <a:gd name="T1" fmla="*/ 0 h 1928"/>
                <a:gd name="T2" fmla="*/ 372 w 1472"/>
                <a:gd name="T3" fmla="*/ 0 h 1928"/>
                <a:gd name="T4" fmla="*/ 284 w 1472"/>
                <a:gd name="T5" fmla="*/ 296 h 1928"/>
                <a:gd name="T6" fmla="*/ 404 w 1472"/>
                <a:gd name="T7" fmla="*/ 1260 h 1928"/>
                <a:gd name="T8" fmla="*/ 1140 w 1472"/>
                <a:gd name="T9" fmla="*/ 1900 h 1928"/>
                <a:gd name="T10" fmla="*/ 1472 w 1472"/>
                <a:gd name="T11" fmla="*/ 1796 h 1928"/>
                <a:gd name="T12" fmla="*/ 1472 w 1472"/>
                <a:gd name="T13" fmla="*/ 0 h 1928"/>
              </a:gdLst>
              <a:ahLst/>
              <a:cxnLst>
                <a:cxn ang="0">
                  <a:pos x="T0" y="T1"/>
                </a:cxn>
                <a:cxn ang="0">
                  <a:pos x="T2" y="T3"/>
                </a:cxn>
                <a:cxn ang="0">
                  <a:pos x="T4" y="T5"/>
                </a:cxn>
                <a:cxn ang="0">
                  <a:pos x="T6" y="T7"/>
                </a:cxn>
                <a:cxn ang="0">
                  <a:pos x="T8" y="T9"/>
                </a:cxn>
                <a:cxn ang="0">
                  <a:pos x="T10" y="T11"/>
                </a:cxn>
                <a:cxn ang="0">
                  <a:pos x="T12" y="T13"/>
                </a:cxn>
              </a:cxnLst>
              <a:rect l="0" t="0" r="r" b="b"/>
              <a:pathLst>
                <a:path w="1472" h="1928">
                  <a:moveTo>
                    <a:pt x="1472" y="0"/>
                  </a:moveTo>
                  <a:cubicBezTo>
                    <a:pt x="372" y="0"/>
                    <a:pt x="372" y="0"/>
                    <a:pt x="372" y="0"/>
                  </a:cubicBezTo>
                  <a:cubicBezTo>
                    <a:pt x="409" y="90"/>
                    <a:pt x="410" y="200"/>
                    <a:pt x="284" y="296"/>
                  </a:cubicBezTo>
                  <a:cubicBezTo>
                    <a:pt x="16" y="500"/>
                    <a:pt x="0" y="1068"/>
                    <a:pt x="404" y="1260"/>
                  </a:cubicBezTo>
                  <a:cubicBezTo>
                    <a:pt x="808" y="1452"/>
                    <a:pt x="760" y="1928"/>
                    <a:pt x="1140" y="1900"/>
                  </a:cubicBezTo>
                  <a:cubicBezTo>
                    <a:pt x="1246" y="1892"/>
                    <a:pt x="1361" y="1851"/>
                    <a:pt x="1472" y="1796"/>
                  </a:cubicBezTo>
                  <a:lnTo>
                    <a:pt x="1472" y="0"/>
                  </a:lnTo>
                  <a:close/>
                </a:path>
              </a:pathLst>
            </a:custGeom>
            <a:solidFill>
              <a:srgbClr val="113583">
                <a:alpha val="75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8" name="Freeform 6">
              <a:extLst>
                <a:ext uri="{FF2B5EF4-FFF2-40B4-BE49-F238E27FC236}">
                  <a16:creationId xmlns:a16="http://schemas.microsoft.com/office/drawing/2014/main" id="{ECD7F23E-934C-4D69-9DA4-39AE21B2C0BF}"/>
                </a:ext>
              </a:extLst>
            </p:cNvPr>
            <p:cNvSpPr>
              <a:spLocks/>
            </p:cNvSpPr>
            <p:nvPr userDrawn="1"/>
          </p:nvSpPr>
          <p:spPr bwMode="auto">
            <a:xfrm>
              <a:off x="7094538" y="0"/>
              <a:ext cx="5097463" cy="6064250"/>
            </a:xfrm>
            <a:custGeom>
              <a:avLst/>
              <a:gdLst>
                <a:gd name="T0" fmla="*/ 888 w 1544"/>
                <a:gd name="T1" fmla="*/ 112 h 1841"/>
                <a:gd name="T2" fmla="*/ 280 w 1544"/>
                <a:gd name="T3" fmla="*/ 972 h 1841"/>
                <a:gd name="T4" fmla="*/ 624 w 1544"/>
                <a:gd name="T5" fmla="*/ 1784 h 1841"/>
                <a:gd name="T6" fmla="*/ 1544 w 1544"/>
                <a:gd name="T7" fmla="*/ 1554 h 1841"/>
                <a:gd name="T8" fmla="*/ 1544 w 1544"/>
                <a:gd name="T9" fmla="*/ 0 h 1841"/>
                <a:gd name="T10" fmla="*/ 1248 w 1544"/>
                <a:gd name="T11" fmla="*/ 0 h 1841"/>
                <a:gd name="T12" fmla="*/ 888 w 1544"/>
                <a:gd name="T13" fmla="*/ 112 h 1841"/>
              </a:gdLst>
              <a:ahLst/>
              <a:cxnLst>
                <a:cxn ang="0">
                  <a:pos x="T0" y="T1"/>
                </a:cxn>
                <a:cxn ang="0">
                  <a:pos x="T2" y="T3"/>
                </a:cxn>
                <a:cxn ang="0">
                  <a:pos x="T4" y="T5"/>
                </a:cxn>
                <a:cxn ang="0">
                  <a:pos x="T6" y="T7"/>
                </a:cxn>
                <a:cxn ang="0">
                  <a:pos x="T8" y="T9"/>
                </a:cxn>
                <a:cxn ang="0">
                  <a:pos x="T10" y="T11"/>
                </a:cxn>
                <a:cxn ang="0">
                  <a:pos x="T12" y="T13"/>
                </a:cxn>
              </a:cxnLst>
              <a:rect l="0" t="0" r="r" b="b"/>
              <a:pathLst>
                <a:path w="1544" h="1841">
                  <a:moveTo>
                    <a:pt x="888" y="112"/>
                  </a:moveTo>
                  <a:cubicBezTo>
                    <a:pt x="360" y="164"/>
                    <a:pt x="256" y="764"/>
                    <a:pt x="280" y="972"/>
                  </a:cubicBezTo>
                  <a:cubicBezTo>
                    <a:pt x="304" y="1180"/>
                    <a:pt x="0" y="1696"/>
                    <a:pt x="624" y="1784"/>
                  </a:cubicBezTo>
                  <a:cubicBezTo>
                    <a:pt x="1031" y="1841"/>
                    <a:pt x="1322" y="1647"/>
                    <a:pt x="1544" y="1554"/>
                  </a:cubicBezTo>
                  <a:cubicBezTo>
                    <a:pt x="1544" y="0"/>
                    <a:pt x="1544" y="0"/>
                    <a:pt x="1544" y="0"/>
                  </a:cubicBezTo>
                  <a:cubicBezTo>
                    <a:pt x="1248" y="0"/>
                    <a:pt x="1248" y="0"/>
                    <a:pt x="1248" y="0"/>
                  </a:cubicBezTo>
                  <a:cubicBezTo>
                    <a:pt x="1170" y="52"/>
                    <a:pt x="1056" y="95"/>
                    <a:pt x="888" y="112"/>
                  </a:cubicBezTo>
                  <a:close/>
                </a:path>
              </a:pathLst>
            </a:custGeom>
            <a:solidFill>
              <a:srgbClr val="113583">
                <a:alpha val="54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9" name="Freeform 5">
              <a:extLst>
                <a:ext uri="{FF2B5EF4-FFF2-40B4-BE49-F238E27FC236}">
                  <a16:creationId xmlns:a16="http://schemas.microsoft.com/office/drawing/2014/main" id="{76E9A841-7528-46C5-B426-69BA830CFD2A}"/>
                </a:ext>
              </a:extLst>
            </p:cNvPr>
            <p:cNvSpPr>
              <a:spLocks/>
            </p:cNvSpPr>
            <p:nvPr userDrawn="1"/>
          </p:nvSpPr>
          <p:spPr bwMode="auto">
            <a:xfrm>
              <a:off x="7332663" y="231663"/>
              <a:ext cx="4859337" cy="5521325"/>
            </a:xfrm>
            <a:custGeom>
              <a:avLst/>
              <a:gdLst>
                <a:gd name="T0" fmla="*/ 1572 w 1572"/>
                <a:gd name="T1" fmla="*/ 397 h 1676"/>
                <a:gd name="T2" fmla="*/ 748 w 1572"/>
                <a:gd name="T3" fmla="*/ 192 h 1676"/>
                <a:gd name="T4" fmla="*/ 900 w 1572"/>
                <a:gd name="T5" fmla="*/ 1504 h 1676"/>
                <a:gd name="T6" fmla="*/ 1572 w 1572"/>
                <a:gd name="T7" fmla="*/ 1281 h 1676"/>
                <a:gd name="T8" fmla="*/ 1572 w 1572"/>
                <a:gd name="T9" fmla="*/ 397 h 1676"/>
              </a:gdLst>
              <a:ahLst/>
              <a:cxnLst>
                <a:cxn ang="0">
                  <a:pos x="T0" y="T1"/>
                </a:cxn>
                <a:cxn ang="0">
                  <a:pos x="T2" y="T3"/>
                </a:cxn>
                <a:cxn ang="0">
                  <a:pos x="T4" y="T5"/>
                </a:cxn>
                <a:cxn ang="0">
                  <a:pos x="T6" y="T7"/>
                </a:cxn>
                <a:cxn ang="0">
                  <a:pos x="T8" y="T9"/>
                </a:cxn>
              </a:cxnLst>
              <a:rect l="0" t="0" r="r" b="b"/>
              <a:pathLst>
                <a:path w="1572" h="1676">
                  <a:moveTo>
                    <a:pt x="1572" y="397"/>
                  </a:moveTo>
                  <a:cubicBezTo>
                    <a:pt x="1343" y="225"/>
                    <a:pt x="964" y="0"/>
                    <a:pt x="748" y="192"/>
                  </a:cubicBezTo>
                  <a:cubicBezTo>
                    <a:pt x="424" y="480"/>
                    <a:pt x="0" y="1676"/>
                    <a:pt x="900" y="1504"/>
                  </a:cubicBezTo>
                  <a:cubicBezTo>
                    <a:pt x="1201" y="1447"/>
                    <a:pt x="1417" y="1364"/>
                    <a:pt x="1572" y="1281"/>
                  </a:cubicBezTo>
                  <a:lnTo>
                    <a:pt x="1572" y="397"/>
                  </a:lnTo>
                  <a:close/>
                </a:path>
              </a:pathLst>
            </a:custGeom>
            <a:solidFill>
              <a:srgbClr val="263183">
                <a:alpha val="28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 name="Freeform 5">
              <a:extLst>
                <a:ext uri="{FF2B5EF4-FFF2-40B4-BE49-F238E27FC236}">
                  <a16:creationId xmlns:a16="http://schemas.microsoft.com/office/drawing/2014/main" id="{3546EDC0-8B2B-4604-A581-B31898B1DE1A}"/>
                </a:ext>
              </a:extLst>
            </p:cNvPr>
            <p:cNvSpPr>
              <a:spLocks/>
            </p:cNvSpPr>
            <p:nvPr userDrawn="1"/>
          </p:nvSpPr>
          <p:spPr bwMode="auto">
            <a:xfrm>
              <a:off x="7002463" y="487363"/>
              <a:ext cx="5189538" cy="5521325"/>
            </a:xfrm>
            <a:custGeom>
              <a:avLst/>
              <a:gdLst>
                <a:gd name="T0" fmla="*/ 1572 w 1572"/>
                <a:gd name="T1" fmla="*/ 397 h 1676"/>
                <a:gd name="T2" fmla="*/ 748 w 1572"/>
                <a:gd name="T3" fmla="*/ 192 h 1676"/>
                <a:gd name="T4" fmla="*/ 900 w 1572"/>
                <a:gd name="T5" fmla="*/ 1504 h 1676"/>
                <a:gd name="T6" fmla="*/ 1572 w 1572"/>
                <a:gd name="T7" fmla="*/ 1281 h 1676"/>
                <a:gd name="T8" fmla="*/ 1572 w 1572"/>
                <a:gd name="T9" fmla="*/ 397 h 1676"/>
              </a:gdLst>
              <a:ahLst/>
              <a:cxnLst>
                <a:cxn ang="0">
                  <a:pos x="T0" y="T1"/>
                </a:cxn>
                <a:cxn ang="0">
                  <a:pos x="T2" y="T3"/>
                </a:cxn>
                <a:cxn ang="0">
                  <a:pos x="T4" y="T5"/>
                </a:cxn>
                <a:cxn ang="0">
                  <a:pos x="T6" y="T7"/>
                </a:cxn>
                <a:cxn ang="0">
                  <a:pos x="T8" y="T9"/>
                </a:cxn>
              </a:cxnLst>
              <a:rect l="0" t="0" r="r" b="b"/>
              <a:pathLst>
                <a:path w="1572" h="1676">
                  <a:moveTo>
                    <a:pt x="1572" y="397"/>
                  </a:moveTo>
                  <a:cubicBezTo>
                    <a:pt x="1343" y="225"/>
                    <a:pt x="964" y="0"/>
                    <a:pt x="748" y="192"/>
                  </a:cubicBezTo>
                  <a:cubicBezTo>
                    <a:pt x="424" y="480"/>
                    <a:pt x="0" y="1676"/>
                    <a:pt x="900" y="1504"/>
                  </a:cubicBezTo>
                  <a:cubicBezTo>
                    <a:pt x="1201" y="1447"/>
                    <a:pt x="1417" y="1364"/>
                    <a:pt x="1572" y="1281"/>
                  </a:cubicBezTo>
                  <a:lnTo>
                    <a:pt x="1572" y="397"/>
                  </a:lnTo>
                  <a:close/>
                </a:path>
              </a:pathLst>
            </a:custGeom>
            <a:solidFill>
              <a:srgbClr val="113583"/>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1" name="标题 4">
            <a:extLst>
              <a:ext uri="{FF2B5EF4-FFF2-40B4-BE49-F238E27FC236}">
                <a16:creationId xmlns:a16="http://schemas.microsoft.com/office/drawing/2014/main" id="{D2AF9585-2FA9-4606-BD0E-33ECAF4F446F}"/>
              </a:ext>
            </a:extLst>
          </p:cNvPr>
          <p:cNvSpPr txBox="1">
            <a:spLocks/>
          </p:cNvSpPr>
          <p:nvPr/>
        </p:nvSpPr>
        <p:spPr>
          <a:xfrm>
            <a:off x="6098599" y="3058109"/>
            <a:ext cx="5819081" cy="451837"/>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2000" dirty="0"/>
              <a:t>报告和讨论探索性研究的结果</a:t>
            </a:r>
          </a:p>
        </p:txBody>
      </p:sp>
      <p:sp>
        <p:nvSpPr>
          <p:cNvPr id="13" name="文本框 12">
            <a:extLst>
              <a:ext uri="{FF2B5EF4-FFF2-40B4-BE49-F238E27FC236}">
                <a16:creationId xmlns:a16="http://schemas.microsoft.com/office/drawing/2014/main" id="{D7DB50D5-9612-4C1A-839F-3B1FABB41201}"/>
              </a:ext>
            </a:extLst>
          </p:cNvPr>
          <p:cNvSpPr txBox="1"/>
          <p:nvPr/>
        </p:nvSpPr>
        <p:spPr>
          <a:xfrm>
            <a:off x="673100" y="2622086"/>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lumMod val="20000"/>
                    <a:lumOff val="80000"/>
                  </a:schemeClr>
                </a:solidFill>
                <a:latin typeface="Impact" panose="020B0806030902050204" pitchFamily="34" charset="0"/>
                <a:cs typeface="Arial" panose="020B0604020202020204" pitchFamily="34" charset="0"/>
              </a:rPr>
              <a:t>/04</a:t>
            </a:r>
            <a:endParaRPr lang="zh-CN" altLang="en-US" spc="100" dirty="0">
              <a:solidFill>
                <a:schemeClr val="accent1">
                  <a:lumMod val="20000"/>
                  <a:lumOff val="80000"/>
                </a:schemeClr>
              </a:solidFill>
              <a:latin typeface="Impact" panose="020B0806030902050204" pitchFamily="34" charset="0"/>
              <a:cs typeface="Arial" panose="020B0604020202020204" pitchFamily="34" charset="0"/>
            </a:endParaRPr>
          </a:p>
        </p:txBody>
      </p:sp>
      <p:sp>
        <p:nvSpPr>
          <p:cNvPr id="14" name="ïšḷîdè">
            <a:extLst>
              <a:ext uri="{FF2B5EF4-FFF2-40B4-BE49-F238E27FC236}">
                <a16:creationId xmlns:a16="http://schemas.microsoft.com/office/drawing/2014/main" id="{D808BABA-877F-421D-8D8B-F58BDF30D45E}"/>
              </a:ext>
            </a:extLst>
          </p:cNvPr>
          <p:cNvSpPr/>
          <p:nvPr/>
        </p:nvSpPr>
        <p:spPr>
          <a:xfrm>
            <a:off x="5097463" y="3081454"/>
            <a:ext cx="860471" cy="943650"/>
          </a:xfrm>
          <a:custGeom>
            <a:avLst/>
            <a:gdLst>
              <a:gd name="connsiteX0" fmla="*/ 333504 w 555138"/>
              <a:gd name="connsiteY0" fmla="*/ 231047 h 608801"/>
              <a:gd name="connsiteX1" fmla="*/ 254856 w 555138"/>
              <a:gd name="connsiteY1" fmla="*/ 309304 h 608801"/>
              <a:gd name="connsiteX2" fmla="*/ 221937 w 555138"/>
              <a:gd name="connsiteY2" fmla="*/ 276152 h 608801"/>
              <a:gd name="connsiteX3" fmla="*/ 187523 w 555138"/>
              <a:gd name="connsiteY3" fmla="*/ 310238 h 608801"/>
              <a:gd name="connsiteX4" fmla="*/ 220441 w 555138"/>
              <a:gd name="connsiteY4" fmla="*/ 343389 h 608801"/>
              <a:gd name="connsiteX5" fmla="*/ 254575 w 555138"/>
              <a:gd name="connsiteY5" fmla="*/ 377755 h 608801"/>
              <a:gd name="connsiteX6" fmla="*/ 288989 w 555138"/>
              <a:gd name="connsiteY6" fmla="*/ 343669 h 608801"/>
              <a:gd name="connsiteX7" fmla="*/ 367731 w 555138"/>
              <a:gd name="connsiteY7" fmla="*/ 265413 h 608801"/>
              <a:gd name="connsiteX8" fmla="*/ 277580 w 555138"/>
              <a:gd name="connsiteY8" fmla="*/ 130845 h 608801"/>
              <a:gd name="connsiteX9" fmla="*/ 451336 w 555138"/>
              <a:gd name="connsiteY9" fmla="*/ 304448 h 608801"/>
              <a:gd name="connsiteX10" fmla="*/ 277580 w 555138"/>
              <a:gd name="connsiteY10" fmla="*/ 477957 h 608801"/>
              <a:gd name="connsiteX11" fmla="*/ 103731 w 555138"/>
              <a:gd name="connsiteY11" fmla="*/ 304448 h 608801"/>
              <a:gd name="connsiteX12" fmla="*/ 277580 w 555138"/>
              <a:gd name="connsiteY12" fmla="*/ 130845 h 608801"/>
              <a:gd name="connsiteX13" fmla="*/ 440395 w 555138"/>
              <a:gd name="connsiteY13" fmla="*/ 80038 h 608801"/>
              <a:gd name="connsiteX14" fmla="*/ 555138 w 555138"/>
              <a:gd name="connsiteY14" fmla="*/ 304436 h 608801"/>
              <a:gd name="connsiteX15" fmla="*/ 277586 w 555138"/>
              <a:gd name="connsiteY15" fmla="*/ 581594 h 608801"/>
              <a:gd name="connsiteX16" fmla="*/ 277586 w 555138"/>
              <a:gd name="connsiteY16" fmla="*/ 605593 h 608801"/>
              <a:gd name="connsiteX17" fmla="*/ 272536 w 555138"/>
              <a:gd name="connsiteY17" fmla="*/ 608208 h 608801"/>
              <a:gd name="connsiteX18" fmla="*/ 207356 w 555138"/>
              <a:gd name="connsiteY18" fmla="*/ 563478 h 608801"/>
              <a:gd name="connsiteX19" fmla="*/ 207356 w 555138"/>
              <a:gd name="connsiteY19" fmla="*/ 558155 h 608801"/>
              <a:gd name="connsiteX20" fmla="*/ 272536 w 555138"/>
              <a:gd name="connsiteY20" fmla="*/ 513425 h 608801"/>
              <a:gd name="connsiteX21" fmla="*/ 277586 w 555138"/>
              <a:gd name="connsiteY21" fmla="*/ 516040 h 608801"/>
              <a:gd name="connsiteX22" fmla="*/ 277586 w 555138"/>
              <a:gd name="connsiteY22" fmla="*/ 540319 h 608801"/>
              <a:gd name="connsiteX23" fmla="*/ 513711 w 555138"/>
              <a:gd name="connsiteY23" fmla="*/ 304529 h 608801"/>
              <a:gd name="connsiteX24" fmla="*/ 416081 w 555138"/>
              <a:gd name="connsiteY24" fmla="*/ 113562 h 608801"/>
              <a:gd name="connsiteX25" fmla="*/ 282527 w 555138"/>
              <a:gd name="connsiteY25" fmla="*/ 593 h 608801"/>
              <a:gd name="connsiteX26" fmla="*/ 347711 w 555138"/>
              <a:gd name="connsiteY26" fmla="*/ 45323 h 608801"/>
              <a:gd name="connsiteX27" fmla="*/ 347711 w 555138"/>
              <a:gd name="connsiteY27" fmla="*/ 50646 h 608801"/>
              <a:gd name="connsiteX28" fmla="*/ 282527 w 555138"/>
              <a:gd name="connsiteY28" fmla="*/ 95376 h 608801"/>
              <a:gd name="connsiteX29" fmla="*/ 277570 w 555138"/>
              <a:gd name="connsiteY29" fmla="*/ 92761 h 608801"/>
              <a:gd name="connsiteX30" fmla="*/ 277570 w 555138"/>
              <a:gd name="connsiteY30" fmla="*/ 68575 h 608801"/>
              <a:gd name="connsiteX31" fmla="*/ 41336 w 555138"/>
              <a:gd name="connsiteY31" fmla="*/ 304459 h 608801"/>
              <a:gd name="connsiteX32" fmla="*/ 138878 w 555138"/>
              <a:gd name="connsiteY32" fmla="*/ 495332 h 608801"/>
              <a:gd name="connsiteX33" fmla="*/ 114563 w 555138"/>
              <a:gd name="connsiteY33" fmla="*/ 528763 h 608801"/>
              <a:gd name="connsiteX34" fmla="*/ 0 w 555138"/>
              <a:gd name="connsiteY34" fmla="*/ 304459 h 608801"/>
              <a:gd name="connsiteX35" fmla="*/ 277570 w 555138"/>
              <a:gd name="connsiteY35" fmla="*/ 27300 h 608801"/>
              <a:gd name="connsiteX36" fmla="*/ 277570 w 555138"/>
              <a:gd name="connsiteY36" fmla="*/ 3208 h 608801"/>
              <a:gd name="connsiteX37" fmla="*/ 282527 w 555138"/>
              <a:gd name="connsiteY37" fmla="*/ 593 h 6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55138" h="608801">
                <a:moveTo>
                  <a:pt x="333504" y="231047"/>
                </a:moveTo>
                <a:lnTo>
                  <a:pt x="254856" y="309304"/>
                </a:lnTo>
                <a:lnTo>
                  <a:pt x="221937" y="276152"/>
                </a:lnTo>
                <a:lnTo>
                  <a:pt x="187523" y="310238"/>
                </a:lnTo>
                <a:lnTo>
                  <a:pt x="220441" y="343389"/>
                </a:lnTo>
                <a:lnTo>
                  <a:pt x="254575" y="377755"/>
                </a:lnTo>
                <a:lnTo>
                  <a:pt x="288989" y="343669"/>
                </a:lnTo>
                <a:lnTo>
                  <a:pt x="367731" y="265413"/>
                </a:lnTo>
                <a:close/>
                <a:moveTo>
                  <a:pt x="277580" y="130845"/>
                </a:moveTo>
                <a:cubicBezTo>
                  <a:pt x="373529" y="130845"/>
                  <a:pt x="451336" y="208541"/>
                  <a:pt x="451336" y="304448"/>
                </a:cubicBezTo>
                <a:cubicBezTo>
                  <a:pt x="451336" y="400261"/>
                  <a:pt x="373529" y="477957"/>
                  <a:pt x="277580" y="477957"/>
                </a:cubicBezTo>
                <a:cubicBezTo>
                  <a:pt x="181538" y="477957"/>
                  <a:pt x="103731" y="400261"/>
                  <a:pt x="103731" y="304448"/>
                </a:cubicBezTo>
                <a:cubicBezTo>
                  <a:pt x="103731" y="208541"/>
                  <a:pt x="181538" y="130845"/>
                  <a:pt x="277580" y="130845"/>
                </a:cubicBezTo>
                <a:close/>
                <a:moveTo>
                  <a:pt x="440395" y="80038"/>
                </a:moveTo>
                <a:cubicBezTo>
                  <a:pt x="512215" y="132052"/>
                  <a:pt x="555138" y="215909"/>
                  <a:pt x="555138" y="304436"/>
                </a:cubicBezTo>
                <a:cubicBezTo>
                  <a:pt x="555138" y="457302"/>
                  <a:pt x="430576" y="581594"/>
                  <a:pt x="277586" y="581594"/>
                </a:cubicBezTo>
                <a:lnTo>
                  <a:pt x="277586" y="605593"/>
                </a:lnTo>
                <a:cubicBezTo>
                  <a:pt x="277586" y="608208"/>
                  <a:pt x="274687" y="609702"/>
                  <a:pt x="272536" y="608208"/>
                </a:cubicBezTo>
                <a:lnTo>
                  <a:pt x="207356" y="563478"/>
                </a:lnTo>
                <a:cubicBezTo>
                  <a:pt x="205486" y="562170"/>
                  <a:pt x="205486" y="559369"/>
                  <a:pt x="207356" y="558155"/>
                </a:cubicBezTo>
                <a:lnTo>
                  <a:pt x="272536" y="513425"/>
                </a:lnTo>
                <a:cubicBezTo>
                  <a:pt x="274687" y="511931"/>
                  <a:pt x="277586" y="513425"/>
                  <a:pt x="277586" y="516040"/>
                </a:cubicBezTo>
                <a:lnTo>
                  <a:pt x="277586" y="540319"/>
                </a:lnTo>
                <a:cubicBezTo>
                  <a:pt x="407759" y="540319"/>
                  <a:pt x="513711" y="434517"/>
                  <a:pt x="513711" y="304529"/>
                </a:cubicBezTo>
                <a:cubicBezTo>
                  <a:pt x="513711" y="229169"/>
                  <a:pt x="477147" y="157825"/>
                  <a:pt x="416081" y="113562"/>
                </a:cubicBezTo>
                <a:close/>
                <a:moveTo>
                  <a:pt x="282527" y="593"/>
                </a:moveTo>
                <a:lnTo>
                  <a:pt x="347711" y="45323"/>
                </a:lnTo>
                <a:cubicBezTo>
                  <a:pt x="349581" y="46724"/>
                  <a:pt x="349581" y="49432"/>
                  <a:pt x="347711" y="50646"/>
                </a:cubicBezTo>
                <a:lnTo>
                  <a:pt x="282527" y="95376"/>
                </a:lnTo>
                <a:cubicBezTo>
                  <a:pt x="280376" y="96870"/>
                  <a:pt x="277570" y="95376"/>
                  <a:pt x="277570" y="92761"/>
                </a:cubicBezTo>
                <a:lnTo>
                  <a:pt x="277570" y="68575"/>
                </a:lnTo>
                <a:cubicBezTo>
                  <a:pt x="147389" y="68575"/>
                  <a:pt x="41336" y="174471"/>
                  <a:pt x="41336" y="304459"/>
                </a:cubicBezTo>
                <a:cubicBezTo>
                  <a:pt x="41336" y="379725"/>
                  <a:pt x="77903" y="451069"/>
                  <a:pt x="138878" y="495332"/>
                </a:cubicBezTo>
                <a:lnTo>
                  <a:pt x="114563" y="528763"/>
                </a:lnTo>
                <a:cubicBezTo>
                  <a:pt x="42832" y="476749"/>
                  <a:pt x="0" y="392985"/>
                  <a:pt x="0" y="304459"/>
                </a:cubicBezTo>
                <a:cubicBezTo>
                  <a:pt x="0" y="151686"/>
                  <a:pt x="124570" y="27300"/>
                  <a:pt x="277570" y="27300"/>
                </a:cubicBezTo>
                <a:lnTo>
                  <a:pt x="277570" y="3208"/>
                </a:lnTo>
                <a:cubicBezTo>
                  <a:pt x="277570" y="593"/>
                  <a:pt x="280376" y="-901"/>
                  <a:pt x="282527" y="593"/>
                </a:cubicBezTo>
                <a:close/>
              </a:path>
            </a:pathLst>
          </a:custGeom>
          <a:solidFill>
            <a:schemeClr val="tx2">
              <a:lumMod val="60000"/>
              <a:lumOff val="40000"/>
            </a:schemeClr>
          </a:solidFill>
          <a:ln w="12700">
            <a:miter lim="400000"/>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 name="文本占位符 5">
            <a:extLst>
              <a:ext uri="{FF2B5EF4-FFF2-40B4-BE49-F238E27FC236}">
                <a16:creationId xmlns:a16="http://schemas.microsoft.com/office/drawing/2014/main" id="{40527CC3-1741-4C81-86B7-1CD52E1C99B8}"/>
              </a:ext>
            </a:extLst>
          </p:cNvPr>
          <p:cNvSpPr txBox="1">
            <a:spLocks/>
          </p:cNvSpPr>
          <p:nvPr/>
        </p:nvSpPr>
        <p:spPr>
          <a:xfrm>
            <a:off x="6099715" y="3553279"/>
            <a:ext cx="5419185" cy="371021"/>
          </a:xfrm>
          <a:prstGeom prst="rect">
            <a:avLst/>
          </a:prstGeom>
        </p:spPr>
        <p:txBody>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000" dirty="0"/>
              <a:t>Reports And Discusses The Results Of The Performed Exploratory Study.</a:t>
            </a:r>
          </a:p>
        </p:txBody>
      </p:sp>
      <p:sp>
        <p:nvSpPr>
          <p:cNvPr id="16" name="文本占位符 5">
            <a:extLst>
              <a:ext uri="{FF2B5EF4-FFF2-40B4-BE49-F238E27FC236}">
                <a16:creationId xmlns:a16="http://schemas.microsoft.com/office/drawing/2014/main" id="{A4DB128F-80ED-4781-B659-BA1CBD04A713}"/>
              </a:ext>
            </a:extLst>
          </p:cNvPr>
          <p:cNvSpPr txBox="1">
            <a:spLocks/>
          </p:cNvSpPr>
          <p:nvPr/>
        </p:nvSpPr>
        <p:spPr>
          <a:xfrm>
            <a:off x="6099716" y="3865674"/>
            <a:ext cx="5189538" cy="371021"/>
          </a:xfrm>
          <a:prstGeom prst="rect">
            <a:avLst/>
          </a:prstGeom>
        </p:spPr>
        <p:txBody>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dist">
              <a:buNone/>
            </a:pPr>
            <a:r>
              <a:rPr lang="en-US" altLang="zh-CN" sz="1000" dirty="0"/>
              <a:t>////////////////////////////////////////////////////////////////////////////</a:t>
            </a:r>
            <a:endParaRPr lang="en-US" altLang="zh-CN" dirty="0"/>
          </a:p>
        </p:txBody>
      </p:sp>
    </p:spTree>
    <p:extLst>
      <p:ext uri="{BB962C8B-B14F-4D97-AF65-F5344CB8AC3E}">
        <p14:creationId xmlns:p14="http://schemas.microsoft.com/office/powerpoint/2010/main" val="103044149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2" presetClass="entr" presetSubtype="8" accel="10000" fill="hold" grpId="0" nodeType="withEffect" p14:presetBounceEnd="30000">
                                      <p:stCondLst>
                                        <p:cond delay="200"/>
                                      </p:stCondLst>
                                      <p:childTnLst>
                                        <p:set>
                                          <p:cBhvr>
                                            <p:cTn id="9" dur="1" fill="hold">
                                              <p:stCondLst>
                                                <p:cond delay="0"/>
                                              </p:stCondLst>
                                            </p:cTn>
                                            <p:tgtEl>
                                              <p:spTgt spid="13"/>
                                            </p:tgtEl>
                                            <p:attrNameLst>
                                              <p:attrName>style.visibility</p:attrName>
                                            </p:attrNameLst>
                                          </p:cBhvr>
                                          <p:to>
                                            <p:strVal val="visible"/>
                                          </p:to>
                                        </p:set>
                                        <p:anim calcmode="lin" valueType="num" p14:bounceEnd="30000">
                                          <p:cBhvr additive="base">
                                            <p:cTn id="10" dur="500" fill="hold"/>
                                            <p:tgtEl>
                                              <p:spTgt spid="13"/>
                                            </p:tgtEl>
                                            <p:attrNameLst>
                                              <p:attrName>ppt_x</p:attrName>
                                            </p:attrNameLst>
                                          </p:cBhvr>
                                          <p:tavLst>
                                            <p:tav tm="0">
                                              <p:val>
                                                <p:strVal val="0-#ppt_w/2"/>
                                              </p:val>
                                            </p:tav>
                                            <p:tav tm="100000">
                                              <p:val>
                                                <p:strVal val="#ppt_x"/>
                                              </p:val>
                                            </p:tav>
                                          </p:tavLst>
                                        </p:anim>
                                        <p:anim calcmode="lin" valueType="num" p14:bounceEnd="30000">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4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2" presetClass="entr" presetSubtype="2" accel="10000" fill="hold" grpId="0" nodeType="withEffect" p14:presetBounceEnd="30000">
                                      <p:stCondLst>
                                        <p:cond delay="600"/>
                                      </p:stCondLst>
                                      <p:childTnLst>
                                        <p:set>
                                          <p:cBhvr>
                                            <p:cTn id="16" dur="1" fill="hold">
                                              <p:stCondLst>
                                                <p:cond delay="0"/>
                                              </p:stCondLst>
                                            </p:cTn>
                                            <p:tgtEl>
                                              <p:spTgt spid="11"/>
                                            </p:tgtEl>
                                            <p:attrNameLst>
                                              <p:attrName>style.visibility</p:attrName>
                                            </p:attrNameLst>
                                          </p:cBhvr>
                                          <p:to>
                                            <p:strVal val="visible"/>
                                          </p:to>
                                        </p:set>
                                        <p:anim calcmode="lin" valueType="num" p14:bounceEnd="30000">
                                          <p:cBhvr additive="base">
                                            <p:cTn id="17" dur="500" fill="hold"/>
                                            <p:tgtEl>
                                              <p:spTgt spid="11"/>
                                            </p:tgtEl>
                                            <p:attrNameLst>
                                              <p:attrName>ppt_x</p:attrName>
                                            </p:attrNameLst>
                                          </p:cBhvr>
                                          <p:tavLst>
                                            <p:tav tm="0">
                                              <p:val>
                                                <p:strVal val="1+#ppt_w/2"/>
                                              </p:val>
                                            </p:tav>
                                            <p:tav tm="100000">
                                              <p:val>
                                                <p:strVal val="#ppt_x"/>
                                              </p:val>
                                            </p:tav>
                                          </p:tavLst>
                                        </p:anim>
                                        <p:anim calcmode="lin" valueType="num" p14:bounceEnd="30000">
                                          <p:cBhvr additive="base">
                                            <p:cTn id="18" dur="5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accel="10000" fill="hold" grpId="0" nodeType="withEffect" p14:presetBounceEnd="30000">
                                      <p:stCondLst>
                                        <p:cond delay="900"/>
                                      </p:stCondLst>
                                      <p:childTnLst>
                                        <p:set>
                                          <p:cBhvr>
                                            <p:cTn id="20" dur="1" fill="hold">
                                              <p:stCondLst>
                                                <p:cond delay="0"/>
                                              </p:stCondLst>
                                            </p:cTn>
                                            <p:tgtEl>
                                              <p:spTgt spid="15"/>
                                            </p:tgtEl>
                                            <p:attrNameLst>
                                              <p:attrName>style.visibility</p:attrName>
                                            </p:attrNameLst>
                                          </p:cBhvr>
                                          <p:to>
                                            <p:strVal val="visible"/>
                                          </p:to>
                                        </p:set>
                                        <p:anim calcmode="lin" valueType="num" p14:bounceEnd="30000">
                                          <p:cBhvr additive="base">
                                            <p:cTn id="21" dur="500" fill="hold"/>
                                            <p:tgtEl>
                                              <p:spTgt spid="15"/>
                                            </p:tgtEl>
                                            <p:attrNameLst>
                                              <p:attrName>ppt_x</p:attrName>
                                            </p:attrNameLst>
                                          </p:cBhvr>
                                          <p:tavLst>
                                            <p:tav tm="0">
                                              <p:val>
                                                <p:strVal val="1+#ppt_w/2"/>
                                              </p:val>
                                            </p:tav>
                                            <p:tav tm="100000">
                                              <p:val>
                                                <p:strVal val="#ppt_x"/>
                                              </p:val>
                                            </p:tav>
                                          </p:tavLst>
                                        </p:anim>
                                        <p:anim calcmode="lin" valueType="num" p14:bounceEnd="30000">
                                          <p:cBhvr additive="base">
                                            <p:cTn id="22" dur="500" fill="hold"/>
                                            <p:tgtEl>
                                              <p:spTgt spid="15"/>
                                            </p:tgtEl>
                                            <p:attrNameLst>
                                              <p:attrName>ppt_y</p:attrName>
                                            </p:attrNameLst>
                                          </p:cBhvr>
                                          <p:tavLst>
                                            <p:tav tm="0">
                                              <p:val>
                                                <p:strVal val="#ppt_y"/>
                                              </p:val>
                                            </p:tav>
                                            <p:tav tm="100000">
                                              <p:val>
                                                <p:strVal val="#ppt_y"/>
                                              </p:val>
                                            </p:tav>
                                          </p:tavLst>
                                        </p:anim>
                                      </p:childTnLst>
                                    </p:cTn>
                                  </p:par>
                                  <p:par>
                                    <p:cTn id="23" presetID="2" presetClass="entr" presetSubtype="2" accel="10000" fill="hold" grpId="0" nodeType="withEffect" p14:presetBounceEnd="30000">
                                      <p:stCondLst>
                                        <p:cond delay="1100"/>
                                      </p:stCondLst>
                                      <p:childTnLst>
                                        <p:set>
                                          <p:cBhvr>
                                            <p:cTn id="24" dur="1" fill="hold">
                                              <p:stCondLst>
                                                <p:cond delay="0"/>
                                              </p:stCondLst>
                                            </p:cTn>
                                            <p:tgtEl>
                                              <p:spTgt spid="16"/>
                                            </p:tgtEl>
                                            <p:attrNameLst>
                                              <p:attrName>style.visibility</p:attrName>
                                            </p:attrNameLst>
                                          </p:cBhvr>
                                          <p:to>
                                            <p:strVal val="visible"/>
                                          </p:to>
                                        </p:set>
                                        <p:anim calcmode="lin" valueType="num" p14:bounceEnd="30000">
                                          <p:cBhvr additive="base">
                                            <p:cTn id="25" dur="500" fill="hold"/>
                                            <p:tgtEl>
                                              <p:spTgt spid="16"/>
                                            </p:tgtEl>
                                            <p:attrNameLst>
                                              <p:attrName>ppt_x</p:attrName>
                                            </p:attrNameLst>
                                          </p:cBhvr>
                                          <p:tavLst>
                                            <p:tav tm="0">
                                              <p:val>
                                                <p:strVal val="1+#ppt_w/2"/>
                                              </p:val>
                                            </p:tav>
                                            <p:tav tm="100000">
                                              <p:val>
                                                <p:strVal val="#ppt_x"/>
                                              </p:val>
                                            </p:tav>
                                          </p:tavLst>
                                        </p:anim>
                                        <p:anim calcmode="lin" valueType="num" p14:bounceEnd="30000">
                                          <p:cBhvr additive="base">
                                            <p:cTn id="2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animBg="1"/>
          <p:bldP spid="15" grpId="0"/>
          <p:bldP spid="1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2" presetClass="entr" presetSubtype="8" accel="1000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4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2" presetClass="entr" presetSubtype="2" accel="10000" fill="hold" grpId="0" nodeType="withEffect">
                                      <p:stCondLst>
                                        <p:cond delay="60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1+#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accel="10000" fill="hold" grpId="0" nodeType="withEffect">
                                      <p:stCondLst>
                                        <p:cond delay="9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500" fill="hold"/>
                                            <p:tgtEl>
                                              <p:spTgt spid="15"/>
                                            </p:tgtEl>
                                            <p:attrNameLst>
                                              <p:attrName>ppt_x</p:attrName>
                                            </p:attrNameLst>
                                          </p:cBhvr>
                                          <p:tavLst>
                                            <p:tav tm="0">
                                              <p:val>
                                                <p:strVal val="1+#ppt_w/2"/>
                                              </p:val>
                                            </p:tav>
                                            <p:tav tm="100000">
                                              <p:val>
                                                <p:strVal val="#ppt_x"/>
                                              </p:val>
                                            </p:tav>
                                          </p:tavLst>
                                        </p:anim>
                                        <p:anim calcmode="lin" valueType="num">
                                          <p:cBhvr additive="base">
                                            <p:cTn id="22" dur="500" fill="hold"/>
                                            <p:tgtEl>
                                              <p:spTgt spid="15"/>
                                            </p:tgtEl>
                                            <p:attrNameLst>
                                              <p:attrName>ppt_y</p:attrName>
                                            </p:attrNameLst>
                                          </p:cBhvr>
                                          <p:tavLst>
                                            <p:tav tm="0">
                                              <p:val>
                                                <p:strVal val="#ppt_y"/>
                                              </p:val>
                                            </p:tav>
                                            <p:tav tm="100000">
                                              <p:val>
                                                <p:strVal val="#ppt_y"/>
                                              </p:val>
                                            </p:tav>
                                          </p:tavLst>
                                        </p:anim>
                                      </p:childTnLst>
                                    </p:cTn>
                                  </p:par>
                                  <p:par>
                                    <p:cTn id="23" presetID="2" presetClass="entr" presetSubtype="2" accel="10000" fill="hold" grpId="0" nodeType="withEffect">
                                      <p:stCondLst>
                                        <p:cond delay="110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1+#ppt_w/2"/>
                                              </p:val>
                                            </p:tav>
                                            <p:tav tm="100000">
                                              <p:val>
                                                <p:strVal val="#ppt_x"/>
                                              </p:val>
                                            </p:tav>
                                          </p:tavLst>
                                        </p:anim>
                                        <p:anim calcmode="lin" valueType="num">
                                          <p:cBhvr additive="base">
                                            <p:cTn id="2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animBg="1"/>
          <p:bldP spid="15" grpId="0"/>
          <p:bldP spid="16" grpId="0"/>
        </p:bld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图片 43" descr="C://Users/Administrator/AppData/Local/YNote/data/m18208363390@163.com/2a49ca9bb0b049ca82f4c92dc8185f15/clipboard.png">
            <a:extLst>
              <a:ext uri="{FF2B5EF4-FFF2-40B4-BE49-F238E27FC236}">
                <a16:creationId xmlns:a16="http://schemas.microsoft.com/office/drawing/2014/main" id="{C4658033-5236-4CC2-9A41-378627EFDF2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221479" y="1092635"/>
            <a:ext cx="4643070" cy="5553572"/>
          </a:xfrm>
          <a:prstGeom prst="rect">
            <a:avLst/>
          </a:prstGeom>
          <a:noFill/>
          <a:ln>
            <a:noFill/>
          </a:ln>
        </p:spPr>
      </p:pic>
      <p:pic>
        <p:nvPicPr>
          <p:cNvPr id="61" name="图片 60">
            <a:extLst>
              <a:ext uri="{FF2B5EF4-FFF2-40B4-BE49-F238E27FC236}">
                <a16:creationId xmlns:a16="http://schemas.microsoft.com/office/drawing/2014/main" id="{D6DFE155-EDA9-4DA7-A78B-748CC9DA4585}"/>
              </a:ext>
            </a:extLst>
          </p:cNvPr>
          <p:cNvPicPr>
            <a:picLocks noChangeAspect="1"/>
          </p:cNvPicPr>
          <p:nvPr/>
        </p:nvPicPr>
        <p:blipFill>
          <a:blip r:embed="rId4"/>
          <a:stretch>
            <a:fillRect/>
          </a:stretch>
        </p:blipFill>
        <p:spPr>
          <a:xfrm>
            <a:off x="5988812" y="1224237"/>
            <a:ext cx="5328816" cy="4657240"/>
          </a:xfrm>
          <a:prstGeom prst="rect">
            <a:avLst/>
          </a:prstGeom>
        </p:spPr>
      </p:pic>
      <p:grpSp>
        <p:nvGrpSpPr>
          <p:cNvPr id="2" name="组合 1">
            <a:extLst>
              <a:ext uri="{FF2B5EF4-FFF2-40B4-BE49-F238E27FC236}">
                <a16:creationId xmlns:a16="http://schemas.microsoft.com/office/drawing/2014/main" id="{E0A5222E-9BB9-4E93-A472-80230B7A6FAA}"/>
              </a:ext>
            </a:extLst>
          </p:cNvPr>
          <p:cNvGrpSpPr/>
          <p:nvPr/>
        </p:nvGrpSpPr>
        <p:grpSpPr>
          <a:xfrm>
            <a:off x="-43962" y="-2"/>
            <a:ext cx="12265321" cy="1081456"/>
            <a:chOff x="-43962" y="-2"/>
            <a:chExt cx="12265321" cy="1081456"/>
          </a:xfrm>
        </p:grpSpPr>
        <p:grpSp>
          <p:nvGrpSpPr>
            <p:cNvPr id="5" name="组合 4">
              <a:extLst>
                <a:ext uri="{FF2B5EF4-FFF2-40B4-BE49-F238E27FC236}">
                  <a16:creationId xmlns:a16="http://schemas.microsoft.com/office/drawing/2014/main" id="{A02D8D5F-9092-40A1-BEE7-2E18BC595794}"/>
                </a:ext>
              </a:extLst>
            </p:cNvPr>
            <p:cNvGrpSpPr/>
            <p:nvPr/>
          </p:nvGrpSpPr>
          <p:grpSpPr>
            <a:xfrm rot="10800000">
              <a:off x="-43962" y="-2"/>
              <a:ext cx="12265321" cy="1081456"/>
              <a:chOff x="1" y="5010588"/>
              <a:chExt cx="12265322" cy="1905823"/>
            </a:xfrm>
          </p:grpSpPr>
          <p:sp>
            <p:nvSpPr>
              <p:cNvPr id="6" name="îṧļiḑe">
                <a:extLst>
                  <a:ext uri="{FF2B5EF4-FFF2-40B4-BE49-F238E27FC236}">
                    <a16:creationId xmlns:a16="http://schemas.microsoft.com/office/drawing/2014/main" id="{49F6E0D8-E3BC-4BD3-84FB-161A76550555}"/>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îṩľiḑê">
                <a:extLst>
                  <a:ext uri="{FF2B5EF4-FFF2-40B4-BE49-F238E27FC236}">
                    <a16:creationId xmlns:a16="http://schemas.microsoft.com/office/drawing/2014/main" id="{E47AD772-61D7-455A-AF1D-07952261DFE2}"/>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sp>
          <p:nvSpPr>
            <p:cNvPr id="9" name="矩形 8">
              <a:extLst>
                <a:ext uri="{FF2B5EF4-FFF2-40B4-BE49-F238E27FC236}">
                  <a16:creationId xmlns:a16="http://schemas.microsoft.com/office/drawing/2014/main" id="{559493B6-54D5-4BFB-8173-8ADF4B215E18}"/>
                </a:ext>
              </a:extLst>
            </p:cNvPr>
            <p:cNvSpPr/>
            <p:nvPr/>
          </p:nvSpPr>
          <p:spPr>
            <a:xfrm>
              <a:off x="1028700" y="139985"/>
              <a:ext cx="9944100" cy="369332"/>
            </a:xfrm>
            <a:prstGeom prst="rect">
              <a:avLst/>
            </a:prstGeom>
          </p:spPr>
          <p:txBody>
            <a:bodyPr wrap="square">
              <a:spAutoFit/>
            </a:bodyPr>
            <a:lstStyle/>
            <a:p>
              <a:r>
                <a:rPr lang="zh-CN" altLang="en-US" dirty="0">
                  <a:solidFill>
                    <a:schemeClr val="bg1"/>
                  </a:solidFill>
                </a:rPr>
                <a:t>报告和讨论探索性研究的结果</a:t>
              </a:r>
            </a:p>
          </p:txBody>
        </p:sp>
        <p:sp>
          <p:nvSpPr>
            <p:cNvPr id="10" name="ïšḷîdè">
              <a:extLst>
                <a:ext uri="{FF2B5EF4-FFF2-40B4-BE49-F238E27FC236}">
                  <a16:creationId xmlns:a16="http://schemas.microsoft.com/office/drawing/2014/main" id="{85AFA1FE-0B0B-469B-B05A-85583D8E40C3}"/>
                </a:ext>
              </a:extLst>
            </p:cNvPr>
            <p:cNvSpPr/>
            <p:nvPr/>
          </p:nvSpPr>
          <p:spPr>
            <a:xfrm>
              <a:off x="418935" y="106081"/>
              <a:ext cx="469590" cy="514984"/>
            </a:xfrm>
            <a:custGeom>
              <a:avLst/>
              <a:gdLst>
                <a:gd name="connsiteX0" fmla="*/ 333504 w 555138"/>
                <a:gd name="connsiteY0" fmla="*/ 231047 h 608801"/>
                <a:gd name="connsiteX1" fmla="*/ 254856 w 555138"/>
                <a:gd name="connsiteY1" fmla="*/ 309304 h 608801"/>
                <a:gd name="connsiteX2" fmla="*/ 221937 w 555138"/>
                <a:gd name="connsiteY2" fmla="*/ 276152 h 608801"/>
                <a:gd name="connsiteX3" fmla="*/ 187523 w 555138"/>
                <a:gd name="connsiteY3" fmla="*/ 310238 h 608801"/>
                <a:gd name="connsiteX4" fmla="*/ 220441 w 555138"/>
                <a:gd name="connsiteY4" fmla="*/ 343389 h 608801"/>
                <a:gd name="connsiteX5" fmla="*/ 254575 w 555138"/>
                <a:gd name="connsiteY5" fmla="*/ 377755 h 608801"/>
                <a:gd name="connsiteX6" fmla="*/ 288989 w 555138"/>
                <a:gd name="connsiteY6" fmla="*/ 343669 h 608801"/>
                <a:gd name="connsiteX7" fmla="*/ 367731 w 555138"/>
                <a:gd name="connsiteY7" fmla="*/ 265413 h 608801"/>
                <a:gd name="connsiteX8" fmla="*/ 277580 w 555138"/>
                <a:gd name="connsiteY8" fmla="*/ 130845 h 608801"/>
                <a:gd name="connsiteX9" fmla="*/ 451336 w 555138"/>
                <a:gd name="connsiteY9" fmla="*/ 304448 h 608801"/>
                <a:gd name="connsiteX10" fmla="*/ 277580 w 555138"/>
                <a:gd name="connsiteY10" fmla="*/ 477957 h 608801"/>
                <a:gd name="connsiteX11" fmla="*/ 103731 w 555138"/>
                <a:gd name="connsiteY11" fmla="*/ 304448 h 608801"/>
                <a:gd name="connsiteX12" fmla="*/ 277580 w 555138"/>
                <a:gd name="connsiteY12" fmla="*/ 130845 h 608801"/>
                <a:gd name="connsiteX13" fmla="*/ 440395 w 555138"/>
                <a:gd name="connsiteY13" fmla="*/ 80038 h 608801"/>
                <a:gd name="connsiteX14" fmla="*/ 555138 w 555138"/>
                <a:gd name="connsiteY14" fmla="*/ 304436 h 608801"/>
                <a:gd name="connsiteX15" fmla="*/ 277586 w 555138"/>
                <a:gd name="connsiteY15" fmla="*/ 581594 h 608801"/>
                <a:gd name="connsiteX16" fmla="*/ 277586 w 555138"/>
                <a:gd name="connsiteY16" fmla="*/ 605593 h 608801"/>
                <a:gd name="connsiteX17" fmla="*/ 272536 w 555138"/>
                <a:gd name="connsiteY17" fmla="*/ 608208 h 608801"/>
                <a:gd name="connsiteX18" fmla="*/ 207356 w 555138"/>
                <a:gd name="connsiteY18" fmla="*/ 563478 h 608801"/>
                <a:gd name="connsiteX19" fmla="*/ 207356 w 555138"/>
                <a:gd name="connsiteY19" fmla="*/ 558155 h 608801"/>
                <a:gd name="connsiteX20" fmla="*/ 272536 w 555138"/>
                <a:gd name="connsiteY20" fmla="*/ 513425 h 608801"/>
                <a:gd name="connsiteX21" fmla="*/ 277586 w 555138"/>
                <a:gd name="connsiteY21" fmla="*/ 516040 h 608801"/>
                <a:gd name="connsiteX22" fmla="*/ 277586 w 555138"/>
                <a:gd name="connsiteY22" fmla="*/ 540319 h 608801"/>
                <a:gd name="connsiteX23" fmla="*/ 513711 w 555138"/>
                <a:gd name="connsiteY23" fmla="*/ 304529 h 608801"/>
                <a:gd name="connsiteX24" fmla="*/ 416081 w 555138"/>
                <a:gd name="connsiteY24" fmla="*/ 113562 h 608801"/>
                <a:gd name="connsiteX25" fmla="*/ 282527 w 555138"/>
                <a:gd name="connsiteY25" fmla="*/ 593 h 608801"/>
                <a:gd name="connsiteX26" fmla="*/ 347711 w 555138"/>
                <a:gd name="connsiteY26" fmla="*/ 45323 h 608801"/>
                <a:gd name="connsiteX27" fmla="*/ 347711 w 555138"/>
                <a:gd name="connsiteY27" fmla="*/ 50646 h 608801"/>
                <a:gd name="connsiteX28" fmla="*/ 282527 w 555138"/>
                <a:gd name="connsiteY28" fmla="*/ 95376 h 608801"/>
                <a:gd name="connsiteX29" fmla="*/ 277570 w 555138"/>
                <a:gd name="connsiteY29" fmla="*/ 92761 h 608801"/>
                <a:gd name="connsiteX30" fmla="*/ 277570 w 555138"/>
                <a:gd name="connsiteY30" fmla="*/ 68575 h 608801"/>
                <a:gd name="connsiteX31" fmla="*/ 41336 w 555138"/>
                <a:gd name="connsiteY31" fmla="*/ 304459 h 608801"/>
                <a:gd name="connsiteX32" fmla="*/ 138878 w 555138"/>
                <a:gd name="connsiteY32" fmla="*/ 495332 h 608801"/>
                <a:gd name="connsiteX33" fmla="*/ 114563 w 555138"/>
                <a:gd name="connsiteY33" fmla="*/ 528763 h 608801"/>
                <a:gd name="connsiteX34" fmla="*/ 0 w 555138"/>
                <a:gd name="connsiteY34" fmla="*/ 304459 h 608801"/>
                <a:gd name="connsiteX35" fmla="*/ 277570 w 555138"/>
                <a:gd name="connsiteY35" fmla="*/ 27300 h 608801"/>
                <a:gd name="connsiteX36" fmla="*/ 277570 w 555138"/>
                <a:gd name="connsiteY36" fmla="*/ 3208 h 608801"/>
                <a:gd name="connsiteX37" fmla="*/ 282527 w 555138"/>
                <a:gd name="connsiteY37" fmla="*/ 593 h 6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55138" h="608801">
                  <a:moveTo>
                    <a:pt x="333504" y="231047"/>
                  </a:moveTo>
                  <a:lnTo>
                    <a:pt x="254856" y="309304"/>
                  </a:lnTo>
                  <a:lnTo>
                    <a:pt x="221937" y="276152"/>
                  </a:lnTo>
                  <a:lnTo>
                    <a:pt x="187523" y="310238"/>
                  </a:lnTo>
                  <a:lnTo>
                    <a:pt x="220441" y="343389"/>
                  </a:lnTo>
                  <a:lnTo>
                    <a:pt x="254575" y="377755"/>
                  </a:lnTo>
                  <a:lnTo>
                    <a:pt x="288989" y="343669"/>
                  </a:lnTo>
                  <a:lnTo>
                    <a:pt x="367731" y="265413"/>
                  </a:lnTo>
                  <a:close/>
                  <a:moveTo>
                    <a:pt x="277580" y="130845"/>
                  </a:moveTo>
                  <a:cubicBezTo>
                    <a:pt x="373529" y="130845"/>
                    <a:pt x="451336" y="208541"/>
                    <a:pt x="451336" y="304448"/>
                  </a:cubicBezTo>
                  <a:cubicBezTo>
                    <a:pt x="451336" y="400261"/>
                    <a:pt x="373529" y="477957"/>
                    <a:pt x="277580" y="477957"/>
                  </a:cubicBezTo>
                  <a:cubicBezTo>
                    <a:pt x="181538" y="477957"/>
                    <a:pt x="103731" y="400261"/>
                    <a:pt x="103731" y="304448"/>
                  </a:cubicBezTo>
                  <a:cubicBezTo>
                    <a:pt x="103731" y="208541"/>
                    <a:pt x="181538" y="130845"/>
                    <a:pt x="277580" y="130845"/>
                  </a:cubicBezTo>
                  <a:close/>
                  <a:moveTo>
                    <a:pt x="440395" y="80038"/>
                  </a:moveTo>
                  <a:cubicBezTo>
                    <a:pt x="512215" y="132052"/>
                    <a:pt x="555138" y="215909"/>
                    <a:pt x="555138" y="304436"/>
                  </a:cubicBezTo>
                  <a:cubicBezTo>
                    <a:pt x="555138" y="457302"/>
                    <a:pt x="430576" y="581594"/>
                    <a:pt x="277586" y="581594"/>
                  </a:cubicBezTo>
                  <a:lnTo>
                    <a:pt x="277586" y="605593"/>
                  </a:lnTo>
                  <a:cubicBezTo>
                    <a:pt x="277586" y="608208"/>
                    <a:pt x="274687" y="609702"/>
                    <a:pt x="272536" y="608208"/>
                  </a:cubicBezTo>
                  <a:lnTo>
                    <a:pt x="207356" y="563478"/>
                  </a:lnTo>
                  <a:cubicBezTo>
                    <a:pt x="205486" y="562170"/>
                    <a:pt x="205486" y="559369"/>
                    <a:pt x="207356" y="558155"/>
                  </a:cubicBezTo>
                  <a:lnTo>
                    <a:pt x="272536" y="513425"/>
                  </a:lnTo>
                  <a:cubicBezTo>
                    <a:pt x="274687" y="511931"/>
                    <a:pt x="277586" y="513425"/>
                    <a:pt x="277586" y="516040"/>
                  </a:cubicBezTo>
                  <a:lnTo>
                    <a:pt x="277586" y="540319"/>
                  </a:lnTo>
                  <a:cubicBezTo>
                    <a:pt x="407759" y="540319"/>
                    <a:pt x="513711" y="434517"/>
                    <a:pt x="513711" y="304529"/>
                  </a:cubicBezTo>
                  <a:cubicBezTo>
                    <a:pt x="513711" y="229169"/>
                    <a:pt x="477147" y="157825"/>
                    <a:pt x="416081" y="113562"/>
                  </a:cubicBezTo>
                  <a:close/>
                  <a:moveTo>
                    <a:pt x="282527" y="593"/>
                  </a:moveTo>
                  <a:lnTo>
                    <a:pt x="347711" y="45323"/>
                  </a:lnTo>
                  <a:cubicBezTo>
                    <a:pt x="349581" y="46724"/>
                    <a:pt x="349581" y="49432"/>
                    <a:pt x="347711" y="50646"/>
                  </a:cubicBezTo>
                  <a:lnTo>
                    <a:pt x="282527" y="95376"/>
                  </a:lnTo>
                  <a:cubicBezTo>
                    <a:pt x="280376" y="96870"/>
                    <a:pt x="277570" y="95376"/>
                    <a:pt x="277570" y="92761"/>
                  </a:cubicBezTo>
                  <a:lnTo>
                    <a:pt x="277570" y="68575"/>
                  </a:lnTo>
                  <a:cubicBezTo>
                    <a:pt x="147389" y="68575"/>
                    <a:pt x="41336" y="174471"/>
                    <a:pt x="41336" y="304459"/>
                  </a:cubicBezTo>
                  <a:cubicBezTo>
                    <a:pt x="41336" y="379725"/>
                    <a:pt x="77903" y="451069"/>
                    <a:pt x="138878" y="495332"/>
                  </a:cubicBezTo>
                  <a:lnTo>
                    <a:pt x="114563" y="528763"/>
                  </a:lnTo>
                  <a:cubicBezTo>
                    <a:pt x="42832" y="476749"/>
                    <a:pt x="0" y="392985"/>
                    <a:pt x="0" y="304459"/>
                  </a:cubicBezTo>
                  <a:cubicBezTo>
                    <a:pt x="0" y="151686"/>
                    <a:pt x="124570" y="27300"/>
                    <a:pt x="277570" y="27300"/>
                  </a:cubicBezTo>
                  <a:lnTo>
                    <a:pt x="277570" y="3208"/>
                  </a:lnTo>
                  <a:cubicBezTo>
                    <a:pt x="277570" y="593"/>
                    <a:pt x="280376" y="-901"/>
                    <a:pt x="282527" y="593"/>
                  </a:cubicBezTo>
                  <a:close/>
                </a:path>
              </a:pathLst>
            </a:custGeom>
            <a:solidFill>
              <a:schemeClr val="bg1"/>
            </a:solidFill>
            <a:ln w="12700">
              <a:miter lim="400000"/>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Tree>
    <p:extLst>
      <p:ext uri="{BB962C8B-B14F-4D97-AF65-F5344CB8AC3E}">
        <p14:creationId xmlns:p14="http://schemas.microsoft.com/office/powerpoint/2010/main" val="16042837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40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par>
                                <p:cTn id="13" presetID="10" presetClass="entr" presetSubtype="0" fill="hold" nodeType="withEffect">
                                  <p:stCondLst>
                                    <p:cond delay="700"/>
                                  </p:stCondLst>
                                  <p:childTnLst>
                                    <p:set>
                                      <p:cBhvr>
                                        <p:cTn id="14" dur="1" fill="hold">
                                          <p:stCondLst>
                                            <p:cond delay="0"/>
                                          </p:stCondLst>
                                        </p:cTn>
                                        <p:tgtEl>
                                          <p:spTgt spid="61"/>
                                        </p:tgtEl>
                                        <p:attrNameLst>
                                          <p:attrName>style.visibility</p:attrName>
                                        </p:attrNameLst>
                                      </p:cBhvr>
                                      <p:to>
                                        <p:strVal val="visible"/>
                                      </p:to>
                                    </p:set>
                                    <p:animEffect transition="in" filter="fade">
                                      <p:cBhvr>
                                        <p:cTn id="15"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a:extLst>
              <a:ext uri="{FF2B5EF4-FFF2-40B4-BE49-F238E27FC236}">
                <a16:creationId xmlns:a16="http://schemas.microsoft.com/office/drawing/2014/main" id="{88CB71C7-8556-406E-9E46-2E5474C45C89}"/>
              </a:ext>
            </a:extLst>
          </p:cNvPr>
          <p:cNvPicPr/>
          <p:nvPr/>
        </p:nvPicPr>
        <p:blipFill>
          <a:blip r:embed="rId3"/>
          <a:stretch>
            <a:fillRect/>
          </a:stretch>
        </p:blipFill>
        <p:spPr>
          <a:xfrm>
            <a:off x="4859623" y="1115543"/>
            <a:ext cx="6976820" cy="5578825"/>
          </a:xfrm>
          <a:prstGeom prst="rect">
            <a:avLst/>
          </a:prstGeom>
        </p:spPr>
      </p:pic>
      <p:sp>
        <p:nvSpPr>
          <p:cNvPr id="4" name="矩形 3">
            <a:extLst>
              <a:ext uri="{FF2B5EF4-FFF2-40B4-BE49-F238E27FC236}">
                <a16:creationId xmlns:a16="http://schemas.microsoft.com/office/drawing/2014/main" id="{D2C18B39-24F4-4BD4-8B46-257F4E87DC5D}"/>
              </a:ext>
            </a:extLst>
          </p:cNvPr>
          <p:cNvSpPr/>
          <p:nvPr/>
        </p:nvSpPr>
        <p:spPr>
          <a:xfrm>
            <a:off x="378118" y="1686195"/>
            <a:ext cx="4358640" cy="763414"/>
          </a:xfrm>
          <a:prstGeom prst="rect">
            <a:avLst/>
          </a:prstGeom>
        </p:spPr>
        <p:txBody>
          <a:bodyPr wrap="square">
            <a:spAutoFit/>
          </a:bodyPr>
          <a:lstStyle/>
          <a:p>
            <a:pPr>
              <a:lnSpc>
                <a:spcPts val="1800"/>
              </a:lnSpc>
            </a:pPr>
            <a:r>
              <a:rPr lang="zh-CN" altLang="en-US" sz="1200" dirty="0"/>
              <a:t>通过比较不同软件系统的结果，我们可以发现，使用</a:t>
            </a:r>
            <a:r>
              <a:rPr lang="en-US" altLang="zh-CN" sz="1200" dirty="0"/>
              <a:t>JHD</a:t>
            </a:r>
            <a:r>
              <a:rPr lang="zh-CN" altLang="en-US" sz="1200" dirty="0"/>
              <a:t>获得了最佳的精度值。这可以解释</a:t>
            </a:r>
            <a:r>
              <a:rPr lang="en-US" altLang="zh-CN" sz="1200" dirty="0"/>
              <a:t>JHD</a:t>
            </a:r>
            <a:r>
              <a:rPr lang="zh-CN" altLang="en-US" sz="1200" dirty="0"/>
              <a:t>最初是为了说明设计模式在设计和记录系统时的良好使用而开发的。</a:t>
            </a:r>
          </a:p>
        </p:txBody>
      </p:sp>
      <p:sp>
        <p:nvSpPr>
          <p:cNvPr id="8" name="矩形 7">
            <a:extLst>
              <a:ext uri="{FF2B5EF4-FFF2-40B4-BE49-F238E27FC236}">
                <a16:creationId xmlns:a16="http://schemas.microsoft.com/office/drawing/2014/main" id="{8E8059EB-B003-446E-8DD2-B647691737B3}"/>
              </a:ext>
            </a:extLst>
          </p:cNvPr>
          <p:cNvSpPr/>
          <p:nvPr/>
        </p:nvSpPr>
        <p:spPr>
          <a:xfrm>
            <a:off x="750472" y="3041787"/>
            <a:ext cx="3624054" cy="430887"/>
          </a:xfrm>
          <a:prstGeom prst="rect">
            <a:avLst/>
          </a:prstGeom>
        </p:spPr>
        <p:txBody>
          <a:bodyPr wrap="square">
            <a:spAutoFit/>
          </a:bodyPr>
          <a:lstStyle/>
          <a:p>
            <a:r>
              <a:rPr lang="zh-CN" altLang="en-US" sz="1100" dirty="0"/>
              <a:t>-使用最多的是变体</a:t>
            </a:r>
            <a:r>
              <a:rPr lang="en-US" altLang="zh-CN" sz="1100" dirty="0"/>
              <a:t>A6</a:t>
            </a:r>
            <a:r>
              <a:rPr lang="zh-CN" altLang="en-US" sz="1100" dirty="0"/>
              <a:t>（即八个软件系统恢复的实际实例的最大数量）</a:t>
            </a:r>
          </a:p>
        </p:txBody>
      </p:sp>
      <p:sp>
        <p:nvSpPr>
          <p:cNvPr id="15" name="矩形 14">
            <a:extLst>
              <a:ext uri="{FF2B5EF4-FFF2-40B4-BE49-F238E27FC236}">
                <a16:creationId xmlns:a16="http://schemas.microsoft.com/office/drawing/2014/main" id="{394B0FE1-8E31-4127-B5B4-B6BC3583FBF9}"/>
              </a:ext>
            </a:extLst>
          </p:cNvPr>
          <p:cNvSpPr/>
          <p:nvPr/>
        </p:nvSpPr>
        <p:spPr>
          <a:xfrm>
            <a:off x="758092" y="3907489"/>
            <a:ext cx="3440528" cy="430887"/>
          </a:xfrm>
          <a:prstGeom prst="rect">
            <a:avLst/>
          </a:prstGeom>
        </p:spPr>
        <p:txBody>
          <a:bodyPr wrap="square">
            <a:spAutoFit/>
          </a:bodyPr>
          <a:lstStyle/>
          <a:p>
            <a:r>
              <a:rPr lang="zh-CN" altLang="en-US" sz="1100" dirty="0"/>
              <a:t>- 变体</a:t>
            </a:r>
            <a:r>
              <a:rPr lang="en-US" altLang="zh-CN" sz="1100" dirty="0"/>
              <a:t>A8</a:t>
            </a:r>
            <a:r>
              <a:rPr lang="zh-CN" altLang="en-US" sz="1100" dirty="0"/>
              <a:t>实例的特征是具有最佳精度值（八个软件系统的平均精度为</a:t>
            </a:r>
            <a:r>
              <a:rPr lang="en-US" altLang="zh-CN" sz="1100" dirty="0"/>
              <a:t>0.46</a:t>
            </a:r>
            <a:r>
              <a:rPr lang="zh-CN" altLang="en-US" sz="1100" dirty="0"/>
              <a:t>）</a:t>
            </a:r>
          </a:p>
        </p:txBody>
      </p:sp>
      <p:sp>
        <p:nvSpPr>
          <p:cNvPr id="16" name="矩形 15">
            <a:extLst>
              <a:ext uri="{FF2B5EF4-FFF2-40B4-BE49-F238E27FC236}">
                <a16:creationId xmlns:a16="http://schemas.microsoft.com/office/drawing/2014/main" id="{A3697521-079A-4232-B5B8-5565BC50958C}"/>
              </a:ext>
            </a:extLst>
          </p:cNvPr>
          <p:cNvSpPr/>
          <p:nvPr/>
        </p:nvSpPr>
        <p:spPr>
          <a:xfrm>
            <a:off x="765712" y="4910141"/>
            <a:ext cx="3624054" cy="261610"/>
          </a:xfrm>
          <a:prstGeom prst="rect">
            <a:avLst/>
          </a:prstGeom>
        </p:spPr>
        <p:txBody>
          <a:bodyPr wrap="square">
            <a:spAutoFit/>
          </a:bodyPr>
          <a:lstStyle/>
          <a:p>
            <a:r>
              <a:rPr lang="en-US" altLang="zh-CN" sz="1100" dirty="0"/>
              <a:t>- </a:t>
            </a:r>
            <a:r>
              <a:rPr lang="zh-CN" altLang="en-US" sz="1100" dirty="0"/>
              <a:t>变体</a:t>
            </a:r>
            <a:r>
              <a:rPr lang="en-US" altLang="zh-CN" sz="1100" dirty="0"/>
              <a:t>A1</a:t>
            </a:r>
            <a:r>
              <a:rPr lang="zh-CN" altLang="en-US" sz="1100" dirty="0"/>
              <a:t>和</a:t>
            </a:r>
            <a:r>
              <a:rPr lang="en-US" altLang="zh-CN" sz="1100" dirty="0"/>
              <a:t>A10</a:t>
            </a:r>
            <a:r>
              <a:rPr lang="zh-CN" altLang="en-US" sz="1100" dirty="0"/>
              <a:t>的实例检索时间更少（对于所有软件系统）</a:t>
            </a:r>
            <a:endParaRPr lang="en-US" altLang="zh-CN" sz="1100" dirty="0"/>
          </a:p>
        </p:txBody>
      </p:sp>
      <p:sp>
        <p:nvSpPr>
          <p:cNvPr id="17" name="矩形 16">
            <a:extLst>
              <a:ext uri="{FF2B5EF4-FFF2-40B4-BE49-F238E27FC236}">
                <a16:creationId xmlns:a16="http://schemas.microsoft.com/office/drawing/2014/main" id="{1B6B3E28-717B-4642-9CFB-C345FAF925E8}"/>
              </a:ext>
            </a:extLst>
          </p:cNvPr>
          <p:cNvSpPr/>
          <p:nvPr/>
        </p:nvSpPr>
        <p:spPr>
          <a:xfrm>
            <a:off x="750471" y="5697612"/>
            <a:ext cx="3724235" cy="261610"/>
          </a:xfrm>
          <a:prstGeom prst="rect">
            <a:avLst/>
          </a:prstGeom>
        </p:spPr>
        <p:txBody>
          <a:bodyPr wrap="square">
            <a:spAutoFit/>
          </a:bodyPr>
          <a:lstStyle/>
          <a:p>
            <a:r>
              <a:rPr lang="en-US" altLang="zh-CN" sz="1100" dirty="0"/>
              <a:t>- </a:t>
            </a:r>
            <a:r>
              <a:rPr lang="zh-CN" altLang="en-US" sz="1100" dirty="0"/>
              <a:t>变体</a:t>
            </a:r>
            <a:r>
              <a:rPr lang="en-US" altLang="zh-CN" sz="1100" dirty="0"/>
              <a:t>A9</a:t>
            </a:r>
            <a:r>
              <a:rPr lang="zh-CN" altLang="en-US" sz="1100" dirty="0"/>
              <a:t>的实例允许在精度和时间性能之间获得最佳折衷</a:t>
            </a:r>
            <a:endParaRPr lang="en-US" altLang="zh-CN" sz="1100" dirty="0"/>
          </a:p>
        </p:txBody>
      </p:sp>
      <p:grpSp>
        <p:nvGrpSpPr>
          <p:cNvPr id="12" name="组合 11">
            <a:extLst>
              <a:ext uri="{FF2B5EF4-FFF2-40B4-BE49-F238E27FC236}">
                <a16:creationId xmlns:a16="http://schemas.microsoft.com/office/drawing/2014/main" id="{5D8F3B8F-EB0E-4C6A-973B-5CAB34B82CF2}"/>
              </a:ext>
            </a:extLst>
          </p:cNvPr>
          <p:cNvGrpSpPr/>
          <p:nvPr/>
        </p:nvGrpSpPr>
        <p:grpSpPr>
          <a:xfrm>
            <a:off x="538437" y="3100132"/>
            <a:ext cx="158695" cy="2839398"/>
            <a:chOff x="538437" y="3100132"/>
            <a:chExt cx="158695" cy="2839398"/>
          </a:xfrm>
        </p:grpSpPr>
        <p:cxnSp>
          <p:nvCxnSpPr>
            <p:cNvPr id="43" name="直接连接符 42">
              <a:extLst>
                <a:ext uri="{FF2B5EF4-FFF2-40B4-BE49-F238E27FC236}">
                  <a16:creationId xmlns:a16="http://schemas.microsoft.com/office/drawing/2014/main" id="{922A5132-8305-4391-9477-CB9989DE2502}"/>
                </a:ext>
              </a:extLst>
            </p:cNvPr>
            <p:cNvCxnSpPr>
              <a:cxnSpLocks/>
            </p:cNvCxnSpPr>
            <p:nvPr/>
          </p:nvCxnSpPr>
          <p:spPr>
            <a:xfrm>
              <a:off x="607017" y="3175670"/>
              <a:ext cx="22123" cy="27417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5" name="ïşľíḑè">
              <a:extLst>
                <a:ext uri="{FF2B5EF4-FFF2-40B4-BE49-F238E27FC236}">
                  <a16:creationId xmlns:a16="http://schemas.microsoft.com/office/drawing/2014/main" id="{BFDDBF00-A2BB-4CF2-B548-C32C6EA5E4B8}"/>
                </a:ext>
              </a:extLst>
            </p:cNvPr>
            <p:cNvSpPr/>
            <p:nvPr/>
          </p:nvSpPr>
          <p:spPr>
            <a:xfrm>
              <a:off x="538437" y="3100132"/>
              <a:ext cx="151075" cy="1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46" name="iṩľïḑé">
              <a:extLst>
                <a:ext uri="{FF2B5EF4-FFF2-40B4-BE49-F238E27FC236}">
                  <a16:creationId xmlns:a16="http://schemas.microsoft.com/office/drawing/2014/main" id="{CB94B291-B9FC-41ED-9222-A1C71CAAC203}"/>
                </a:ext>
              </a:extLst>
            </p:cNvPr>
            <p:cNvSpPr/>
            <p:nvPr/>
          </p:nvSpPr>
          <p:spPr>
            <a:xfrm>
              <a:off x="546056" y="5788455"/>
              <a:ext cx="151075" cy="1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47" name="íSļíḋè">
              <a:extLst>
                <a:ext uri="{FF2B5EF4-FFF2-40B4-BE49-F238E27FC236}">
                  <a16:creationId xmlns:a16="http://schemas.microsoft.com/office/drawing/2014/main" id="{9CE97DCD-6372-4B93-A4FE-6596CF75384B}"/>
                </a:ext>
              </a:extLst>
            </p:cNvPr>
            <p:cNvSpPr/>
            <p:nvPr/>
          </p:nvSpPr>
          <p:spPr>
            <a:xfrm>
              <a:off x="538437" y="3987247"/>
              <a:ext cx="151075" cy="1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48" name="i$ḷîďê">
              <a:extLst>
                <a:ext uri="{FF2B5EF4-FFF2-40B4-BE49-F238E27FC236}">
                  <a16:creationId xmlns:a16="http://schemas.microsoft.com/office/drawing/2014/main" id="{C27286A9-86B9-40EA-B03B-FD700D4A21B4}"/>
                </a:ext>
              </a:extLst>
            </p:cNvPr>
            <p:cNvSpPr/>
            <p:nvPr/>
          </p:nvSpPr>
          <p:spPr>
            <a:xfrm>
              <a:off x="546057" y="4944244"/>
              <a:ext cx="151075" cy="1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sp>
        <p:nvSpPr>
          <p:cNvPr id="49" name="text-quotes_13895">
            <a:extLst>
              <a:ext uri="{FF2B5EF4-FFF2-40B4-BE49-F238E27FC236}">
                <a16:creationId xmlns:a16="http://schemas.microsoft.com/office/drawing/2014/main" id="{B24C6F93-EA10-436D-AF42-E9C40A7936AA}"/>
              </a:ext>
            </a:extLst>
          </p:cNvPr>
          <p:cNvSpPr>
            <a:spLocks noChangeAspect="1"/>
          </p:cNvSpPr>
          <p:nvPr/>
        </p:nvSpPr>
        <p:spPr bwMode="auto">
          <a:xfrm rot="10800000">
            <a:off x="233594" y="1237422"/>
            <a:ext cx="609685" cy="391270"/>
          </a:xfrm>
          <a:custGeom>
            <a:avLst/>
            <a:gdLst>
              <a:gd name="connsiteX0" fmla="*/ 439987 w 568260"/>
              <a:gd name="connsiteY0" fmla="*/ 0 h 364686"/>
              <a:gd name="connsiteX1" fmla="*/ 568260 w 568260"/>
              <a:gd name="connsiteY1" fmla="*/ 130771 h 364686"/>
              <a:gd name="connsiteX2" fmla="*/ 568260 w 568260"/>
              <a:gd name="connsiteY2" fmla="*/ 131692 h 364686"/>
              <a:gd name="connsiteX3" fmla="*/ 337553 w 568260"/>
              <a:gd name="connsiteY3" fmla="*/ 364686 h 364686"/>
              <a:gd name="connsiteX4" fmla="*/ 308023 w 568260"/>
              <a:gd name="connsiteY4" fmla="*/ 331533 h 364686"/>
              <a:gd name="connsiteX5" fmla="*/ 340322 w 568260"/>
              <a:gd name="connsiteY5" fmla="*/ 299301 h 364686"/>
              <a:gd name="connsiteX6" fmla="*/ 444601 w 568260"/>
              <a:gd name="connsiteY6" fmla="*/ 262464 h 364686"/>
              <a:gd name="connsiteX7" fmla="*/ 441833 w 568260"/>
              <a:gd name="connsiteY7" fmla="*/ 262464 h 364686"/>
              <a:gd name="connsiteX8" fmla="*/ 309869 w 568260"/>
              <a:gd name="connsiteY8" fmla="*/ 131692 h 364686"/>
              <a:gd name="connsiteX9" fmla="*/ 439987 w 568260"/>
              <a:gd name="connsiteY9" fmla="*/ 0 h 364686"/>
              <a:gd name="connsiteX10" fmla="*/ 131871 w 568260"/>
              <a:gd name="connsiteY10" fmla="*/ 0 h 364686"/>
              <a:gd name="connsiteX11" fmla="*/ 260976 w 568260"/>
              <a:gd name="connsiteY11" fmla="*/ 130771 h 364686"/>
              <a:gd name="connsiteX12" fmla="*/ 260976 w 568260"/>
              <a:gd name="connsiteY12" fmla="*/ 131692 h 364686"/>
              <a:gd name="connsiteX13" fmla="*/ 30432 w 568260"/>
              <a:gd name="connsiteY13" fmla="*/ 364686 h 364686"/>
              <a:gd name="connsiteX14" fmla="*/ 0 w 568260"/>
              <a:gd name="connsiteY14" fmla="*/ 331533 h 364686"/>
              <a:gd name="connsiteX15" fmla="*/ 33198 w 568260"/>
              <a:gd name="connsiteY15" fmla="*/ 299301 h 364686"/>
              <a:gd name="connsiteX16" fmla="*/ 136482 w 568260"/>
              <a:gd name="connsiteY16" fmla="*/ 262464 h 364686"/>
              <a:gd name="connsiteX17" fmla="*/ 134638 w 568260"/>
              <a:gd name="connsiteY17" fmla="*/ 262464 h 364686"/>
              <a:gd name="connsiteX18" fmla="*/ 1844 w 568260"/>
              <a:gd name="connsiteY18" fmla="*/ 131692 h 364686"/>
              <a:gd name="connsiteX19" fmla="*/ 131871 w 568260"/>
              <a:gd name="connsiteY19" fmla="*/ 0 h 36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8260" h="364686">
                <a:moveTo>
                  <a:pt x="439987" y="0"/>
                </a:moveTo>
                <a:cubicBezTo>
                  <a:pt x="511968" y="0"/>
                  <a:pt x="568260" y="58939"/>
                  <a:pt x="568260" y="130771"/>
                </a:cubicBezTo>
                <a:lnTo>
                  <a:pt x="568260" y="131692"/>
                </a:lnTo>
                <a:cubicBezTo>
                  <a:pt x="568260" y="259701"/>
                  <a:pt x="466749" y="364686"/>
                  <a:pt x="337553" y="364686"/>
                </a:cubicBezTo>
                <a:cubicBezTo>
                  <a:pt x="319097" y="364686"/>
                  <a:pt x="308023" y="349951"/>
                  <a:pt x="308023" y="331533"/>
                </a:cubicBezTo>
                <a:cubicBezTo>
                  <a:pt x="308023" y="313114"/>
                  <a:pt x="322788" y="299301"/>
                  <a:pt x="340322" y="299301"/>
                </a:cubicBezTo>
                <a:cubicBezTo>
                  <a:pt x="380003" y="299301"/>
                  <a:pt x="415994" y="285487"/>
                  <a:pt x="444601" y="262464"/>
                </a:cubicBezTo>
                <a:cubicBezTo>
                  <a:pt x="443678" y="262464"/>
                  <a:pt x="442756" y="262464"/>
                  <a:pt x="441833" y="262464"/>
                </a:cubicBezTo>
                <a:cubicBezTo>
                  <a:pt x="369852" y="262464"/>
                  <a:pt x="309869" y="203524"/>
                  <a:pt x="309869" y="131692"/>
                </a:cubicBezTo>
                <a:cubicBezTo>
                  <a:pt x="309869" y="58939"/>
                  <a:pt x="367084" y="0"/>
                  <a:pt x="439987" y="0"/>
                </a:cubicBezTo>
                <a:close/>
                <a:moveTo>
                  <a:pt x="131871" y="0"/>
                </a:moveTo>
                <a:cubicBezTo>
                  <a:pt x="204723" y="0"/>
                  <a:pt x="260976" y="58939"/>
                  <a:pt x="260976" y="130771"/>
                </a:cubicBezTo>
                <a:lnTo>
                  <a:pt x="260976" y="131692"/>
                </a:lnTo>
                <a:cubicBezTo>
                  <a:pt x="260976" y="259701"/>
                  <a:pt x="158614" y="364686"/>
                  <a:pt x="30432" y="364686"/>
                </a:cubicBezTo>
                <a:cubicBezTo>
                  <a:pt x="11988" y="364686"/>
                  <a:pt x="0" y="349951"/>
                  <a:pt x="0" y="331533"/>
                </a:cubicBezTo>
                <a:cubicBezTo>
                  <a:pt x="0" y="313114"/>
                  <a:pt x="14755" y="299301"/>
                  <a:pt x="33198" y="299301"/>
                </a:cubicBezTo>
                <a:cubicBezTo>
                  <a:pt x="71930" y="299301"/>
                  <a:pt x="107895" y="285487"/>
                  <a:pt x="136482" y="262464"/>
                </a:cubicBezTo>
                <a:cubicBezTo>
                  <a:pt x="136482" y="262464"/>
                  <a:pt x="134638" y="262464"/>
                  <a:pt x="134638" y="262464"/>
                </a:cubicBezTo>
                <a:cubicBezTo>
                  <a:pt x="61786" y="262464"/>
                  <a:pt x="1844" y="203524"/>
                  <a:pt x="1844" y="131692"/>
                </a:cubicBezTo>
                <a:cubicBezTo>
                  <a:pt x="1844" y="58939"/>
                  <a:pt x="59941" y="0"/>
                  <a:pt x="131871" y="0"/>
                </a:cubicBezTo>
                <a:close/>
              </a:path>
            </a:pathLst>
          </a:custGeom>
          <a:solidFill>
            <a:schemeClr val="accent1"/>
          </a:solidFill>
          <a:ln>
            <a:noFill/>
          </a:ln>
        </p:spPr>
      </p:sp>
      <p:grpSp>
        <p:nvGrpSpPr>
          <p:cNvPr id="3" name="组合 2">
            <a:extLst>
              <a:ext uri="{FF2B5EF4-FFF2-40B4-BE49-F238E27FC236}">
                <a16:creationId xmlns:a16="http://schemas.microsoft.com/office/drawing/2014/main" id="{2905F8AC-12B4-4C36-919E-C952AA951CBC}"/>
              </a:ext>
            </a:extLst>
          </p:cNvPr>
          <p:cNvGrpSpPr/>
          <p:nvPr/>
        </p:nvGrpSpPr>
        <p:grpSpPr>
          <a:xfrm>
            <a:off x="-43962" y="-2"/>
            <a:ext cx="12265321" cy="1081456"/>
            <a:chOff x="-43962" y="-2"/>
            <a:chExt cx="12265321" cy="1081456"/>
          </a:xfrm>
        </p:grpSpPr>
        <p:grpSp>
          <p:nvGrpSpPr>
            <p:cNvPr id="5" name="组合 4">
              <a:extLst>
                <a:ext uri="{FF2B5EF4-FFF2-40B4-BE49-F238E27FC236}">
                  <a16:creationId xmlns:a16="http://schemas.microsoft.com/office/drawing/2014/main" id="{A02D8D5F-9092-40A1-BEE7-2E18BC595794}"/>
                </a:ext>
              </a:extLst>
            </p:cNvPr>
            <p:cNvGrpSpPr/>
            <p:nvPr/>
          </p:nvGrpSpPr>
          <p:grpSpPr>
            <a:xfrm rot="10800000">
              <a:off x="-43962" y="-2"/>
              <a:ext cx="12265321" cy="1081456"/>
              <a:chOff x="1" y="5010588"/>
              <a:chExt cx="12265322" cy="1905823"/>
            </a:xfrm>
          </p:grpSpPr>
          <p:sp>
            <p:nvSpPr>
              <p:cNvPr id="6" name="îṧļiḑe">
                <a:extLst>
                  <a:ext uri="{FF2B5EF4-FFF2-40B4-BE49-F238E27FC236}">
                    <a16:creationId xmlns:a16="http://schemas.microsoft.com/office/drawing/2014/main" id="{49F6E0D8-E3BC-4BD3-84FB-161A76550555}"/>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îṩľiḑê">
                <a:extLst>
                  <a:ext uri="{FF2B5EF4-FFF2-40B4-BE49-F238E27FC236}">
                    <a16:creationId xmlns:a16="http://schemas.microsoft.com/office/drawing/2014/main" id="{E47AD772-61D7-455A-AF1D-07952261DFE2}"/>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sp>
          <p:nvSpPr>
            <p:cNvPr id="9" name="矩形 8">
              <a:extLst>
                <a:ext uri="{FF2B5EF4-FFF2-40B4-BE49-F238E27FC236}">
                  <a16:creationId xmlns:a16="http://schemas.microsoft.com/office/drawing/2014/main" id="{559493B6-54D5-4BFB-8173-8ADF4B215E18}"/>
                </a:ext>
              </a:extLst>
            </p:cNvPr>
            <p:cNvSpPr/>
            <p:nvPr/>
          </p:nvSpPr>
          <p:spPr>
            <a:xfrm>
              <a:off x="1028700" y="139985"/>
              <a:ext cx="9944100" cy="369332"/>
            </a:xfrm>
            <a:prstGeom prst="rect">
              <a:avLst/>
            </a:prstGeom>
          </p:spPr>
          <p:txBody>
            <a:bodyPr wrap="square">
              <a:spAutoFit/>
            </a:bodyPr>
            <a:lstStyle/>
            <a:p>
              <a:r>
                <a:rPr lang="en-US" altLang="zh-CN" dirty="0">
                  <a:solidFill>
                    <a:schemeClr val="bg1"/>
                  </a:solidFill>
                </a:rPr>
                <a:t>A. </a:t>
              </a:r>
              <a:r>
                <a:rPr lang="zh-CN" altLang="en-US" dirty="0">
                  <a:solidFill>
                    <a:schemeClr val="bg1"/>
                  </a:solidFill>
                </a:rPr>
                <a:t>适配器模式变体的结果</a:t>
              </a:r>
              <a:endParaRPr lang="en-US" altLang="zh-CN" dirty="0">
                <a:solidFill>
                  <a:schemeClr val="bg1"/>
                </a:solidFill>
              </a:endParaRPr>
            </a:p>
          </p:txBody>
        </p:sp>
        <p:sp>
          <p:nvSpPr>
            <p:cNvPr id="21" name="ïšḷîdè">
              <a:extLst>
                <a:ext uri="{FF2B5EF4-FFF2-40B4-BE49-F238E27FC236}">
                  <a16:creationId xmlns:a16="http://schemas.microsoft.com/office/drawing/2014/main" id="{ABC45A89-7CDC-4B82-9B16-B4605C407068}"/>
                </a:ext>
              </a:extLst>
            </p:cNvPr>
            <p:cNvSpPr/>
            <p:nvPr/>
          </p:nvSpPr>
          <p:spPr>
            <a:xfrm>
              <a:off x="418935" y="106081"/>
              <a:ext cx="469590" cy="514984"/>
            </a:xfrm>
            <a:custGeom>
              <a:avLst/>
              <a:gdLst>
                <a:gd name="connsiteX0" fmla="*/ 333504 w 555138"/>
                <a:gd name="connsiteY0" fmla="*/ 231047 h 608801"/>
                <a:gd name="connsiteX1" fmla="*/ 254856 w 555138"/>
                <a:gd name="connsiteY1" fmla="*/ 309304 h 608801"/>
                <a:gd name="connsiteX2" fmla="*/ 221937 w 555138"/>
                <a:gd name="connsiteY2" fmla="*/ 276152 h 608801"/>
                <a:gd name="connsiteX3" fmla="*/ 187523 w 555138"/>
                <a:gd name="connsiteY3" fmla="*/ 310238 h 608801"/>
                <a:gd name="connsiteX4" fmla="*/ 220441 w 555138"/>
                <a:gd name="connsiteY4" fmla="*/ 343389 h 608801"/>
                <a:gd name="connsiteX5" fmla="*/ 254575 w 555138"/>
                <a:gd name="connsiteY5" fmla="*/ 377755 h 608801"/>
                <a:gd name="connsiteX6" fmla="*/ 288989 w 555138"/>
                <a:gd name="connsiteY6" fmla="*/ 343669 h 608801"/>
                <a:gd name="connsiteX7" fmla="*/ 367731 w 555138"/>
                <a:gd name="connsiteY7" fmla="*/ 265413 h 608801"/>
                <a:gd name="connsiteX8" fmla="*/ 277580 w 555138"/>
                <a:gd name="connsiteY8" fmla="*/ 130845 h 608801"/>
                <a:gd name="connsiteX9" fmla="*/ 451336 w 555138"/>
                <a:gd name="connsiteY9" fmla="*/ 304448 h 608801"/>
                <a:gd name="connsiteX10" fmla="*/ 277580 w 555138"/>
                <a:gd name="connsiteY10" fmla="*/ 477957 h 608801"/>
                <a:gd name="connsiteX11" fmla="*/ 103731 w 555138"/>
                <a:gd name="connsiteY11" fmla="*/ 304448 h 608801"/>
                <a:gd name="connsiteX12" fmla="*/ 277580 w 555138"/>
                <a:gd name="connsiteY12" fmla="*/ 130845 h 608801"/>
                <a:gd name="connsiteX13" fmla="*/ 440395 w 555138"/>
                <a:gd name="connsiteY13" fmla="*/ 80038 h 608801"/>
                <a:gd name="connsiteX14" fmla="*/ 555138 w 555138"/>
                <a:gd name="connsiteY14" fmla="*/ 304436 h 608801"/>
                <a:gd name="connsiteX15" fmla="*/ 277586 w 555138"/>
                <a:gd name="connsiteY15" fmla="*/ 581594 h 608801"/>
                <a:gd name="connsiteX16" fmla="*/ 277586 w 555138"/>
                <a:gd name="connsiteY16" fmla="*/ 605593 h 608801"/>
                <a:gd name="connsiteX17" fmla="*/ 272536 w 555138"/>
                <a:gd name="connsiteY17" fmla="*/ 608208 h 608801"/>
                <a:gd name="connsiteX18" fmla="*/ 207356 w 555138"/>
                <a:gd name="connsiteY18" fmla="*/ 563478 h 608801"/>
                <a:gd name="connsiteX19" fmla="*/ 207356 w 555138"/>
                <a:gd name="connsiteY19" fmla="*/ 558155 h 608801"/>
                <a:gd name="connsiteX20" fmla="*/ 272536 w 555138"/>
                <a:gd name="connsiteY20" fmla="*/ 513425 h 608801"/>
                <a:gd name="connsiteX21" fmla="*/ 277586 w 555138"/>
                <a:gd name="connsiteY21" fmla="*/ 516040 h 608801"/>
                <a:gd name="connsiteX22" fmla="*/ 277586 w 555138"/>
                <a:gd name="connsiteY22" fmla="*/ 540319 h 608801"/>
                <a:gd name="connsiteX23" fmla="*/ 513711 w 555138"/>
                <a:gd name="connsiteY23" fmla="*/ 304529 h 608801"/>
                <a:gd name="connsiteX24" fmla="*/ 416081 w 555138"/>
                <a:gd name="connsiteY24" fmla="*/ 113562 h 608801"/>
                <a:gd name="connsiteX25" fmla="*/ 282527 w 555138"/>
                <a:gd name="connsiteY25" fmla="*/ 593 h 608801"/>
                <a:gd name="connsiteX26" fmla="*/ 347711 w 555138"/>
                <a:gd name="connsiteY26" fmla="*/ 45323 h 608801"/>
                <a:gd name="connsiteX27" fmla="*/ 347711 w 555138"/>
                <a:gd name="connsiteY27" fmla="*/ 50646 h 608801"/>
                <a:gd name="connsiteX28" fmla="*/ 282527 w 555138"/>
                <a:gd name="connsiteY28" fmla="*/ 95376 h 608801"/>
                <a:gd name="connsiteX29" fmla="*/ 277570 w 555138"/>
                <a:gd name="connsiteY29" fmla="*/ 92761 h 608801"/>
                <a:gd name="connsiteX30" fmla="*/ 277570 w 555138"/>
                <a:gd name="connsiteY30" fmla="*/ 68575 h 608801"/>
                <a:gd name="connsiteX31" fmla="*/ 41336 w 555138"/>
                <a:gd name="connsiteY31" fmla="*/ 304459 h 608801"/>
                <a:gd name="connsiteX32" fmla="*/ 138878 w 555138"/>
                <a:gd name="connsiteY32" fmla="*/ 495332 h 608801"/>
                <a:gd name="connsiteX33" fmla="*/ 114563 w 555138"/>
                <a:gd name="connsiteY33" fmla="*/ 528763 h 608801"/>
                <a:gd name="connsiteX34" fmla="*/ 0 w 555138"/>
                <a:gd name="connsiteY34" fmla="*/ 304459 h 608801"/>
                <a:gd name="connsiteX35" fmla="*/ 277570 w 555138"/>
                <a:gd name="connsiteY35" fmla="*/ 27300 h 608801"/>
                <a:gd name="connsiteX36" fmla="*/ 277570 w 555138"/>
                <a:gd name="connsiteY36" fmla="*/ 3208 h 608801"/>
                <a:gd name="connsiteX37" fmla="*/ 282527 w 555138"/>
                <a:gd name="connsiteY37" fmla="*/ 593 h 6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55138" h="608801">
                  <a:moveTo>
                    <a:pt x="333504" y="231047"/>
                  </a:moveTo>
                  <a:lnTo>
                    <a:pt x="254856" y="309304"/>
                  </a:lnTo>
                  <a:lnTo>
                    <a:pt x="221937" y="276152"/>
                  </a:lnTo>
                  <a:lnTo>
                    <a:pt x="187523" y="310238"/>
                  </a:lnTo>
                  <a:lnTo>
                    <a:pt x="220441" y="343389"/>
                  </a:lnTo>
                  <a:lnTo>
                    <a:pt x="254575" y="377755"/>
                  </a:lnTo>
                  <a:lnTo>
                    <a:pt x="288989" y="343669"/>
                  </a:lnTo>
                  <a:lnTo>
                    <a:pt x="367731" y="265413"/>
                  </a:lnTo>
                  <a:close/>
                  <a:moveTo>
                    <a:pt x="277580" y="130845"/>
                  </a:moveTo>
                  <a:cubicBezTo>
                    <a:pt x="373529" y="130845"/>
                    <a:pt x="451336" y="208541"/>
                    <a:pt x="451336" y="304448"/>
                  </a:cubicBezTo>
                  <a:cubicBezTo>
                    <a:pt x="451336" y="400261"/>
                    <a:pt x="373529" y="477957"/>
                    <a:pt x="277580" y="477957"/>
                  </a:cubicBezTo>
                  <a:cubicBezTo>
                    <a:pt x="181538" y="477957"/>
                    <a:pt x="103731" y="400261"/>
                    <a:pt x="103731" y="304448"/>
                  </a:cubicBezTo>
                  <a:cubicBezTo>
                    <a:pt x="103731" y="208541"/>
                    <a:pt x="181538" y="130845"/>
                    <a:pt x="277580" y="130845"/>
                  </a:cubicBezTo>
                  <a:close/>
                  <a:moveTo>
                    <a:pt x="440395" y="80038"/>
                  </a:moveTo>
                  <a:cubicBezTo>
                    <a:pt x="512215" y="132052"/>
                    <a:pt x="555138" y="215909"/>
                    <a:pt x="555138" y="304436"/>
                  </a:cubicBezTo>
                  <a:cubicBezTo>
                    <a:pt x="555138" y="457302"/>
                    <a:pt x="430576" y="581594"/>
                    <a:pt x="277586" y="581594"/>
                  </a:cubicBezTo>
                  <a:lnTo>
                    <a:pt x="277586" y="605593"/>
                  </a:lnTo>
                  <a:cubicBezTo>
                    <a:pt x="277586" y="608208"/>
                    <a:pt x="274687" y="609702"/>
                    <a:pt x="272536" y="608208"/>
                  </a:cubicBezTo>
                  <a:lnTo>
                    <a:pt x="207356" y="563478"/>
                  </a:lnTo>
                  <a:cubicBezTo>
                    <a:pt x="205486" y="562170"/>
                    <a:pt x="205486" y="559369"/>
                    <a:pt x="207356" y="558155"/>
                  </a:cubicBezTo>
                  <a:lnTo>
                    <a:pt x="272536" y="513425"/>
                  </a:lnTo>
                  <a:cubicBezTo>
                    <a:pt x="274687" y="511931"/>
                    <a:pt x="277586" y="513425"/>
                    <a:pt x="277586" y="516040"/>
                  </a:cubicBezTo>
                  <a:lnTo>
                    <a:pt x="277586" y="540319"/>
                  </a:lnTo>
                  <a:cubicBezTo>
                    <a:pt x="407759" y="540319"/>
                    <a:pt x="513711" y="434517"/>
                    <a:pt x="513711" y="304529"/>
                  </a:cubicBezTo>
                  <a:cubicBezTo>
                    <a:pt x="513711" y="229169"/>
                    <a:pt x="477147" y="157825"/>
                    <a:pt x="416081" y="113562"/>
                  </a:cubicBezTo>
                  <a:close/>
                  <a:moveTo>
                    <a:pt x="282527" y="593"/>
                  </a:moveTo>
                  <a:lnTo>
                    <a:pt x="347711" y="45323"/>
                  </a:lnTo>
                  <a:cubicBezTo>
                    <a:pt x="349581" y="46724"/>
                    <a:pt x="349581" y="49432"/>
                    <a:pt x="347711" y="50646"/>
                  </a:cubicBezTo>
                  <a:lnTo>
                    <a:pt x="282527" y="95376"/>
                  </a:lnTo>
                  <a:cubicBezTo>
                    <a:pt x="280376" y="96870"/>
                    <a:pt x="277570" y="95376"/>
                    <a:pt x="277570" y="92761"/>
                  </a:cubicBezTo>
                  <a:lnTo>
                    <a:pt x="277570" y="68575"/>
                  </a:lnTo>
                  <a:cubicBezTo>
                    <a:pt x="147389" y="68575"/>
                    <a:pt x="41336" y="174471"/>
                    <a:pt x="41336" y="304459"/>
                  </a:cubicBezTo>
                  <a:cubicBezTo>
                    <a:pt x="41336" y="379725"/>
                    <a:pt x="77903" y="451069"/>
                    <a:pt x="138878" y="495332"/>
                  </a:cubicBezTo>
                  <a:lnTo>
                    <a:pt x="114563" y="528763"/>
                  </a:lnTo>
                  <a:cubicBezTo>
                    <a:pt x="42832" y="476749"/>
                    <a:pt x="0" y="392985"/>
                    <a:pt x="0" y="304459"/>
                  </a:cubicBezTo>
                  <a:cubicBezTo>
                    <a:pt x="0" y="151686"/>
                    <a:pt x="124570" y="27300"/>
                    <a:pt x="277570" y="27300"/>
                  </a:cubicBezTo>
                  <a:lnTo>
                    <a:pt x="277570" y="3208"/>
                  </a:lnTo>
                  <a:cubicBezTo>
                    <a:pt x="277570" y="593"/>
                    <a:pt x="280376" y="-901"/>
                    <a:pt x="282527" y="593"/>
                  </a:cubicBezTo>
                  <a:close/>
                </a:path>
              </a:pathLst>
            </a:custGeom>
            <a:solidFill>
              <a:schemeClr val="bg1"/>
            </a:solidFill>
            <a:ln w="12700">
              <a:miter lim="400000"/>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24" name="矩形 23">
            <a:extLst>
              <a:ext uri="{FF2B5EF4-FFF2-40B4-BE49-F238E27FC236}">
                <a16:creationId xmlns:a16="http://schemas.microsoft.com/office/drawing/2014/main" id="{9F6024C2-7870-4FA4-B336-6A2B5DBDD24B}"/>
              </a:ext>
            </a:extLst>
          </p:cNvPr>
          <p:cNvSpPr/>
          <p:nvPr/>
        </p:nvSpPr>
        <p:spPr>
          <a:xfrm>
            <a:off x="4904231" y="4131159"/>
            <a:ext cx="6842761" cy="541020"/>
          </a:xfrm>
          <a:prstGeom prst="rect">
            <a:avLst/>
          </a:prstGeom>
          <a:noFill/>
          <a:ln>
            <a:solidFill>
              <a:srgbClr val="FF69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99996262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par>
                                    <p:cTn id="10" presetID="2" presetClass="entr" presetSubtype="8" accel="10000" fill="hold" nodeType="withEffect" p14:presetBounceEnd="30000">
                                      <p:stCondLst>
                                        <p:cond delay="200"/>
                                      </p:stCondLst>
                                      <p:childTnLst>
                                        <p:set>
                                          <p:cBhvr>
                                            <p:cTn id="11" dur="1" fill="hold">
                                              <p:stCondLst>
                                                <p:cond delay="0"/>
                                              </p:stCondLst>
                                            </p:cTn>
                                            <p:tgtEl>
                                              <p:spTgt spid="49"/>
                                            </p:tgtEl>
                                            <p:attrNameLst>
                                              <p:attrName>style.visibility</p:attrName>
                                            </p:attrNameLst>
                                          </p:cBhvr>
                                          <p:to>
                                            <p:strVal val="visible"/>
                                          </p:to>
                                        </p:set>
                                        <p:anim calcmode="lin" valueType="num" p14:bounceEnd="30000">
                                          <p:cBhvr additive="base">
                                            <p:cTn id="12" dur="500" fill="hold"/>
                                            <p:tgtEl>
                                              <p:spTgt spid="49"/>
                                            </p:tgtEl>
                                            <p:attrNameLst>
                                              <p:attrName>ppt_x</p:attrName>
                                            </p:attrNameLst>
                                          </p:cBhvr>
                                          <p:tavLst>
                                            <p:tav tm="0">
                                              <p:val>
                                                <p:strVal val="0-#ppt_w/2"/>
                                              </p:val>
                                            </p:tav>
                                            <p:tav tm="100000">
                                              <p:val>
                                                <p:strVal val="#ppt_x"/>
                                              </p:val>
                                            </p:tav>
                                          </p:tavLst>
                                        </p:anim>
                                        <p:anim calcmode="lin" valueType="num" p14:bounceEnd="30000">
                                          <p:cBhvr additive="base">
                                            <p:cTn id="13" dur="500" fill="hold"/>
                                            <p:tgtEl>
                                              <p:spTgt spid="49"/>
                                            </p:tgtEl>
                                            <p:attrNameLst>
                                              <p:attrName>ppt_y</p:attrName>
                                            </p:attrNameLst>
                                          </p:cBhvr>
                                          <p:tavLst>
                                            <p:tav tm="0">
                                              <p:val>
                                                <p:strVal val="#ppt_y"/>
                                              </p:val>
                                            </p:tav>
                                            <p:tav tm="100000">
                                              <p:val>
                                                <p:strVal val="#ppt_y"/>
                                              </p:val>
                                            </p:tav>
                                          </p:tavLst>
                                        </p:anim>
                                      </p:childTnLst>
                                    </p:cTn>
                                  </p:par>
                                  <p:par>
                                    <p:cTn id="14" presetID="2" presetClass="entr" presetSubtype="2" accel="10000" fill="hold" grpId="0" nodeType="withEffect" p14:presetBounceEnd="30000">
                                      <p:stCondLst>
                                        <p:cond delay="200"/>
                                      </p:stCondLst>
                                      <p:childTnLst>
                                        <p:set>
                                          <p:cBhvr>
                                            <p:cTn id="15" dur="1" fill="hold">
                                              <p:stCondLst>
                                                <p:cond delay="0"/>
                                              </p:stCondLst>
                                            </p:cTn>
                                            <p:tgtEl>
                                              <p:spTgt spid="4"/>
                                            </p:tgtEl>
                                            <p:attrNameLst>
                                              <p:attrName>style.visibility</p:attrName>
                                            </p:attrNameLst>
                                          </p:cBhvr>
                                          <p:to>
                                            <p:strVal val="visible"/>
                                          </p:to>
                                        </p:set>
                                        <p:anim calcmode="lin" valueType="num" p14:bounceEnd="30000">
                                          <p:cBhvr additive="base">
                                            <p:cTn id="16" dur="500" fill="hold"/>
                                            <p:tgtEl>
                                              <p:spTgt spid="4"/>
                                            </p:tgtEl>
                                            <p:attrNameLst>
                                              <p:attrName>ppt_x</p:attrName>
                                            </p:attrNameLst>
                                          </p:cBhvr>
                                          <p:tavLst>
                                            <p:tav tm="0">
                                              <p:val>
                                                <p:strVal val="1+#ppt_w/2"/>
                                              </p:val>
                                            </p:tav>
                                            <p:tav tm="100000">
                                              <p:val>
                                                <p:strVal val="#ppt_x"/>
                                              </p:val>
                                            </p:tav>
                                          </p:tavLst>
                                        </p:anim>
                                        <p:anim calcmode="lin" valueType="num" p14:bounceEnd="30000">
                                          <p:cBhvr additive="base">
                                            <p:cTn id="17" dur="500" fill="hold"/>
                                            <p:tgtEl>
                                              <p:spTgt spid="4"/>
                                            </p:tgtEl>
                                            <p:attrNameLst>
                                              <p:attrName>ppt_y</p:attrName>
                                            </p:attrNameLst>
                                          </p:cBhvr>
                                          <p:tavLst>
                                            <p:tav tm="0">
                                              <p:val>
                                                <p:strVal val="#ppt_y"/>
                                              </p:val>
                                            </p:tav>
                                            <p:tav tm="100000">
                                              <p:val>
                                                <p:strVal val="#ppt_y"/>
                                              </p:val>
                                            </p:tav>
                                          </p:tavLst>
                                        </p:anim>
                                      </p:childTnLst>
                                    </p:cTn>
                                  </p:par>
                                  <p:par>
                                    <p:cTn id="18" presetID="10" presetClass="entr" presetSubtype="0" fill="hold" nodeType="withEffect">
                                      <p:stCondLst>
                                        <p:cond delay="60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6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2" presetClass="entr" presetSubtype="8" accel="10000" fill="hold" grpId="0" nodeType="withEffect" p14:presetBounceEnd="30000">
                                      <p:stCondLst>
                                        <p:cond delay="700"/>
                                      </p:stCondLst>
                                      <p:childTnLst>
                                        <p:set>
                                          <p:cBhvr>
                                            <p:cTn id="25" dur="1" fill="hold">
                                              <p:stCondLst>
                                                <p:cond delay="0"/>
                                              </p:stCondLst>
                                            </p:cTn>
                                            <p:tgtEl>
                                              <p:spTgt spid="8"/>
                                            </p:tgtEl>
                                            <p:attrNameLst>
                                              <p:attrName>style.visibility</p:attrName>
                                            </p:attrNameLst>
                                          </p:cBhvr>
                                          <p:to>
                                            <p:strVal val="visible"/>
                                          </p:to>
                                        </p:set>
                                        <p:anim calcmode="lin" valueType="num" p14:bounceEnd="30000">
                                          <p:cBhvr additive="base">
                                            <p:cTn id="26" dur="500" fill="hold"/>
                                            <p:tgtEl>
                                              <p:spTgt spid="8"/>
                                            </p:tgtEl>
                                            <p:attrNameLst>
                                              <p:attrName>ppt_x</p:attrName>
                                            </p:attrNameLst>
                                          </p:cBhvr>
                                          <p:tavLst>
                                            <p:tav tm="0">
                                              <p:val>
                                                <p:strVal val="0-#ppt_w/2"/>
                                              </p:val>
                                            </p:tav>
                                            <p:tav tm="100000">
                                              <p:val>
                                                <p:strVal val="#ppt_x"/>
                                              </p:val>
                                            </p:tav>
                                          </p:tavLst>
                                        </p:anim>
                                        <p:anim calcmode="lin" valueType="num" p14:bounceEnd="30000">
                                          <p:cBhvr additive="base">
                                            <p:cTn id="27" dur="500" fill="hold"/>
                                            <p:tgtEl>
                                              <p:spTgt spid="8"/>
                                            </p:tgtEl>
                                            <p:attrNameLst>
                                              <p:attrName>ppt_y</p:attrName>
                                            </p:attrNameLst>
                                          </p:cBhvr>
                                          <p:tavLst>
                                            <p:tav tm="0">
                                              <p:val>
                                                <p:strVal val="#ppt_y"/>
                                              </p:val>
                                            </p:tav>
                                            <p:tav tm="100000">
                                              <p:val>
                                                <p:strVal val="#ppt_y"/>
                                              </p:val>
                                            </p:tav>
                                          </p:tavLst>
                                        </p:anim>
                                      </p:childTnLst>
                                    </p:cTn>
                                  </p:par>
                                  <p:par>
                                    <p:cTn id="28" presetID="2" presetClass="entr" presetSubtype="8" accel="10000" fill="hold" grpId="0" nodeType="withEffect" p14:presetBounceEnd="30000">
                                      <p:stCondLst>
                                        <p:cond delay="900"/>
                                      </p:stCondLst>
                                      <p:childTnLst>
                                        <p:set>
                                          <p:cBhvr>
                                            <p:cTn id="29" dur="1" fill="hold">
                                              <p:stCondLst>
                                                <p:cond delay="0"/>
                                              </p:stCondLst>
                                            </p:cTn>
                                            <p:tgtEl>
                                              <p:spTgt spid="15"/>
                                            </p:tgtEl>
                                            <p:attrNameLst>
                                              <p:attrName>style.visibility</p:attrName>
                                            </p:attrNameLst>
                                          </p:cBhvr>
                                          <p:to>
                                            <p:strVal val="visible"/>
                                          </p:to>
                                        </p:set>
                                        <p:anim calcmode="lin" valueType="num" p14:bounceEnd="30000">
                                          <p:cBhvr additive="base">
                                            <p:cTn id="30" dur="500" fill="hold"/>
                                            <p:tgtEl>
                                              <p:spTgt spid="15"/>
                                            </p:tgtEl>
                                            <p:attrNameLst>
                                              <p:attrName>ppt_x</p:attrName>
                                            </p:attrNameLst>
                                          </p:cBhvr>
                                          <p:tavLst>
                                            <p:tav tm="0">
                                              <p:val>
                                                <p:strVal val="0-#ppt_w/2"/>
                                              </p:val>
                                            </p:tav>
                                            <p:tav tm="100000">
                                              <p:val>
                                                <p:strVal val="#ppt_x"/>
                                              </p:val>
                                            </p:tav>
                                          </p:tavLst>
                                        </p:anim>
                                        <p:anim calcmode="lin" valueType="num" p14:bounceEnd="30000">
                                          <p:cBhvr additive="base">
                                            <p:cTn id="31" dur="500" fill="hold"/>
                                            <p:tgtEl>
                                              <p:spTgt spid="15"/>
                                            </p:tgtEl>
                                            <p:attrNameLst>
                                              <p:attrName>ppt_y</p:attrName>
                                            </p:attrNameLst>
                                          </p:cBhvr>
                                          <p:tavLst>
                                            <p:tav tm="0">
                                              <p:val>
                                                <p:strVal val="#ppt_y"/>
                                              </p:val>
                                            </p:tav>
                                            <p:tav tm="100000">
                                              <p:val>
                                                <p:strVal val="#ppt_y"/>
                                              </p:val>
                                            </p:tav>
                                          </p:tavLst>
                                        </p:anim>
                                      </p:childTnLst>
                                    </p:cTn>
                                  </p:par>
                                  <p:par>
                                    <p:cTn id="32" presetID="2" presetClass="entr" presetSubtype="8" accel="10000" fill="hold" grpId="0" nodeType="withEffect" p14:presetBounceEnd="30000">
                                      <p:stCondLst>
                                        <p:cond delay="1100"/>
                                      </p:stCondLst>
                                      <p:childTnLst>
                                        <p:set>
                                          <p:cBhvr>
                                            <p:cTn id="33" dur="1" fill="hold">
                                              <p:stCondLst>
                                                <p:cond delay="0"/>
                                              </p:stCondLst>
                                            </p:cTn>
                                            <p:tgtEl>
                                              <p:spTgt spid="16"/>
                                            </p:tgtEl>
                                            <p:attrNameLst>
                                              <p:attrName>style.visibility</p:attrName>
                                            </p:attrNameLst>
                                          </p:cBhvr>
                                          <p:to>
                                            <p:strVal val="visible"/>
                                          </p:to>
                                        </p:set>
                                        <p:anim calcmode="lin" valueType="num" p14:bounceEnd="30000">
                                          <p:cBhvr additive="base">
                                            <p:cTn id="34" dur="500" fill="hold"/>
                                            <p:tgtEl>
                                              <p:spTgt spid="16"/>
                                            </p:tgtEl>
                                            <p:attrNameLst>
                                              <p:attrName>ppt_x</p:attrName>
                                            </p:attrNameLst>
                                          </p:cBhvr>
                                          <p:tavLst>
                                            <p:tav tm="0">
                                              <p:val>
                                                <p:strVal val="0-#ppt_w/2"/>
                                              </p:val>
                                            </p:tav>
                                            <p:tav tm="100000">
                                              <p:val>
                                                <p:strVal val="#ppt_x"/>
                                              </p:val>
                                            </p:tav>
                                          </p:tavLst>
                                        </p:anim>
                                        <p:anim calcmode="lin" valueType="num" p14:bounceEnd="30000">
                                          <p:cBhvr additive="base">
                                            <p:cTn id="35" dur="500" fill="hold"/>
                                            <p:tgtEl>
                                              <p:spTgt spid="16"/>
                                            </p:tgtEl>
                                            <p:attrNameLst>
                                              <p:attrName>ppt_y</p:attrName>
                                            </p:attrNameLst>
                                          </p:cBhvr>
                                          <p:tavLst>
                                            <p:tav tm="0">
                                              <p:val>
                                                <p:strVal val="#ppt_y"/>
                                              </p:val>
                                            </p:tav>
                                            <p:tav tm="100000">
                                              <p:val>
                                                <p:strVal val="#ppt_y"/>
                                              </p:val>
                                            </p:tav>
                                          </p:tavLst>
                                        </p:anim>
                                      </p:childTnLst>
                                    </p:cTn>
                                  </p:par>
                                  <p:par>
                                    <p:cTn id="36" presetID="2" presetClass="entr" presetSubtype="8" accel="10000" fill="hold" grpId="0" nodeType="withEffect" p14:presetBounceEnd="30000">
                                      <p:stCondLst>
                                        <p:cond delay="1300"/>
                                      </p:stCondLst>
                                      <p:childTnLst>
                                        <p:set>
                                          <p:cBhvr>
                                            <p:cTn id="37" dur="1" fill="hold">
                                              <p:stCondLst>
                                                <p:cond delay="0"/>
                                              </p:stCondLst>
                                            </p:cTn>
                                            <p:tgtEl>
                                              <p:spTgt spid="17"/>
                                            </p:tgtEl>
                                            <p:attrNameLst>
                                              <p:attrName>style.visibility</p:attrName>
                                            </p:attrNameLst>
                                          </p:cBhvr>
                                          <p:to>
                                            <p:strVal val="visible"/>
                                          </p:to>
                                        </p:set>
                                        <p:anim calcmode="lin" valueType="num" p14:bounceEnd="30000">
                                          <p:cBhvr additive="base">
                                            <p:cTn id="38" dur="500" fill="hold"/>
                                            <p:tgtEl>
                                              <p:spTgt spid="17"/>
                                            </p:tgtEl>
                                            <p:attrNameLst>
                                              <p:attrName>ppt_x</p:attrName>
                                            </p:attrNameLst>
                                          </p:cBhvr>
                                          <p:tavLst>
                                            <p:tav tm="0">
                                              <p:val>
                                                <p:strVal val="0-#ppt_w/2"/>
                                              </p:val>
                                            </p:tav>
                                            <p:tav tm="100000">
                                              <p:val>
                                                <p:strVal val="#ppt_x"/>
                                              </p:val>
                                            </p:tav>
                                          </p:tavLst>
                                        </p:anim>
                                        <p:anim calcmode="lin" valueType="num" p14:bounceEnd="30000">
                                          <p:cBhvr additive="base">
                                            <p:cTn id="39"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path" presetSubtype="0" accel="50000" decel="50000" fill="hold" grpId="1" nodeType="clickEffect">
                                      <p:stCondLst>
                                        <p:cond delay="0"/>
                                      </p:stCondLst>
                                      <p:childTnLst>
                                        <p:animMotion origin="layout" path="M -2.5E-6 3.33333E-6 L -2.5E-6 0.14884 " pathEditMode="relative" rAng="0" ptsTypes="AA">
                                          <p:cBhvr>
                                            <p:cTn id="48" dur="2000" fill="hold"/>
                                            <p:tgtEl>
                                              <p:spTgt spid="24"/>
                                            </p:tgtEl>
                                            <p:attrNameLst>
                                              <p:attrName>ppt_x</p:attrName>
                                              <p:attrName>ppt_y</p:attrName>
                                            </p:attrNameLst>
                                          </p:cBhvr>
                                          <p:rCtr x="0" y="7431"/>
                                        </p:animMotion>
                                      </p:childTnLst>
                                    </p:cTn>
                                  </p:par>
                                </p:childTnLst>
                              </p:cTn>
                            </p:par>
                          </p:childTnLst>
                        </p:cTn>
                      </p:par>
                      <p:par>
                        <p:cTn id="49" fill="hold">
                          <p:stCondLst>
                            <p:cond delay="indefinite"/>
                          </p:stCondLst>
                          <p:childTnLst>
                            <p:par>
                              <p:cTn id="50" fill="hold">
                                <p:stCondLst>
                                  <p:cond delay="0"/>
                                </p:stCondLst>
                                <p:childTnLst>
                                  <p:par>
                                    <p:cTn id="51" presetID="42" presetClass="path" presetSubtype="0" accel="50000" decel="50000" fill="hold" grpId="2" nodeType="clickEffect">
                                      <p:stCondLst>
                                        <p:cond delay="0"/>
                                      </p:stCondLst>
                                      <p:childTnLst>
                                        <p:animMotion origin="layout" path="M -2.5E-6 0.14884 L -2.5E-6 -0.36783 " pathEditMode="relative" rAng="0" ptsTypes="AA">
                                          <p:cBhvr>
                                            <p:cTn id="52" dur="2000" fill="hold"/>
                                            <p:tgtEl>
                                              <p:spTgt spid="24"/>
                                            </p:tgtEl>
                                            <p:attrNameLst>
                                              <p:attrName>ppt_x</p:attrName>
                                              <p:attrName>ppt_y</p:attrName>
                                            </p:attrNameLst>
                                          </p:cBhvr>
                                          <p:rCtr x="0" y="-25833"/>
                                        </p:animMotion>
                                      </p:childTnLst>
                                    </p:cTn>
                                  </p:par>
                                </p:childTnLst>
                              </p:cTn>
                            </p:par>
                          </p:childTnLst>
                        </p:cTn>
                      </p:par>
                      <p:par>
                        <p:cTn id="53" fill="hold">
                          <p:stCondLst>
                            <p:cond delay="indefinite"/>
                          </p:stCondLst>
                          <p:childTnLst>
                            <p:par>
                              <p:cTn id="54" fill="hold">
                                <p:stCondLst>
                                  <p:cond delay="0"/>
                                </p:stCondLst>
                                <p:childTnLst>
                                  <p:par>
                                    <p:cTn id="55" presetID="42" presetClass="path" presetSubtype="0" accel="50000" decel="50000" fill="hold" grpId="3" nodeType="clickEffect">
                                      <p:stCondLst>
                                        <p:cond delay="0"/>
                                      </p:stCondLst>
                                      <p:childTnLst>
                                        <p:animMotion origin="layout" path="M -2.5E-6 -0.36783 L -2.5E-6 0.28912 " pathEditMode="relative" rAng="0" ptsTypes="AA">
                                          <p:cBhvr>
                                            <p:cTn id="56" dur="2000" fill="hold"/>
                                            <p:tgtEl>
                                              <p:spTgt spid="24"/>
                                            </p:tgtEl>
                                            <p:attrNameLst>
                                              <p:attrName>ppt_x</p:attrName>
                                              <p:attrName>ppt_y</p:attrName>
                                            </p:attrNameLst>
                                          </p:cBhvr>
                                          <p:rCtr x="0" y="32847"/>
                                        </p:animMotion>
                                      </p:childTnLst>
                                    </p:cTn>
                                  </p:par>
                                </p:childTnLst>
                              </p:cTn>
                            </p:par>
                          </p:childTnLst>
                        </p:cTn>
                      </p:par>
                      <p:par>
                        <p:cTn id="57" fill="hold">
                          <p:stCondLst>
                            <p:cond delay="indefinite"/>
                          </p:stCondLst>
                          <p:childTnLst>
                            <p:par>
                              <p:cTn id="58" fill="hold">
                                <p:stCondLst>
                                  <p:cond delay="0"/>
                                </p:stCondLst>
                                <p:childTnLst>
                                  <p:par>
                                    <p:cTn id="59" presetID="42" presetClass="path" presetSubtype="0" accel="50000" decel="50000" fill="hold" grpId="4" nodeType="clickEffect">
                                      <p:stCondLst>
                                        <p:cond delay="0"/>
                                      </p:stCondLst>
                                      <p:childTnLst>
                                        <p:animMotion origin="layout" path="M -2.5E-6 0.28912 L -2.5E-6 0.21227 " pathEditMode="relative" rAng="0" ptsTypes="AA">
                                          <p:cBhvr>
                                            <p:cTn id="60" dur="2000" fill="hold"/>
                                            <p:tgtEl>
                                              <p:spTgt spid="24"/>
                                            </p:tgtEl>
                                            <p:attrNameLst>
                                              <p:attrName>ppt_x</p:attrName>
                                              <p:attrName>ppt_y</p:attrName>
                                            </p:attrNameLst>
                                          </p:cBhvr>
                                          <p:rCtr x="0" y="-384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15" grpId="0"/>
          <p:bldP spid="16" grpId="0"/>
          <p:bldP spid="17" grpId="0"/>
          <p:bldP spid="24" grpId="0" animBg="1"/>
          <p:bldP spid="24" grpId="1" animBg="1"/>
          <p:bldP spid="24" grpId="2" animBg="1"/>
          <p:bldP spid="24" grpId="3" animBg="1"/>
          <p:bldP spid="24" grpId="4"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par>
                                    <p:cTn id="10" presetID="2" presetClass="entr" presetSubtype="8" accel="10000" fill="hold" nodeType="withEffect">
                                      <p:stCondLst>
                                        <p:cond delay="200"/>
                                      </p:stCondLst>
                                      <p:childTnLst>
                                        <p:set>
                                          <p:cBhvr>
                                            <p:cTn id="11" dur="1" fill="hold">
                                              <p:stCondLst>
                                                <p:cond delay="0"/>
                                              </p:stCondLst>
                                            </p:cTn>
                                            <p:tgtEl>
                                              <p:spTgt spid="49"/>
                                            </p:tgtEl>
                                            <p:attrNameLst>
                                              <p:attrName>style.visibility</p:attrName>
                                            </p:attrNameLst>
                                          </p:cBhvr>
                                          <p:to>
                                            <p:strVal val="visible"/>
                                          </p:to>
                                        </p:set>
                                        <p:anim calcmode="lin" valueType="num">
                                          <p:cBhvr additive="base">
                                            <p:cTn id="12" dur="500" fill="hold"/>
                                            <p:tgtEl>
                                              <p:spTgt spid="49"/>
                                            </p:tgtEl>
                                            <p:attrNameLst>
                                              <p:attrName>ppt_x</p:attrName>
                                            </p:attrNameLst>
                                          </p:cBhvr>
                                          <p:tavLst>
                                            <p:tav tm="0">
                                              <p:val>
                                                <p:strVal val="0-#ppt_w/2"/>
                                              </p:val>
                                            </p:tav>
                                            <p:tav tm="100000">
                                              <p:val>
                                                <p:strVal val="#ppt_x"/>
                                              </p:val>
                                            </p:tav>
                                          </p:tavLst>
                                        </p:anim>
                                        <p:anim calcmode="lin" valueType="num">
                                          <p:cBhvr additive="base">
                                            <p:cTn id="13" dur="500" fill="hold"/>
                                            <p:tgtEl>
                                              <p:spTgt spid="49"/>
                                            </p:tgtEl>
                                            <p:attrNameLst>
                                              <p:attrName>ppt_y</p:attrName>
                                            </p:attrNameLst>
                                          </p:cBhvr>
                                          <p:tavLst>
                                            <p:tav tm="0">
                                              <p:val>
                                                <p:strVal val="#ppt_y"/>
                                              </p:val>
                                            </p:tav>
                                            <p:tav tm="100000">
                                              <p:val>
                                                <p:strVal val="#ppt_y"/>
                                              </p:val>
                                            </p:tav>
                                          </p:tavLst>
                                        </p:anim>
                                      </p:childTnLst>
                                    </p:cTn>
                                  </p:par>
                                  <p:par>
                                    <p:cTn id="14" presetID="2" presetClass="entr" presetSubtype="2" accel="10000" fill="hold" grpId="0" nodeType="withEffect">
                                      <p:stCondLst>
                                        <p:cond delay="20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500" fill="hold"/>
                                            <p:tgtEl>
                                              <p:spTgt spid="4"/>
                                            </p:tgtEl>
                                            <p:attrNameLst>
                                              <p:attrName>ppt_x</p:attrName>
                                            </p:attrNameLst>
                                          </p:cBhvr>
                                          <p:tavLst>
                                            <p:tav tm="0">
                                              <p:val>
                                                <p:strVal val="1+#ppt_w/2"/>
                                              </p:val>
                                            </p:tav>
                                            <p:tav tm="100000">
                                              <p:val>
                                                <p:strVal val="#ppt_x"/>
                                              </p:val>
                                            </p:tav>
                                          </p:tavLst>
                                        </p:anim>
                                        <p:anim calcmode="lin" valueType="num">
                                          <p:cBhvr additive="base">
                                            <p:cTn id="17" dur="500" fill="hold"/>
                                            <p:tgtEl>
                                              <p:spTgt spid="4"/>
                                            </p:tgtEl>
                                            <p:attrNameLst>
                                              <p:attrName>ppt_y</p:attrName>
                                            </p:attrNameLst>
                                          </p:cBhvr>
                                          <p:tavLst>
                                            <p:tav tm="0">
                                              <p:val>
                                                <p:strVal val="#ppt_y"/>
                                              </p:val>
                                            </p:tav>
                                            <p:tav tm="100000">
                                              <p:val>
                                                <p:strVal val="#ppt_y"/>
                                              </p:val>
                                            </p:tav>
                                          </p:tavLst>
                                        </p:anim>
                                      </p:childTnLst>
                                    </p:cTn>
                                  </p:par>
                                  <p:par>
                                    <p:cTn id="18" presetID="10" presetClass="entr" presetSubtype="0" fill="hold" nodeType="withEffect">
                                      <p:stCondLst>
                                        <p:cond delay="60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6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2" presetClass="entr" presetSubtype="8" accel="10000" fill="hold" grpId="0" nodeType="withEffect">
                                      <p:stCondLst>
                                        <p:cond delay="70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0-#ppt_w/2"/>
                                              </p:val>
                                            </p:tav>
                                            <p:tav tm="100000">
                                              <p:val>
                                                <p:strVal val="#ppt_x"/>
                                              </p:val>
                                            </p:tav>
                                          </p:tavLst>
                                        </p:anim>
                                        <p:anim calcmode="lin" valueType="num">
                                          <p:cBhvr additive="base">
                                            <p:cTn id="27" dur="500" fill="hold"/>
                                            <p:tgtEl>
                                              <p:spTgt spid="8"/>
                                            </p:tgtEl>
                                            <p:attrNameLst>
                                              <p:attrName>ppt_y</p:attrName>
                                            </p:attrNameLst>
                                          </p:cBhvr>
                                          <p:tavLst>
                                            <p:tav tm="0">
                                              <p:val>
                                                <p:strVal val="#ppt_y"/>
                                              </p:val>
                                            </p:tav>
                                            <p:tav tm="100000">
                                              <p:val>
                                                <p:strVal val="#ppt_y"/>
                                              </p:val>
                                            </p:tav>
                                          </p:tavLst>
                                        </p:anim>
                                      </p:childTnLst>
                                    </p:cTn>
                                  </p:par>
                                  <p:par>
                                    <p:cTn id="28" presetID="2" presetClass="entr" presetSubtype="8" accel="10000" fill="hold" grpId="0" nodeType="withEffect">
                                      <p:stCondLst>
                                        <p:cond delay="900"/>
                                      </p:stCondLst>
                                      <p:childTnLst>
                                        <p:set>
                                          <p:cBhvr>
                                            <p:cTn id="29" dur="1" fill="hold">
                                              <p:stCondLst>
                                                <p:cond delay="0"/>
                                              </p:stCondLst>
                                            </p:cTn>
                                            <p:tgtEl>
                                              <p:spTgt spid="15"/>
                                            </p:tgtEl>
                                            <p:attrNameLst>
                                              <p:attrName>style.visibility</p:attrName>
                                            </p:attrNameLst>
                                          </p:cBhvr>
                                          <p:to>
                                            <p:strVal val="visible"/>
                                          </p:to>
                                        </p:set>
                                        <p:anim calcmode="lin" valueType="num">
                                          <p:cBhvr additive="base">
                                            <p:cTn id="30" dur="500" fill="hold"/>
                                            <p:tgtEl>
                                              <p:spTgt spid="15"/>
                                            </p:tgtEl>
                                            <p:attrNameLst>
                                              <p:attrName>ppt_x</p:attrName>
                                            </p:attrNameLst>
                                          </p:cBhvr>
                                          <p:tavLst>
                                            <p:tav tm="0">
                                              <p:val>
                                                <p:strVal val="0-#ppt_w/2"/>
                                              </p:val>
                                            </p:tav>
                                            <p:tav tm="100000">
                                              <p:val>
                                                <p:strVal val="#ppt_x"/>
                                              </p:val>
                                            </p:tav>
                                          </p:tavLst>
                                        </p:anim>
                                        <p:anim calcmode="lin" valueType="num">
                                          <p:cBhvr additive="base">
                                            <p:cTn id="31" dur="500" fill="hold"/>
                                            <p:tgtEl>
                                              <p:spTgt spid="15"/>
                                            </p:tgtEl>
                                            <p:attrNameLst>
                                              <p:attrName>ppt_y</p:attrName>
                                            </p:attrNameLst>
                                          </p:cBhvr>
                                          <p:tavLst>
                                            <p:tav tm="0">
                                              <p:val>
                                                <p:strVal val="#ppt_y"/>
                                              </p:val>
                                            </p:tav>
                                            <p:tav tm="100000">
                                              <p:val>
                                                <p:strVal val="#ppt_y"/>
                                              </p:val>
                                            </p:tav>
                                          </p:tavLst>
                                        </p:anim>
                                      </p:childTnLst>
                                    </p:cTn>
                                  </p:par>
                                  <p:par>
                                    <p:cTn id="32" presetID="2" presetClass="entr" presetSubtype="8" accel="10000" fill="hold" grpId="0" nodeType="withEffect">
                                      <p:stCondLst>
                                        <p:cond delay="1100"/>
                                      </p:stCondLst>
                                      <p:childTnLst>
                                        <p:set>
                                          <p:cBhvr>
                                            <p:cTn id="33" dur="1" fill="hold">
                                              <p:stCondLst>
                                                <p:cond delay="0"/>
                                              </p:stCondLst>
                                            </p:cTn>
                                            <p:tgtEl>
                                              <p:spTgt spid="16"/>
                                            </p:tgtEl>
                                            <p:attrNameLst>
                                              <p:attrName>style.visibility</p:attrName>
                                            </p:attrNameLst>
                                          </p:cBhvr>
                                          <p:to>
                                            <p:strVal val="visible"/>
                                          </p:to>
                                        </p:set>
                                        <p:anim calcmode="lin" valueType="num">
                                          <p:cBhvr additive="base">
                                            <p:cTn id="34" dur="500" fill="hold"/>
                                            <p:tgtEl>
                                              <p:spTgt spid="16"/>
                                            </p:tgtEl>
                                            <p:attrNameLst>
                                              <p:attrName>ppt_x</p:attrName>
                                            </p:attrNameLst>
                                          </p:cBhvr>
                                          <p:tavLst>
                                            <p:tav tm="0">
                                              <p:val>
                                                <p:strVal val="0-#ppt_w/2"/>
                                              </p:val>
                                            </p:tav>
                                            <p:tav tm="100000">
                                              <p:val>
                                                <p:strVal val="#ppt_x"/>
                                              </p:val>
                                            </p:tav>
                                          </p:tavLst>
                                        </p:anim>
                                        <p:anim calcmode="lin" valueType="num">
                                          <p:cBhvr additive="base">
                                            <p:cTn id="35" dur="500" fill="hold"/>
                                            <p:tgtEl>
                                              <p:spTgt spid="16"/>
                                            </p:tgtEl>
                                            <p:attrNameLst>
                                              <p:attrName>ppt_y</p:attrName>
                                            </p:attrNameLst>
                                          </p:cBhvr>
                                          <p:tavLst>
                                            <p:tav tm="0">
                                              <p:val>
                                                <p:strVal val="#ppt_y"/>
                                              </p:val>
                                            </p:tav>
                                            <p:tav tm="100000">
                                              <p:val>
                                                <p:strVal val="#ppt_y"/>
                                              </p:val>
                                            </p:tav>
                                          </p:tavLst>
                                        </p:anim>
                                      </p:childTnLst>
                                    </p:cTn>
                                  </p:par>
                                  <p:par>
                                    <p:cTn id="36" presetID="2" presetClass="entr" presetSubtype="8" accel="10000" fill="hold" grpId="0" nodeType="withEffect">
                                      <p:stCondLst>
                                        <p:cond delay="1300"/>
                                      </p:stCondLst>
                                      <p:childTnLst>
                                        <p:set>
                                          <p:cBhvr>
                                            <p:cTn id="37" dur="1" fill="hold">
                                              <p:stCondLst>
                                                <p:cond delay="0"/>
                                              </p:stCondLst>
                                            </p:cTn>
                                            <p:tgtEl>
                                              <p:spTgt spid="17"/>
                                            </p:tgtEl>
                                            <p:attrNameLst>
                                              <p:attrName>style.visibility</p:attrName>
                                            </p:attrNameLst>
                                          </p:cBhvr>
                                          <p:to>
                                            <p:strVal val="visible"/>
                                          </p:to>
                                        </p:set>
                                        <p:anim calcmode="lin" valueType="num">
                                          <p:cBhvr additive="base">
                                            <p:cTn id="38" dur="500" fill="hold"/>
                                            <p:tgtEl>
                                              <p:spTgt spid="17"/>
                                            </p:tgtEl>
                                            <p:attrNameLst>
                                              <p:attrName>ppt_x</p:attrName>
                                            </p:attrNameLst>
                                          </p:cBhvr>
                                          <p:tavLst>
                                            <p:tav tm="0">
                                              <p:val>
                                                <p:strVal val="0-#ppt_w/2"/>
                                              </p:val>
                                            </p:tav>
                                            <p:tav tm="100000">
                                              <p:val>
                                                <p:strVal val="#ppt_x"/>
                                              </p:val>
                                            </p:tav>
                                          </p:tavLst>
                                        </p:anim>
                                        <p:anim calcmode="lin" valueType="num">
                                          <p:cBhvr additive="base">
                                            <p:cTn id="39"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path" presetSubtype="0" accel="50000" decel="50000" fill="hold" grpId="1" nodeType="clickEffect">
                                      <p:stCondLst>
                                        <p:cond delay="0"/>
                                      </p:stCondLst>
                                      <p:childTnLst>
                                        <p:animMotion origin="layout" path="M -2.5E-6 3.33333E-6 L -2.5E-6 0.14884 " pathEditMode="relative" rAng="0" ptsTypes="AA">
                                          <p:cBhvr>
                                            <p:cTn id="48" dur="2000" fill="hold"/>
                                            <p:tgtEl>
                                              <p:spTgt spid="24"/>
                                            </p:tgtEl>
                                            <p:attrNameLst>
                                              <p:attrName>ppt_x</p:attrName>
                                              <p:attrName>ppt_y</p:attrName>
                                            </p:attrNameLst>
                                          </p:cBhvr>
                                          <p:rCtr x="0" y="7431"/>
                                        </p:animMotion>
                                      </p:childTnLst>
                                    </p:cTn>
                                  </p:par>
                                </p:childTnLst>
                              </p:cTn>
                            </p:par>
                          </p:childTnLst>
                        </p:cTn>
                      </p:par>
                      <p:par>
                        <p:cTn id="49" fill="hold">
                          <p:stCondLst>
                            <p:cond delay="indefinite"/>
                          </p:stCondLst>
                          <p:childTnLst>
                            <p:par>
                              <p:cTn id="50" fill="hold">
                                <p:stCondLst>
                                  <p:cond delay="0"/>
                                </p:stCondLst>
                                <p:childTnLst>
                                  <p:par>
                                    <p:cTn id="51" presetID="42" presetClass="path" presetSubtype="0" accel="50000" decel="50000" fill="hold" grpId="2" nodeType="clickEffect">
                                      <p:stCondLst>
                                        <p:cond delay="0"/>
                                      </p:stCondLst>
                                      <p:childTnLst>
                                        <p:animMotion origin="layout" path="M -2.5E-6 0.14884 L -2.5E-6 -0.36783 " pathEditMode="relative" rAng="0" ptsTypes="AA">
                                          <p:cBhvr>
                                            <p:cTn id="52" dur="2000" fill="hold"/>
                                            <p:tgtEl>
                                              <p:spTgt spid="24"/>
                                            </p:tgtEl>
                                            <p:attrNameLst>
                                              <p:attrName>ppt_x</p:attrName>
                                              <p:attrName>ppt_y</p:attrName>
                                            </p:attrNameLst>
                                          </p:cBhvr>
                                          <p:rCtr x="0" y="-25833"/>
                                        </p:animMotion>
                                      </p:childTnLst>
                                    </p:cTn>
                                  </p:par>
                                </p:childTnLst>
                              </p:cTn>
                            </p:par>
                          </p:childTnLst>
                        </p:cTn>
                      </p:par>
                      <p:par>
                        <p:cTn id="53" fill="hold">
                          <p:stCondLst>
                            <p:cond delay="indefinite"/>
                          </p:stCondLst>
                          <p:childTnLst>
                            <p:par>
                              <p:cTn id="54" fill="hold">
                                <p:stCondLst>
                                  <p:cond delay="0"/>
                                </p:stCondLst>
                                <p:childTnLst>
                                  <p:par>
                                    <p:cTn id="55" presetID="42" presetClass="path" presetSubtype="0" accel="50000" decel="50000" fill="hold" grpId="3" nodeType="clickEffect">
                                      <p:stCondLst>
                                        <p:cond delay="0"/>
                                      </p:stCondLst>
                                      <p:childTnLst>
                                        <p:animMotion origin="layout" path="M -2.5E-6 -0.36783 L -2.5E-6 0.28912 " pathEditMode="relative" rAng="0" ptsTypes="AA">
                                          <p:cBhvr>
                                            <p:cTn id="56" dur="2000" fill="hold"/>
                                            <p:tgtEl>
                                              <p:spTgt spid="24"/>
                                            </p:tgtEl>
                                            <p:attrNameLst>
                                              <p:attrName>ppt_x</p:attrName>
                                              <p:attrName>ppt_y</p:attrName>
                                            </p:attrNameLst>
                                          </p:cBhvr>
                                          <p:rCtr x="0" y="32847"/>
                                        </p:animMotion>
                                      </p:childTnLst>
                                    </p:cTn>
                                  </p:par>
                                </p:childTnLst>
                              </p:cTn>
                            </p:par>
                          </p:childTnLst>
                        </p:cTn>
                      </p:par>
                      <p:par>
                        <p:cTn id="57" fill="hold">
                          <p:stCondLst>
                            <p:cond delay="indefinite"/>
                          </p:stCondLst>
                          <p:childTnLst>
                            <p:par>
                              <p:cTn id="58" fill="hold">
                                <p:stCondLst>
                                  <p:cond delay="0"/>
                                </p:stCondLst>
                                <p:childTnLst>
                                  <p:par>
                                    <p:cTn id="59" presetID="42" presetClass="path" presetSubtype="0" accel="50000" decel="50000" fill="hold" grpId="4" nodeType="clickEffect">
                                      <p:stCondLst>
                                        <p:cond delay="0"/>
                                      </p:stCondLst>
                                      <p:childTnLst>
                                        <p:animMotion origin="layout" path="M -2.5E-6 0.28912 L -2.5E-6 0.21227 " pathEditMode="relative" rAng="0" ptsTypes="AA">
                                          <p:cBhvr>
                                            <p:cTn id="60" dur="2000" fill="hold"/>
                                            <p:tgtEl>
                                              <p:spTgt spid="24"/>
                                            </p:tgtEl>
                                            <p:attrNameLst>
                                              <p:attrName>ppt_x</p:attrName>
                                              <p:attrName>ppt_y</p:attrName>
                                            </p:attrNameLst>
                                          </p:cBhvr>
                                          <p:rCtr x="0" y="-384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15" grpId="0"/>
          <p:bldP spid="16" grpId="0"/>
          <p:bldP spid="17" grpId="0"/>
          <p:bldP spid="24" grpId="0" animBg="1"/>
          <p:bldP spid="24" grpId="1" animBg="1"/>
          <p:bldP spid="24" grpId="2" animBg="1"/>
          <p:bldP spid="24" grpId="3" animBg="1"/>
          <p:bldP spid="24" grpId="4" animBg="1"/>
        </p:bldLst>
      </p:timing>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图片 20">
            <a:extLst>
              <a:ext uri="{FF2B5EF4-FFF2-40B4-BE49-F238E27FC236}">
                <a16:creationId xmlns:a16="http://schemas.microsoft.com/office/drawing/2014/main" id="{63717E2D-32A6-4C93-B650-3987C0F0675B}"/>
              </a:ext>
            </a:extLst>
          </p:cNvPr>
          <p:cNvPicPr/>
          <p:nvPr/>
        </p:nvPicPr>
        <p:blipFill>
          <a:blip r:embed="rId3"/>
          <a:stretch>
            <a:fillRect/>
          </a:stretch>
        </p:blipFill>
        <p:spPr>
          <a:xfrm>
            <a:off x="4885765" y="1851077"/>
            <a:ext cx="6958599" cy="4131270"/>
          </a:xfrm>
          <a:prstGeom prst="rect">
            <a:avLst/>
          </a:prstGeom>
        </p:spPr>
      </p:pic>
      <p:sp>
        <p:nvSpPr>
          <p:cNvPr id="4" name="矩形 3">
            <a:extLst>
              <a:ext uri="{FF2B5EF4-FFF2-40B4-BE49-F238E27FC236}">
                <a16:creationId xmlns:a16="http://schemas.microsoft.com/office/drawing/2014/main" id="{D2C18B39-24F4-4BD4-8B46-257F4E87DC5D}"/>
              </a:ext>
            </a:extLst>
          </p:cNvPr>
          <p:cNvSpPr/>
          <p:nvPr/>
        </p:nvSpPr>
        <p:spPr>
          <a:xfrm>
            <a:off x="378118" y="1666461"/>
            <a:ext cx="3820502" cy="994247"/>
          </a:xfrm>
          <a:prstGeom prst="rect">
            <a:avLst/>
          </a:prstGeom>
        </p:spPr>
        <p:txBody>
          <a:bodyPr wrap="square">
            <a:spAutoFit/>
          </a:bodyPr>
          <a:lstStyle/>
          <a:p>
            <a:pPr>
              <a:lnSpc>
                <a:spcPts val="1800"/>
              </a:lnSpc>
            </a:pPr>
            <a:r>
              <a:rPr lang="zh-CN" altLang="en-US" sz="1200" dirty="0"/>
              <a:t>在表</a:t>
            </a:r>
            <a:r>
              <a:rPr lang="en-US" altLang="zh-CN" sz="1200" dirty="0"/>
              <a:t>5</a:t>
            </a:r>
            <a:r>
              <a:rPr lang="zh-CN" altLang="en-US" sz="1200" dirty="0"/>
              <a:t>中，我们报告了针对观察者模式的每个变体和软件系统所取得的结果。此外，根据适配器模式使用的验证方法获得精度值。使用</a:t>
            </a:r>
            <a:r>
              <a:rPr lang="en-US" altLang="zh-CN" sz="1200" dirty="0"/>
              <a:t>JHD 5.1</a:t>
            </a:r>
            <a:r>
              <a:rPr lang="zh-CN" altLang="en-US" sz="1200" dirty="0"/>
              <a:t>、</a:t>
            </a:r>
            <a:r>
              <a:rPr lang="en-US" altLang="zh-CN" sz="1200" dirty="0" err="1"/>
              <a:t>QuickUML</a:t>
            </a:r>
            <a:r>
              <a:rPr lang="zh-CN" altLang="en-US" sz="1200" dirty="0"/>
              <a:t>和</a:t>
            </a:r>
            <a:r>
              <a:rPr lang="en-US" altLang="zh-CN" sz="1200" dirty="0"/>
              <a:t>Lexi</a:t>
            </a:r>
            <a:r>
              <a:rPr lang="zh-CN" altLang="en-US" sz="1200" dirty="0"/>
              <a:t>可以获得最佳的精度值。</a:t>
            </a:r>
          </a:p>
        </p:txBody>
      </p:sp>
      <p:sp>
        <p:nvSpPr>
          <p:cNvPr id="8" name="矩形 7">
            <a:extLst>
              <a:ext uri="{FF2B5EF4-FFF2-40B4-BE49-F238E27FC236}">
                <a16:creationId xmlns:a16="http://schemas.microsoft.com/office/drawing/2014/main" id="{8E8059EB-B003-446E-8DD2-B647691737B3}"/>
              </a:ext>
            </a:extLst>
          </p:cNvPr>
          <p:cNvSpPr/>
          <p:nvPr/>
        </p:nvSpPr>
        <p:spPr>
          <a:xfrm>
            <a:off x="750472" y="3041787"/>
            <a:ext cx="3624054" cy="276999"/>
          </a:xfrm>
          <a:prstGeom prst="rect">
            <a:avLst/>
          </a:prstGeom>
        </p:spPr>
        <p:txBody>
          <a:bodyPr wrap="square">
            <a:spAutoFit/>
          </a:bodyPr>
          <a:lstStyle/>
          <a:p>
            <a:r>
              <a:rPr lang="en-US" altLang="zh-CN" sz="1200" dirty="0"/>
              <a:t>- </a:t>
            </a:r>
            <a:r>
              <a:rPr lang="zh-CN" altLang="en-US" sz="1200" dirty="0"/>
              <a:t>最常用的实现是行为变体</a:t>
            </a:r>
            <a:r>
              <a:rPr lang="en-US" altLang="zh-CN" sz="1200" dirty="0"/>
              <a:t>B4</a:t>
            </a:r>
            <a:endParaRPr lang="zh-CN" altLang="en-US" sz="1200" dirty="0"/>
          </a:p>
        </p:txBody>
      </p:sp>
      <p:sp>
        <p:nvSpPr>
          <p:cNvPr id="15" name="矩形 14">
            <a:extLst>
              <a:ext uri="{FF2B5EF4-FFF2-40B4-BE49-F238E27FC236}">
                <a16:creationId xmlns:a16="http://schemas.microsoft.com/office/drawing/2014/main" id="{394B0FE1-8E31-4127-B5B4-B6BC3583FBF9}"/>
              </a:ext>
            </a:extLst>
          </p:cNvPr>
          <p:cNvSpPr/>
          <p:nvPr/>
        </p:nvSpPr>
        <p:spPr>
          <a:xfrm>
            <a:off x="758092" y="3907489"/>
            <a:ext cx="3440528" cy="276999"/>
          </a:xfrm>
          <a:prstGeom prst="rect">
            <a:avLst/>
          </a:prstGeom>
        </p:spPr>
        <p:txBody>
          <a:bodyPr wrap="square">
            <a:spAutoFit/>
          </a:bodyPr>
          <a:lstStyle/>
          <a:p>
            <a:r>
              <a:rPr lang="en-US" altLang="zh-CN" sz="1200" dirty="0"/>
              <a:t>- </a:t>
            </a:r>
            <a:r>
              <a:rPr lang="zh-CN" altLang="en-US" sz="1200" dirty="0"/>
              <a:t>变体</a:t>
            </a:r>
            <a:r>
              <a:rPr lang="en-US" altLang="zh-CN" sz="1200" dirty="0"/>
              <a:t>B4</a:t>
            </a:r>
            <a:r>
              <a:rPr lang="zh-CN" altLang="en-US" sz="1200" dirty="0"/>
              <a:t>的实例也具有最佳精度值</a:t>
            </a:r>
          </a:p>
        </p:txBody>
      </p:sp>
      <p:sp>
        <p:nvSpPr>
          <p:cNvPr id="16" name="矩形 15">
            <a:extLst>
              <a:ext uri="{FF2B5EF4-FFF2-40B4-BE49-F238E27FC236}">
                <a16:creationId xmlns:a16="http://schemas.microsoft.com/office/drawing/2014/main" id="{A3697521-079A-4232-B5B8-5565BC50958C}"/>
              </a:ext>
            </a:extLst>
          </p:cNvPr>
          <p:cNvSpPr/>
          <p:nvPr/>
        </p:nvSpPr>
        <p:spPr>
          <a:xfrm>
            <a:off x="765712" y="4857515"/>
            <a:ext cx="3498199" cy="276999"/>
          </a:xfrm>
          <a:prstGeom prst="rect">
            <a:avLst/>
          </a:prstGeom>
        </p:spPr>
        <p:txBody>
          <a:bodyPr wrap="square">
            <a:spAutoFit/>
          </a:bodyPr>
          <a:lstStyle/>
          <a:p>
            <a:r>
              <a:rPr lang="en-US" altLang="zh-CN" sz="1200" dirty="0"/>
              <a:t>- </a:t>
            </a:r>
            <a:r>
              <a:rPr lang="zh-CN" altLang="en-US" sz="1200" dirty="0"/>
              <a:t>变体</a:t>
            </a:r>
            <a:r>
              <a:rPr lang="en-US" altLang="zh-CN" sz="1200" dirty="0"/>
              <a:t>B1</a:t>
            </a:r>
            <a:r>
              <a:rPr lang="zh-CN" altLang="en-US" sz="1200" dirty="0"/>
              <a:t>的实例检索时间更少</a:t>
            </a:r>
            <a:endParaRPr lang="en-US" altLang="zh-CN" sz="1200" dirty="0"/>
          </a:p>
        </p:txBody>
      </p:sp>
      <p:sp>
        <p:nvSpPr>
          <p:cNvPr id="17" name="矩形 16">
            <a:extLst>
              <a:ext uri="{FF2B5EF4-FFF2-40B4-BE49-F238E27FC236}">
                <a16:creationId xmlns:a16="http://schemas.microsoft.com/office/drawing/2014/main" id="{1B6B3E28-717B-4642-9CFB-C345FAF925E8}"/>
              </a:ext>
            </a:extLst>
          </p:cNvPr>
          <p:cNvSpPr/>
          <p:nvPr/>
        </p:nvSpPr>
        <p:spPr>
          <a:xfrm>
            <a:off x="750472" y="5697612"/>
            <a:ext cx="3624054" cy="276999"/>
          </a:xfrm>
          <a:prstGeom prst="rect">
            <a:avLst/>
          </a:prstGeom>
        </p:spPr>
        <p:txBody>
          <a:bodyPr wrap="square">
            <a:spAutoFit/>
          </a:bodyPr>
          <a:lstStyle/>
          <a:p>
            <a:r>
              <a:rPr lang="en-US" altLang="zh-CN" sz="1200" dirty="0"/>
              <a:t>- </a:t>
            </a:r>
            <a:r>
              <a:rPr lang="zh-CN" altLang="en-US" sz="1200" dirty="0"/>
              <a:t>变体</a:t>
            </a:r>
            <a:r>
              <a:rPr lang="en-US" altLang="zh-CN" sz="1200" dirty="0"/>
              <a:t>B4</a:t>
            </a:r>
            <a:r>
              <a:rPr lang="zh-CN" altLang="en-US" sz="1200" dirty="0"/>
              <a:t>可以在精度和时间性能之间取得最佳平衡</a:t>
            </a:r>
            <a:endParaRPr lang="en-US" altLang="zh-CN" sz="1200" dirty="0"/>
          </a:p>
        </p:txBody>
      </p:sp>
      <p:grpSp>
        <p:nvGrpSpPr>
          <p:cNvPr id="12" name="组合 11">
            <a:extLst>
              <a:ext uri="{FF2B5EF4-FFF2-40B4-BE49-F238E27FC236}">
                <a16:creationId xmlns:a16="http://schemas.microsoft.com/office/drawing/2014/main" id="{5D8F3B8F-EB0E-4C6A-973B-5CAB34B82CF2}"/>
              </a:ext>
            </a:extLst>
          </p:cNvPr>
          <p:cNvGrpSpPr/>
          <p:nvPr/>
        </p:nvGrpSpPr>
        <p:grpSpPr>
          <a:xfrm>
            <a:off x="538437" y="3100132"/>
            <a:ext cx="158695" cy="2839398"/>
            <a:chOff x="538437" y="3100132"/>
            <a:chExt cx="158695" cy="2839398"/>
          </a:xfrm>
        </p:grpSpPr>
        <p:cxnSp>
          <p:nvCxnSpPr>
            <p:cNvPr id="43" name="直接连接符 42">
              <a:extLst>
                <a:ext uri="{FF2B5EF4-FFF2-40B4-BE49-F238E27FC236}">
                  <a16:creationId xmlns:a16="http://schemas.microsoft.com/office/drawing/2014/main" id="{922A5132-8305-4391-9477-CB9989DE2502}"/>
                </a:ext>
              </a:extLst>
            </p:cNvPr>
            <p:cNvCxnSpPr>
              <a:cxnSpLocks/>
            </p:cNvCxnSpPr>
            <p:nvPr/>
          </p:nvCxnSpPr>
          <p:spPr>
            <a:xfrm>
              <a:off x="607017" y="3175670"/>
              <a:ext cx="22123" cy="27417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5" name="ïşľíḑè">
              <a:extLst>
                <a:ext uri="{FF2B5EF4-FFF2-40B4-BE49-F238E27FC236}">
                  <a16:creationId xmlns:a16="http://schemas.microsoft.com/office/drawing/2014/main" id="{BFDDBF00-A2BB-4CF2-B548-C32C6EA5E4B8}"/>
                </a:ext>
              </a:extLst>
            </p:cNvPr>
            <p:cNvSpPr/>
            <p:nvPr/>
          </p:nvSpPr>
          <p:spPr>
            <a:xfrm>
              <a:off x="538437" y="3100132"/>
              <a:ext cx="151075" cy="1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dirty="0"/>
            </a:p>
          </p:txBody>
        </p:sp>
        <p:sp>
          <p:nvSpPr>
            <p:cNvPr id="46" name="iṩľïḑé">
              <a:extLst>
                <a:ext uri="{FF2B5EF4-FFF2-40B4-BE49-F238E27FC236}">
                  <a16:creationId xmlns:a16="http://schemas.microsoft.com/office/drawing/2014/main" id="{CB94B291-B9FC-41ED-9222-A1C71CAAC203}"/>
                </a:ext>
              </a:extLst>
            </p:cNvPr>
            <p:cNvSpPr/>
            <p:nvPr/>
          </p:nvSpPr>
          <p:spPr>
            <a:xfrm>
              <a:off x="546056" y="5788455"/>
              <a:ext cx="151075" cy="1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47" name="íSļíḋè">
              <a:extLst>
                <a:ext uri="{FF2B5EF4-FFF2-40B4-BE49-F238E27FC236}">
                  <a16:creationId xmlns:a16="http://schemas.microsoft.com/office/drawing/2014/main" id="{9CE97DCD-6372-4B93-A4FE-6596CF75384B}"/>
                </a:ext>
              </a:extLst>
            </p:cNvPr>
            <p:cNvSpPr/>
            <p:nvPr/>
          </p:nvSpPr>
          <p:spPr>
            <a:xfrm>
              <a:off x="538437" y="3987247"/>
              <a:ext cx="151075" cy="1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48" name="i$ḷîďê">
              <a:extLst>
                <a:ext uri="{FF2B5EF4-FFF2-40B4-BE49-F238E27FC236}">
                  <a16:creationId xmlns:a16="http://schemas.microsoft.com/office/drawing/2014/main" id="{C27286A9-86B9-40EA-B03B-FD700D4A21B4}"/>
                </a:ext>
              </a:extLst>
            </p:cNvPr>
            <p:cNvSpPr/>
            <p:nvPr/>
          </p:nvSpPr>
          <p:spPr>
            <a:xfrm>
              <a:off x="546057" y="4944244"/>
              <a:ext cx="151075" cy="1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sp>
        <p:nvSpPr>
          <p:cNvPr id="49" name="text-quotes_13895">
            <a:extLst>
              <a:ext uri="{FF2B5EF4-FFF2-40B4-BE49-F238E27FC236}">
                <a16:creationId xmlns:a16="http://schemas.microsoft.com/office/drawing/2014/main" id="{B24C6F93-EA10-436D-AF42-E9C40A7936AA}"/>
              </a:ext>
            </a:extLst>
          </p:cNvPr>
          <p:cNvSpPr>
            <a:spLocks noChangeAspect="1"/>
          </p:cNvSpPr>
          <p:nvPr/>
        </p:nvSpPr>
        <p:spPr bwMode="auto">
          <a:xfrm rot="10800000">
            <a:off x="233594" y="1237422"/>
            <a:ext cx="609685" cy="391270"/>
          </a:xfrm>
          <a:custGeom>
            <a:avLst/>
            <a:gdLst>
              <a:gd name="connsiteX0" fmla="*/ 439987 w 568260"/>
              <a:gd name="connsiteY0" fmla="*/ 0 h 364686"/>
              <a:gd name="connsiteX1" fmla="*/ 568260 w 568260"/>
              <a:gd name="connsiteY1" fmla="*/ 130771 h 364686"/>
              <a:gd name="connsiteX2" fmla="*/ 568260 w 568260"/>
              <a:gd name="connsiteY2" fmla="*/ 131692 h 364686"/>
              <a:gd name="connsiteX3" fmla="*/ 337553 w 568260"/>
              <a:gd name="connsiteY3" fmla="*/ 364686 h 364686"/>
              <a:gd name="connsiteX4" fmla="*/ 308023 w 568260"/>
              <a:gd name="connsiteY4" fmla="*/ 331533 h 364686"/>
              <a:gd name="connsiteX5" fmla="*/ 340322 w 568260"/>
              <a:gd name="connsiteY5" fmla="*/ 299301 h 364686"/>
              <a:gd name="connsiteX6" fmla="*/ 444601 w 568260"/>
              <a:gd name="connsiteY6" fmla="*/ 262464 h 364686"/>
              <a:gd name="connsiteX7" fmla="*/ 441833 w 568260"/>
              <a:gd name="connsiteY7" fmla="*/ 262464 h 364686"/>
              <a:gd name="connsiteX8" fmla="*/ 309869 w 568260"/>
              <a:gd name="connsiteY8" fmla="*/ 131692 h 364686"/>
              <a:gd name="connsiteX9" fmla="*/ 439987 w 568260"/>
              <a:gd name="connsiteY9" fmla="*/ 0 h 364686"/>
              <a:gd name="connsiteX10" fmla="*/ 131871 w 568260"/>
              <a:gd name="connsiteY10" fmla="*/ 0 h 364686"/>
              <a:gd name="connsiteX11" fmla="*/ 260976 w 568260"/>
              <a:gd name="connsiteY11" fmla="*/ 130771 h 364686"/>
              <a:gd name="connsiteX12" fmla="*/ 260976 w 568260"/>
              <a:gd name="connsiteY12" fmla="*/ 131692 h 364686"/>
              <a:gd name="connsiteX13" fmla="*/ 30432 w 568260"/>
              <a:gd name="connsiteY13" fmla="*/ 364686 h 364686"/>
              <a:gd name="connsiteX14" fmla="*/ 0 w 568260"/>
              <a:gd name="connsiteY14" fmla="*/ 331533 h 364686"/>
              <a:gd name="connsiteX15" fmla="*/ 33198 w 568260"/>
              <a:gd name="connsiteY15" fmla="*/ 299301 h 364686"/>
              <a:gd name="connsiteX16" fmla="*/ 136482 w 568260"/>
              <a:gd name="connsiteY16" fmla="*/ 262464 h 364686"/>
              <a:gd name="connsiteX17" fmla="*/ 134638 w 568260"/>
              <a:gd name="connsiteY17" fmla="*/ 262464 h 364686"/>
              <a:gd name="connsiteX18" fmla="*/ 1844 w 568260"/>
              <a:gd name="connsiteY18" fmla="*/ 131692 h 364686"/>
              <a:gd name="connsiteX19" fmla="*/ 131871 w 568260"/>
              <a:gd name="connsiteY19" fmla="*/ 0 h 36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8260" h="364686">
                <a:moveTo>
                  <a:pt x="439987" y="0"/>
                </a:moveTo>
                <a:cubicBezTo>
                  <a:pt x="511968" y="0"/>
                  <a:pt x="568260" y="58939"/>
                  <a:pt x="568260" y="130771"/>
                </a:cubicBezTo>
                <a:lnTo>
                  <a:pt x="568260" y="131692"/>
                </a:lnTo>
                <a:cubicBezTo>
                  <a:pt x="568260" y="259701"/>
                  <a:pt x="466749" y="364686"/>
                  <a:pt x="337553" y="364686"/>
                </a:cubicBezTo>
                <a:cubicBezTo>
                  <a:pt x="319097" y="364686"/>
                  <a:pt x="308023" y="349951"/>
                  <a:pt x="308023" y="331533"/>
                </a:cubicBezTo>
                <a:cubicBezTo>
                  <a:pt x="308023" y="313114"/>
                  <a:pt x="322788" y="299301"/>
                  <a:pt x="340322" y="299301"/>
                </a:cubicBezTo>
                <a:cubicBezTo>
                  <a:pt x="380003" y="299301"/>
                  <a:pt x="415994" y="285487"/>
                  <a:pt x="444601" y="262464"/>
                </a:cubicBezTo>
                <a:cubicBezTo>
                  <a:pt x="443678" y="262464"/>
                  <a:pt x="442756" y="262464"/>
                  <a:pt x="441833" y="262464"/>
                </a:cubicBezTo>
                <a:cubicBezTo>
                  <a:pt x="369852" y="262464"/>
                  <a:pt x="309869" y="203524"/>
                  <a:pt x="309869" y="131692"/>
                </a:cubicBezTo>
                <a:cubicBezTo>
                  <a:pt x="309869" y="58939"/>
                  <a:pt x="367084" y="0"/>
                  <a:pt x="439987" y="0"/>
                </a:cubicBezTo>
                <a:close/>
                <a:moveTo>
                  <a:pt x="131871" y="0"/>
                </a:moveTo>
                <a:cubicBezTo>
                  <a:pt x="204723" y="0"/>
                  <a:pt x="260976" y="58939"/>
                  <a:pt x="260976" y="130771"/>
                </a:cubicBezTo>
                <a:lnTo>
                  <a:pt x="260976" y="131692"/>
                </a:lnTo>
                <a:cubicBezTo>
                  <a:pt x="260976" y="259701"/>
                  <a:pt x="158614" y="364686"/>
                  <a:pt x="30432" y="364686"/>
                </a:cubicBezTo>
                <a:cubicBezTo>
                  <a:pt x="11988" y="364686"/>
                  <a:pt x="0" y="349951"/>
                  <a:pt x="0" y="331533"/>
                </a:cubicBezTo>
                <a:cubicBezTo>
                  <a:pt x="0" y="313114"/>
                  <a:pt x="14755" y="299301"/>
                  <a:pt x="33198" y="299301"/>
                </a:cubicBezTo>
                <a:cubicBezTo>
                  <a:pt x="71930" y="299301"/>
                  <a:pt x="107895" y="285487"/>
                  <a:pt x="136482" y="262464"/>
                </a:cubicBezTo>
                <a:cubicBezTo>
                  <a:pt x="136482" y="262464"/>
                  <a:pt x="134638" y="262464"/>
                  <a:pt x="134638" y="262464"/>
                </a:cubicBezTo>
                <a:cubicBezTo>
                  <a:pt x="61786" y="262464"/>
                  <a:pt x="1844" y="203524"/>
                  <a:pt x="1844" y="131692"/>
                </a:cubicBezTo>
                <a:cubicBezTo>
                  <a:pt x="1844" y="58939"/>
                  <a:pt x="59941" y="0"/>
                  <a:pt x="131871" y="0"/>
                </a:cubicBezTo>
                <a:close/>
              </a:path>
            </a:pathLst>
          </a:custGeom>
          <a:solidFill>
            <a:schemeClr val="accent1"/>
          </a:solidFill>
          <a:ln>
            <a:noFill/>
          </a:ln>
        </p:spPr>
      </p:sp>
      <p:grpSp>
        <p:nvGrpSpPr>
          <p:cNvPr id="3" name="组合 2">
            <a:extLst>
              <a:ext uri="{FF2B5EF4-FFF2-40B4-BE49-F238E27FC236}">
                <a16:creationId xmlns:a16="http://schemas.microsoft.com/office/drawing/2014/main" id="{E3CD6243-1866-4652-BC06-E976063B751F}"/>
              </a:ext>
            </a:extLst>
          </p:cNvPr>
          <p:cNvGrpSpPr/>
          <p:nvPr/>
        </p:nvGrpSpPr>
        <p:grpSpPr>
          <a:xfrm>
            <a:off x="-43962" y="-2"/>
            <a:ext cx="12265321" cy="1081456"/>
            <a:chOff x="-43962" y="-2"/>
            <a:chExt cx="12265321" cy="1081456"/>
          </a:xfrm>
        </p:grpSpPr>
        <p:grpSp>
          <p:nvGrpSpPr>
            <p:cNvPr id="5" name="组合 4">
              <a:extLst>
                <a:ext uri="{FF2B5EF4-FFF2-40B4-BE49-F238E27FC236}">
                  <a16:creationId xmlns:a16="http://schemas.microsoft.com/office/drawing/2014/main" id="{A02D8D5F-9092-40A1-BEE7-2E18BC595794}"/>
                </a:ext>
              </a:extLst>
            </p:cNvPr>
            <p:cNvGrpSpPr/>
            <p:nvPr/>
          </p:nvGrpSpPr>
          <p:grpSpPr>
            <a:xfrm rot="10800000">
              <a:off x="-43962" y="-2"/>
              <a:ext cx="12265321" cy="1081456"/>
              <a:chOff x="1" y="5010588"/>
              <a:chExt cx="12265322" cy="1905823"/>
            </a:xfrm>
          </p:grpSpPr>
          <p:sp>
            <p:nvSpPr>
              <p:cNvPr id="6" name="îṧļiḑe">
                <a:extLst>
                  <a:ext uri="{FF2B5EF4-FFF2-40B4-BE49-F238E27FC236}">
                    <a16:creationId xmlns:a16="http://schemas.microsoft.com/office/drawing/2014/main" id="{49F6E0D8-E3BC-4BD3-84FB-161A76550555}"/>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îṩľiḑê">
                <a:extLst>
                  <a:ext uri="{FF2B5EF4-FFF2-40B4-BE49-F238E27FC236}">
                    <a16:creationId xmlns:a16="http://schemas.microsoft.com/office/drawing/2014/main" id="{E47AD772-61D7-455A-AF1D-07952261DFE2}"/>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sp>
          <p:nvSpPr>
            <p:cNvPr id="9" name="矩形 8">
              <a:extLst>
                <a:ext uri="{FF2B5EF4-FFF2-40B4-BE49-F238E27FC236}">
                  <a16:creationId xmlns:a16="http://schemas.microsoft.com/office/drawing/2014/main" id="{559493B6-54D5-4BFB-8173-8ADF4B215E18}"/>
                </a:ext>
              </a:extLst>
            </p:cNvPr>
            <p:cNvSpPr/>
            <p:nvPr/>
          </p:nvSpPr>
          <p:spPr>
            <a:xfrm>
              <a:off x="1028700" y="139985"/>
              <a:ext cx="9944100" cy="369332"/>
            </a:xfrm>
            <a:prstGeom prst="rect">
              <a:avLst/>
            </a:prstGeom>
          </p:spPr>
          <p:txBody>
            <a:bodyPr wrap="square">
              <a:spAutoFit/>
            </a:bodyPr>
            <a:lstStyle/>
            <a:p>
              <a:r>
                <a:rPr lang="en-US" altLang="zh-CN" dirty="0">
                  <a:solidFill>
                    <a:schemeClr val="bg1"/>
                  </a:solidFill>
                </a:rPr>
                <a:t>B.</a:t>
              </a:r>
              <a:r>
                <a:rPr lang="zh-CN" altLang="en-US" dirty="0">
                  <a:solidFill>
                    <a:schemeClr val="bg1"/>
                  </a:solidFill>
                </a:rPr>
                <a:t>观察者模式变量的结果</a:t>
              </a:r>
              <a:endParaRPr lang="en-US" altLang="zh-CN" dirty="0">
                <a:solidFill>
                  <a:schemeClr val="bg1"/>
                </a:solidFill>
              </a:endParaRPr>
            </a:p>
          </p:txBody>
        </p:sp>
        <p:sp>
          <p:nvSpPr>
            <p:cNvPr id="22" name="ïšḷîdè">
              <a:extLst>
                <a:ext uri="{FF2B5EF4-FFF2-40B4-BE49-F238E27FC236}">
                  <a16:creationId xmlns:a16="http://schemas.microsoft.com/office/drawing/2014/main" id="{520B59F9-2DFA-416D-833E-7A4BF941412D}"/>
                </a:ext>
              </a:extLst>
            </p:cNvPr>
            <p:cNvSpPr/>
            <p:nvPr/>
          </p:nvSpPr>
          <p:spPr>
            <a:xfrm>
              <a:off x="418935" y="106081"/>
              <a:ext cx="469590" cy="514984"/>
            </a:xfrm>
            <a:custGeom>
              <a:avLst/>
              <a:gdLst>
                <a:gd name="connsiteX0" fmla="*/ 333504 w 555138"/>
                <a:gd name="connsiteY0" fmla="*/ 231047 h 608801"/>
                <a:gd name="connsiteX1" fmla="*/ 254856 w 555138"/>
                <a:gd name="connsiteY1" fmla="*/ 309304 h 608801"/>
                <a:gd name="connsiteX2" fmla="*/ 221937 w 555138"/>
                <a:gd name="connsiteY2" fmla="*/ 276152 h 608801"/>
                <a:gd name="connsiteX3" fmla="*/ 187523 w 555138"/>
                <a:gd name="connsiteY3" fmla="*/ 310238 h 608801"/>
                <a:gd name="connsiteX4" fmla="*/ 220441 w 555138"/>
                <a:gd name="connsiteY4" fmla="*/ 343389 h 608801"/>
                <a:gd name="connsiteX5" fmla="*/ 254575 w 555138"/>
                <a:gd name="connsiteY5" fmla="*/ 377755 h 608801"/>
                <a:gd name="connsiteX6" fmla="*/ 288989 w 555138"/>
                <a:gd name="connsiteY6" fmla="*/ 343669 h 608801"/>
                <a:gd name="connsiteX7" fmla="*/ 367731 w 555138"/>
                <a:gd name="connsiteY7" fmla="*/ 265413 h 608801"/>
                <a:gd name="connsiteX8" fmla="*/ 277580 w 555138"/>
                <a:gd name="connsiteY8" fmla="*/ 130845 h 608801"/>
                <a:gd name="connsiteX9" fmla="*/ 451336 w 555138"/>
                <a:gd name="connsiteY9" fmla="*/ 304448 h 608801"/>
                <a:gd name="connsiteX10" fmla="*/ 277580 w 555138"/>
                <a:gd name="connsiteY10" fmla="*/ 477957 h 608801"/>
                <a:gd name="connsiteX11" fmla="*/ 103731 w 555138"/>
                <a:gd name="connsiteY11" fmla="*/ 304448 h 608801"/>
                <a:gd name="connsiteX12" fmla="*/ 277580 w 555138"/>
                <a:gd name="connsiteY12" fmla="*/ 130845 h 608801"/>
                <a:gd name="connsiteX13" fmla="*/ 440395 w 555138"/>
                <a:gd name="connsiteY13" fmla="*/ 80038 h 608801"/>
                <a:gd name="connsiteX14" fmla="*/ 555138 w 555138"/>
                <a:gd name="connsiteY14" fmla="*/ 304436 h 608801"/>
                <a:gd name="connsiteX15" fmla="*/ 277586 w 555138"/>
                <a:gd name="connsiteY15" fmla="*/ 581594 h 608801"/>
                <a:gd name="connsiteX16" fmla="*/ 277586 w 555138"/>
                <a:gd name="connsiteY16" fmla="*/ 605593 h 608801"/>
                <a:gd name="connsiteX17" fmla="*/ 272536 w 555138"/>
                <a:gd name="connsiteY17" fmla="*/ 608208 h 608801"/>
                <a:gd name="connsiteX18" fmla="*/ 207356 w 555138"/>
                <a:gd name="connsiteY18" fmla="*/ 563478 h 608801"/>
                <a:gd name="connsiteX19" fmla="*/ 207356 w 555138"/>
                <a:gd name="connsiteY19" fmla="*/ 558155 h 608801"/>
                <a:gd name="connsiteX20" fmla="*/ 272536 w 555138"/>
                <a:gd name="connsiteY20" fmla="*/ 513425 h 608801"/>
                <a:gd name="connsiteX21" fmla="*/ 277586 w 555138"/>
                <a:gd name="connsiteY21" fmla="*/ 516040 h 608801"/>
                <a:gd name="connsiteX22" fmla="*/ 277586 w 555138"/>
                <a:gd name="connsiteY22" fmla="*/ 540319 h 608801"/>
                <a:gd name="connsiteX23" fmla="*/ 513711 w 555138"/>
                <a:gd name="connsiteY23" fmla="*/ 304529 h 608801"/>
                <a:gd name="connsiteX24" fmla="*/ 416081 w 555138"/>
                <a:gd name="connsiteY24" fmla="*/ 113562 h 608801"/>
                <a:gd name="connsiteX25" fmla="*/ 282527 w 555138"/>
                <a:gd name="connsiteY25" fmla="*/ 593 h 608801"/>
                <a:gd name="connsiteX26" fmla="*/ 347711 w 555138"/>
                <a:gd name="connsiteY26" fmla="*/ 45323 h 608801"/>
                <a:gd name="connsiteX27" fmla="*/ 347711 w 555138"/>
                <a:gd name="connsiteY27" fmla="*/ 50646 h 608801"/>
                <a:gd name="connsiteX28" fmla="*/ 282527 w 555138"/>
                <a:gd name="connsiteY28" fmla="*/ 95376 h 608801"/>
                <a:gd name="connsiteX29" fmla="*/ 277570 w 555138"/>
                <a:gd name="connsiteY29" fmla="*/ 92761 h 608801"/>
                <a:gd name="connsiteX30" fmla="*/ 277570 w 555138"/>
                <a:gd name="connsiteY30" fmla="*/ 68575 h 608801"/>
                <a:gd name="connsiteX31" fmla="*/ 41336 w 555138"/>
                <a:gd name="connsiteY31" fmla="*/ 304459 h 608801"/>
                <a:gd name="connsiteX32" fmla="*/ 138878 w 555138"/>
                <a:gd name="connsiteY32" fmla="*/ 495332 h 608801"/>
                <a:gd name="connsiteX33" fmla="*/ 114563 w 555138"/>
                <a:gd name="connsiteY33" fmla="*/ 528763 h 608801"/>
                <a:gd name="connsiteX34" fmla="*/ 0 w 555138"/>
                <a:gd name="connsiteY34" fmla="*/ 304459 h 608801"/>
                <a:gd name="connsiteX35" fmla="*/ 277570 w 555138"/>
                <a:gd name="connsiteY35" fmla="*/ 27300 h 608801"/>
                <a:gd name="connsiteX36" fmla="*/ 277570 w 555138"/>
                <a:gd name="connsiteY36" fmla="*/ 3208 h 608801"/>
                <a:gd name="connsiteX37" fmla="*/ 282527 w 555138"/>
                <a:gd name="connsiteY37" fmla="*/ 593 h 6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55138" h="608801">
                  <a:moveTo>
                    <a:pt x="333504" y="231047"/>
                  </a:moveTo>
                  <a:lnTo>
                    <a:pt x="254856" y="309304"/>
                  </a:lnTo>
                  <a:lnTo>
                    <a:pt x="221937" y="276152"/>
                  </a:lnTo>
                  <a:lnTo>
                    <a:pt x="187523" y="310238"/>
                  </a:lnTo>
                  <a:lnTo>
                    <a:pt x="220441" y="343389"/>
                  </a:lnTo>
                  <a:lnTo>
                    <a:pt x="254575" y="377755"/>
                  </a:lnTo>
                  <a:lnTo>
                    <a:pt x="288989" y="343669"/>
                  </a:lnTo>
                  <a:lnTo>
                    <a:pt x="367731" y="265413"/>
                  </a:lnTo>
                  <a:close/>
                  <a:moveTo>
                    <a:pt x="277580" y="130845"/>
                  </a:moveTo>
                  <a:cubicBezTo>
                    <a:pt x="373529" y="130845"/>
                    <a:pt x="451336" y="208541"/>
                    <a:pt x="451336" y="304448"/>
                  </a:cubicBezTo>
                  <a:cubicBezTo>
                    <a:pt x="451336" y="400261"/>
                    <a:pt x="373529" y="477957"/>
                    <a:pt x="277580" y="477957"/>
                  </a:cubicBezTo>
                  <a:cubicBezTo>
                    <a:pt x="181538" y="477957"/>
                    <a:pt x="103731" y="400261"/>
                    <a:pt x="103731" y="304448"/>
                  </a:cubicBezTo>
                  <a:cubicBezTo>
                    <a:pt x="103731" y="208541"/>
                    <a:pt x="181538" y="130845"/>
                    <a:pt x="277580" y="130845"/>
                  </a:cubicBezTo>
                  <a:close/>
                  <a:moveTo>
                    <a:pt x="440395" y="80038"/>
                  </a:moveTo>
                  <a:cubicBezTo>
                    <a:pt x="512215" y="132052"/>
                    <a:pt x="555138" y="215909"/>
                    <a:pt x="555138" y="304436"/>
                  </a:cubicBezTo>
                  <a:cubicBezTo>
                    <a:pt x="555138" y="457302"/>
                    <a:pt x="430576" y="581594"/>
                    <a:pt x="277586" y="581594"/>
                  </a:cubicBezTo>
                  <a:lnTo>
                    <a:pt x="277586" y="605593"/>
                  </a:lnTo>
                  <a:cubicBezTo>
                    <a:pt x="277586" y="608208"/>
                    <a:pt x="274687" y="609702"/>
                    <a:pt x="272536" y="608208"/>
                  </a:cubicBezTo>
                  <a:lnTo>
                    <a:pt x="207356" y="563478"/>
                  </a:lnTo>
                  <a:cubicBezTo>
                    <a:pt x="205486" y="562170"/>
                    <a:pt x="205486" y="559369"/>
                    <a:pt x="207356" y="558155"/>
                  </a:cubicBezTo>
                  <a:lnTo>
                    <a:pt x="272536" y="513425"/>
                  </a:lnTo>
                  <a:cubicBezTo>
                    <a:pt x="274687" y="511931"/>
                    <a:pt x="277586" y="513425"/>
                    <a:pt x="277586" y="516040"/>
                  </a:cubicBezTo>
                  <a:lnTo>
                    <a:pt x="277586" y="540319"/>
                  </a:lnTo>
                  <a:cubicBezTo>
                    <a:pt x="407759" y="540319"/>
                    <a:pt x="513711" y="434517"/>
                    <a:pt x="513711" y="304529"/>
                  </a:cubicBezTo>
                  <a:cubicBezTo>
                    <a:pt x="513711" y="229169"/>
                    <a:pt x="477147" y="157825"/>
                    <a:pt x="416081" y="113562"/>
                  </a:cubicBezTo>
                  <a:close/>
                  <a:moveTo>
                    <a:pt x="282527" y="593"/>
                  </a:moveTo>
                  <a:lnTo>
                    <a:pt x="347711" y="45323"/>
                  </a:lnTo>
                  <a:cubicBezTo>
                    <a:pt x="349581" y="46724"/>
                    <a:pt x="349581" y="49432"/>
                    <a:pt x="347711" y="50646"/>
                  </a:cubicBezTo>
                  <a:lnTo>
                    <a:pt x="282527" y="95376"/>
                  </a:lnTo>
                  <a:cubicBezTo>
                    <a:pt x="280376" y="96870"/>
                    <a:pt x="277570" y="95376"/>
                    <a:pt x="277570" y="92761"/>
                  </a:cubicBezTo>
                  <a:lnTo>
                    <a:pt x="277570" y="68575"/>
                  </a:lnTo>
                  <a:cubicBezTo>
                    <a:pt x="147389" y="68575"/>
                    <a:pt x="41336" y="174471"/>
                    <a:pt x="41336" y="304459"/>
                  </a:cubicBezTo>
                  <a:cubicBezTo>
                    <a:pt x="41336" y="379725"/>
                    <a:pt x="77903" y="451069"/>
                    <a:pt x="138878" y="495332"/>
                  </a:cubicBezTo>
                  <a:lnTo>
                    <a:pt x="114563" y="528763"/>
                  </a:lnTo>
                  <a:cubicBezTo>
                    <a:pt x="42832" y="476749"/>
                    <a:pt x="0" y="392985"/>
                    <a:pt x="0" y="304459"/>
                  </a:cubicBezTo>
                  <a:cubicBezTo>
                    <a:pt x="0" y="151686"/>
                    <a:pt x="124570" y="27300"/>
                    <a:pt x="277570" y="27300"/>
                  </a:cubicBezTo>
                  <a:lnTo>
                    <a:pt x="277570" y="3208"/>
                  </a:lnTo>
                  <a:cubicBezTo>
                    <a:pt x="277570" y="593"/>
                    <a:pt x="280376" y="-901"/>
                    <a:pt x="282527" y="593"/>
                  </a:cubicBezTo>
                  <a:close/>
                </a:path>
              </a:pathLst>
            </a:custGeom>
            <a:solidFill>
              <a:schemeClr val="bg1"/>
            </a:solidFill>
            <a:ln w="12700">
              <a:miter lim="400000"/>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
        <p:nvSpPr>
          <p:cNvPr id="23" name="矩形 22">
            <a:extLst>
              <a:ext uri="{FF2B5EF4-FFF2-40B4-BE49-F238E27FC236}">
                <a16:creationId xmlns:a16="http://schemas.microsoft.com/office/drawing/2014/main" id="{E0F91B8D-1B62-49B8-9F4C-ACC7E43F76A3}"/>
              </a:ext>
            </a:extLst>
          </p:cNvPr>
          <p:cNvSpPr/>
          <p:nvPr/>
        </p:nvSpPr>
        <p:spPr>
          <a:xfrm>
            <a:off x="4967099" y="4181784"/>
            <a:ext cx="6842761" cy="541020"/>
          </a:xfrm>
          <a:prstGeom prst="rect">
            <a:avLst/>
          </a:prstGeom>
          <a:noFill/>
          <a:ln>
            <a:solidFill>
              <a:srgbClr val="FF69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53787480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par>
                                    <p:cTn id="10" presetID="2" presetClass="entr" presetSubtype="4" fill="hold" nodeType="withEffect">
                                      <p:stCondLst>
                                        <p:cond delay="300"/>
                                      </p:stCondLst>
                                      <p:childTnLst>
                                        <p:set>
                                          <p:cBhvr>
                                            <p:cTn id="11" dur="1" fill="hold">
                                              <p:stCondLst>
                                                <p:cond delay="0"/>
                                              </p:stCondLst>
                                            </p:cTn>
                                            <p:tgtEl>
                                              <p:spTgt spid="49"/>
                                            </p:tgtEl>
                                            <p:attrNameLst>
                                              <p:attrName>style.visibility</p:attrName>
                                            </p:attrNameLst>
                                          </p:cBhvr>
                                          <p:to>
                                            <p:strVal val="visible"/>
                                          </p:to>
                                        </p:set>
                                        <p:anim calcmode="lin" valueType="num">
                                          <p:cBhvr additive="base">
                                            <p:cTn id="12" dur="500" fill="hold"/>
                                            <p:tgtEl>
                                              <p:spTgt spid="49"/>
                                            </p:tgtEl>
                                            <p:attrNameLst>
                                              <p:attrName>ppt_x</p:attrName>
                                            </p:attrNameLst>
                                          </p:cBhvr>
                                          <p:tavLst>
                                            <p:tav tm="0">
                                              <p:val>
                                                <p:strVal val="#ppt_x"/>
                                              </p:val>
                                            </p:tav>
                                            <p:tav tm="100000">
                                              <p:val>
                                                <p:strVal val="#ppt_x"/>
                                              </p:val>
                                            </p:tav>
                                          </p:tavLst>
                                        </p:anim>
                                        <p:anim calcmode="lin" valueType="num">
                                          <p:cBhvr additive="base">
                                            <p:cTn id="13" dur="500" fill="hold"/>
                                            <p:tgtEl>
                                              <p:spTgt spid="49"/>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500" fill="hold"/>
                                            <p:tgtEl>
                                              <p:spTgt spid="4"/>
                                            </p:tgtEl>
                                            <p:attrNameLst>
                                              <p:attrName>ppt_x</p:attrName>
                                            </p:attrNameLst>
                                          </p:cBhvr>
                                          <p:tavLst>
                                            <p:tav tm="0">
                                              <p:val>
                                                <p:strVal val="#ppt_x"/>
                                              </p:val>
                                            </p:tav>
                                            <p:tav tm="100000">
                                              <p:val>
                                                <p:strVal val="#ppt_x"/>
                                              </p:val>
                                            </p:tav>
                                          </p:tavLst>
                                        </p:anim>
                                        <p:anim calcmode="lin" valueType="num">
                                          <p:cBhvr additive="base">
                                            <p:cTn id="17" dur="500" fill="hold"/>
                                            <p:tgtEl>
                                              <p:spTgt spid="4"/>
                                            </p:tgtEl>
                                            <p:attrNameLst>
                                              <p:attrName>ppt_y</p:attrName>
                                            </p:attrNameLst>
                                          </p:cBhvr>
                                          <p:tavLst>
                                            <p:tav tm="0">
                                              <p:val>
                                                <p:strVal val="1+#ppt_h/2"/>
                                              </p:val>
                                            </p:tav>
                                            <p:tav tm="100000">
                                              <p:val>
                                                <p:strVal val="#ppt_y"/>
                                              </p:val>
                                            </p:tav>
                                          </p:tavLst>
                                        </p:anim>
                                      </p:childTnLst>
                                    </p:cTn>
                                  </p:par>
                                  <p:par>
                                    <p:cTn id="18" presetID="10" presetClass="entr" presetSubtype="0" fill="hold" nodeType="withEffect">
                                      <p:stCondLst>
                                        <p:cond delay="3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1500"/>
                                            <p:tgtEl>
                                              <p:spTgt spid="21"/>
                                            </p:tgtEl>
                                          </p:cBhvr>
                                        </p:animEffect>
                                      </p:childTnLst>
                                    </p:cTn>
                                  </p:par>
                                  <p:par>
                                    <p:cTn id="21" presetID="10" presetClass="entr" presetSubtype="0" fill="hold" nodeType="withEffect">
                                      <p:stCondLst>
                                        <p:cond delay="30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2" presetClass="entr" presetSubtype="8" accel="10000" fill="hold" grpId="0" nodeType="withEffect" p14:presetBounceEnd="30000">
                                      <p:stCondLst>
                                        <p:cond delay="600"/>
                                      </p:stCondLst>
                                      <p:childTnLst>
                                        <p:set>
                                          <p:cBhvr>
                                            <p:cTn id="25" dur="1" fill="hold">
                                              <p:stCondLst>
                                                <p:cond delay="0"/>
                                              </p:stCondLst>
                                            </p:cTn>
                                            <p:tgtEl>
                                              <p:spTgt spid="8"/>
                                            </p:tgtEl>
                                            <p:attrNameLst>
                                              <p:attrName>style.visibility</p:attrName>
                                            </p:attrNameLst>
                                          </p:cBhvr>
                                          <p:to>
                                            <p:strVal val="visible"/>
                                          </p:to>
                                        </p:set>
                                        <p:anim calcmode="lin" valueType="num" p14:bounceEnd="30000">
                                          <p:cBhvr additive="base">
                                            <p:cTn id="26" dur="500" fill="hold"/>
                                            <p:tgtEl>
                                              <p:spTgt spid="8"/>
                                            </p:tgtEl>
                                            <p:attrNameLst>
                                              <p:attrName>ppt_x</p:attrName>
                                            </p:attrNameLst>
                                          </p:cBhvr>
                                          <p:tavLst>
                                            <p:tav tm="0">
                                              <p:val>
                                                <p:strVal val="0-#ppt_w/2"/>
                                              </p:val>
                                            </p:tav>
                                            <p:tav tm="100000">
                                              <p:val>
                                                <p:strVal val="#ppt_x"/>
                                              </p:val>
                                            </p:tav>
                                          </p:tavLst>
                                        </p:anim>
                                        <p:anim calcmode="lin" valueType="num" p14:bounceEnd="30000">
                                          <p:cBhvr additive="base">
                                            <p:cTn id="27" dur="500" fill="hold"/>
                                            <p:tgtEl>
                                              <p:spTgt spid="8"/>
                                            </p:tgtEl>
                                            <p:attrNameLst>
                                              <p:attrName>ppt_y</p:attrName>
                                            </p:attrNameLst>
                                          </p:cBhvr>
                                          <p:tavLst>
                                            <p:tav tm="0">
                                              <p:val>
                                                <p:strVal val="#ppt_y"/>
                                              </p:val>
                                            </p:tav>
                                            <p:tav tm="100000">
                                              <p:val>
                                                <p:strVal val="#ppt_y"/>
                                              </p:val>
                                            </p:tav>
                                          </p:tavLst>
                                        </p:anim>
                                      </p:childTnLst>
                                    </p:cTn>
                                  </p:par>
                                  <p:par>
                                    <p:cTn id="28" presetID="2" presetClass="entr" presetSubtype="8" accel="10000" fill="hold" grpId="0" nodeType="withEffect" p14:presetBounceEnd="30000">
                                      <p:stCondLst>
                                        <p:cond delay="900"/>
                                      </p:stCondLst>
                                      <p:childTnLst>
                                        <p:set>
                                          <p:cBhvr>
                                            <p:cTn id="29" dur="1" fill="hold">
                                              <p:stCondLst>
                                                <p:cond delay="0"/>
                                              </p:stCondLst>
                                            </p:cTn>
                                            <p:tgtEl>
                                              <p:spTgt spid="15"/>
                                            </p:tgtEl>
                                            <p:attrNameLst>
                                              <p:attrName>style.visibility</p:attrName>
                                            </p:attrNameLst>
                                          </p:cBhvr>
                                          <p:to>
                                            <p:strVal val="visible"/>
                                          </p:to>
                                        </p:set>
                                        <p:anim calcmode="lin" valueType="num" p14:bounceEnd="30000">
                                          <p:cBhvr additive="base">
                                            <p:cTn id="30" dur="500" fill="hold"/>
                                            <p:tgtEl>
                                              <p:spTgt spid="15"/>
                                            </p:tgtEl>
                                            <p:attrNameLst>
                                              <p:attrName>ppt_x</p:attrName>
                                            </p:attrNameLst>
                                          </p:cBhvr>
                                          <p:tavLst>
                                            <p:tav tm="0">
                                              <p:val>
                                                <p:strVal val="0-#ppt_w/2"/>
                                              </p:val>
                                            </p:tav>
                                            <p:tav tm="100000">
                                              <p:val>
                                                <p:strVal val="#ppt_x"/>
                                              </p:val>
                                            </p:tav>
                                          </p:tavLst>
                                        </p:anim>
                                        <p:anim calcmode="lin" valueType="num" p14:bounceEnd="30000">
                                          <p:cBhvr additive="base">
                                            <p:cTn id="31" dur="500" fill="hold"/>
                                            <p:tgtEl>
                                              <p:spTgt spid="15"/>
                                            </p:tgtEl>
                                            <p:attrNameLst>
                                              <p:attrName>ppt_y</p:attrName>
                                            </p:attrNameLst>
                                          </p:cBhvr>
                                          <p:tavLst>
                                            <p:tav tm="0">
                                              <p:val>
                                                <p:strVal val="#ppt_y"/>
                                              </p:val>
                                            </p:tav>
                                            <p:tav tm="100000">
                                              <p:val>
                                                <p:strVal val="#ppt_y"/>
                                              </p:val>
                                            </p:tav>
                                          </p:tavLst>
                                        </p:anim>
                                      </p:childTnLst>
                                    </p:cTn>
                                  </p:par>
                                  <p:par>
                                    <p:cTn id="32" presetID="2" presetClass="entr" presetSubtype="8" accel="10000" fill="hold" grpId="0" nodeType="withEffect" p14:presetBounceEnd="30000">
                                      <p:stCondLst>
                                        <p:cond delay="1100"/>
                                      </p:stCondLst>
                                      <p:childTnLst>
                                        <p:set>
                                          <p:cBhvr>
                                            <p:cTn id="33" dur="1" fill="hold">
                                              <p:stCondLst>
                                                <p:cond delay="0"/>
                                              </p:stCondLst>
                                            </p:cTn>
                                            <p:tgtEl>
                                              <p:spTgt spid="16"/>
                                            </p:tgtEl>
                                            <p:attrNameLst>
                                              <p:attrName>style.visibility</p:attrName>
                                            </p:attrNameLst>
                                          </p:cBhvr>
                                          <p:to>
                                            <p:strVal val="visible"/>
                                          </p:to>
                                        </p:set>
                                        <p:anim calcmode="lin" valueType="num" p14:bounceEnd="30000">
                                          <p:cBhvr additive="base">
                                            <p:cTn id="34" dur="500" fill="hold"/>
                                            <p:tgtEl>
                                              <p:spTgt spid="16"/>
                                            </p:tgtEl>
                                            <p:attrNameLst>
                                              <p:attrName>ppt_x</p:attrName>
                                            </p:attrNameLst>
                                          </p:cBhvr>
                                          <p:tavLst>
                                            <p:tav tm="0">
                                              <p:val>
                                                <p:strVal val="0-#ppt_w/2"/>
                                              </p:val>
                                            </p:tav>
                                            <p:tav tm="100000">
                                              <p:val>
                                                <p:strVal val="#ppt_x"/>
                                              </p:val>
                                            </p:tav>
                                          </p:tavLst>
                                        </p:anim>
                                        <p:anim calcmode="lin" valueType="num" p14:bounceEnd="30000">
                                          <p:cBhvr additive="base">
                                            <p:cTn id="35" dur="500" fill="hold"/>
                                            <p:tgtEl>
                                              <p:spTgt spid="16"/>
                                            </p:tgtEl>
                                            <p:attrNameLst>
                                              <p:attrName>ppt_y</p:attrName>
                                            </p:attrNameLst>
                                          </p:cBhvr>
                                          <p:tavLst>
                                            <p:tav tm="0">
                                              <p:val>
                                                <p:strVal val="#ppt_y"/>
                                              </p:val>
                                            </p:tav>
                                            <p:tav tm="100000">
                                              <p:val>
                                                <p:strVal val="#ppt_y"/>
                                              </p:val>
                                            </p:tav>
                                          </p:tavLst>
                                        </p:anim>
                                      </p:childTnLst>
                                    </p:cTn>
                                  </p:par>
                                  <p:par>
                                    <p:cTn id="36" presetID="2" presetClass="entr" presetSubtype="8" accel="10000" fill="hold" grpId="0" nodeType="withEffect" p14:presetBounceEnd="30000">
                                      <p:stCondLst>
                                        <p:cond delay="1300"/>
                                      </p:stCondLst>
                                      <p:childTnLst>
                                        <p:set>
                                          <p:cBhvr>
                                            <p:cTn id="37" dur="1" fill="hold">
                                              <p:stCondLst>
                                                <p:cond delay="0"/>
                                              </p:stCondLst>
                                            </p:cTn>
                                            <p:tgtEl>
                                              <p:spTgt spid="17"/>
                                            </p:tgtEl>
                                            <p:attrNameLst>
                                              <p:attrName>style.visibility</p:attrName>
                                            </p:attrNameLst>
                                          </p:cBhvr>
                                          <p:to>
                                            <p:strVal val="visible"/>
                                          </p:to>
                                        </p:set>
                                        <p:anim calcmode="lin" valueType="num" p14:bounceEnd="30000">
                                          <p:cBhvr additive="base">
                                            <p:cTn id="38" dur="500" fill="hold"/>
                                            <p:tgtEl>
                                              <p:spTgt spid="17"/>
                                            </p:tgtEl>
                                            <p:attrNameLst>
                                              <p:attrName>ppt_x</p:attrName>
                                            </p:attrNameLst>
                                          </p:cBhvr>
                                          <p:tavLst>
                                            <p:tav tm="0">
                                              <p:val>
                                                <p:strVal val="0-#ppt_w/2"/>
                                              </p:val>
                                            </p:tav>
                                            <p:tav tm="100000">
                                              <p:val>
                                                <p:strVal val="#ppt_x"/>
                                              </p:val>
                                            </p:tav>
                                          </p:tavLst>
                                        </p:anim>
                                        <p:anim calcmode="lin" valueType="num" p14:bounceEnd="30000">
                                          <p:cBhvr additive="base">
                                            <p:cTn id="39"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path" presetSubtype="0" accel="50000" decel="50000" fill="hold" grpId="1" nodeType="clickEffect">
                                      <p:stCondLst>
                                        <p:cond delay="0"/>
                                      </p:stCondLst>
                                      <p:childTnLst>
                                        <p:animMotion origin="layout" path="M -8.33333E-7 -4.07407E-6 L -8.33333E-7 -0.25023 " pathEditMode="relative" rAng="0" ptsTypes="AA">
                                          <p:cBhvr>
                                            <p:cTn id="48" dur="2000" fill="hold"/>
                                            <p:tgtEl>
                                              <p:spTgt spid="23"/>
                                            </p:tgtEl>
                                            <p:attrNameLst>
                                              <p:attrName>ppt_x</p:attrName>
                                              <p:attrName>ppt_y</p:attrName>
                                            </p:attrNameLst>
                                          </p:cBhvr>
                                          <p:rCtr x="0" y="-12523"/>
                                        </p:animMotion>
                                      </p:childTnLst>
                                    </p:cTn>
                                  </p:par>
                                </p:childTnLst>
                              </p:cTn>
                            </p:par>
                          </p:childTnLst>
                        </p:cTn>
                      </p:par>
                      <p:par>
                        <p:cTn id="49" fill="hold">
                          <p:stCondLst>
                            <p:cond delay="indefinite"/>
                          </p:stCondLst>
                          <p:childTnLst>
                            <p:par>
                              <p:cTn id="50" fill="hold">
                                <p:stCondLst>
                                  <p:cond delay="0"/>
                                </p:stCondLst>
                                <p:childTnLst>
                                  <p:par>
                                    <p:cTn id="51" presetID="42" presetClass="path" presetSubtype="0" accel="50000" decel="50000" fill="hold" grpId="2" nodeType="clickEffect">
                                      <p:stCondLst>
                                        <p:cond delay="0"/>
                                      </p:stCondLst>
                                      <p:childTnLst>
                                        <p:animMotion origin="layout" path="M -8.33333E-7 -0.25023 L -8.33333E-7 4.44444E-6 " pathEditMode="relative" rAng="0" ptsTypes="AA">
                                          <p:cBhvr>
                                            <p:cTn id="52" dur="2000" fill="hold"/>
                                            <p:tgtEl>
                                              <p:spTgt spid="23"/>
                                            </p:tgtEl>
                                            <p:attrNameLst>
                                              <p:attrName>ppt_x</p:attrName>
                                              <p:attrName>ppt_y</p:attrName>
                                            </p:attrNameLst>
                                          </p:cBhvr>
                                          <p:rCtr x="0" y="125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15" grpId="0"/>
          <p:bldP spid="16" grpId="0"/>
          <p:bldP spid="17" grpId="0"/>
          <p:bldP spid="23" grpId="0" animBg="1"/>
          <p:bldP spid="23" grpId="1" animBg="1"/>
          <p:bldP spid="23" grpId="2"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par>
                                    <p:cTn id="10" presetID="2" presetClass="entr" presetSubtype="4" fill="hold" nodeType="withEffect">
                                      <p:stCondLst>
                                        <p:cond delay="300"/>
                                      </p:stCondLst>
                                      <p:childTnLst>
                                        <p:set>
                                          <p:cBhvr>
                                            <p:cTn id="11" dur="1" fill="hold">
                                              <p:stCondLst>
                                                <p:cond delay="0"/>
                                              </p:stCondLst>
                                            </p:cTn>
                                            <p:tgtEl>
                                              <p:spTgt spid="49"/>
                                            </p:tgtEl>
                                            <p:attrNameLst>
                                              <p:attrName>style.visibility</p:attrName>
                                            </p:attrNameLst>
                                          </p:cBhvr>
                                          <p:to>
                                            <p:strVal val="visible"/>
                                          </p:to>
                                        </p:set>
                                        <p:anim calcmode="lin" valueType="num">
                                          <p:cBhvr additive="base">
                                            <p:cTn id="12" dur="500" fill="hold"/>
                                            <p:tgtEl>
                                              <p:spTgt spid="49"/>
                                            </p:tgtEl>
                                            <p:attrNameLst>
                                              <p:attrName>ppt_x</p:attrName>
                                            </p:attrNameLst>
                                          </p:cBhvr>
                                          <p:tavLst>
                                            <p:tav tm="0">
                                              <p:val>
                                                <p:strVal val="#ppt_x"/>
                                              </p:val>
                                            </p:tav>
                                            <p:tav tm="100000">
                                              <p:val>
                                                <p:strVal val="#ppt_x"/>
                                              </p:val>
                                            </p:tav>
                                          </p:tavLst>
                                        </p:anim>
                                        <p:anim calcmode="lin" valueType="num">
                                          <p:cBhvr additive="base">
                                            <p:cTn id="13" dur="500" fill="hold"/>
                                            <p:tgtEl>
                                              <p:spTgt spid="49"/>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30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500" fill="hold"/>
                                            <p:tgtEl>
                                              <p:spTgt spid="4"/>
                                            </p:tgtEl>
                                            <p:attrNameLst>
                                              <p:attrName>ppt_x</p:attrName>
                                            </p:attrNameLst>
                                          </p:cBhvr>
                                          <p:tavLst>
                                            <p:tav tm="0">
                                              <p:val>
                                                <p:strVal val="#ppt_x"/>
                                              </p:val>
                                            </p:tav>
                                            <p:tav tm="100000">
                                              <p:val>
                                                <p:strVal val="#ppt_x"/>
                                              </p:val>
                                            </p:tav>
                                          </p:tavLst>
                                        </p:anim>
                                        <p:anim calcmode="lin" valueType="num">
                                          <p:cBhvr additive="base">
                                            <p:cTn id="17" dur="500" fill="hold"/>
                                            <p:tgtEl>
                                              <p:spTgt spid="4"/>
                                            </p:tgtEl>
                                            <p:attrNameLst>
                                              <p:attrName>ppt_y</p:attrName>
                                            </p:attrNameLst>
                                          </p:cBhvr>
                                          <p:tavLst>
                                            <p:tav tm="0">
                                              <p:val>
                                                <p:strVal val="1+#ppt_h/2"/>
                                              </p:val>
                                            </p:tav>
                                            <p:tav tm="100000">
                                              <p:val>
                                                <p:strVal val="#ppt_y"/>
                                              </p:val>
                                            </p:tav>
                                          </p:tavLst>
                                        </p:anim>
                                      </p:childTnLst>
                                    </p:cTn>
                                  </p:par>
                                  <p:par>
                                    <p:cTn id="18" presetID="10" presetClass="entr" presetSubtype="0" fill="hold" nodeType="withEffect">
                                      <p:stCondLst>
                                        <p:cond delay="3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1500"/>
                                            <p:tgtEl>
                                              <p:spTgt spid="21"/>
                                            </p:tgtEl>
                                          </p:cBhvr>
                                        </p:animEffect>
                                      </p:childTnLst>
                                    </p:cTn>
                                  </p:par>
                                  <p:par>
                                    <p:cTn id="21" presetID="10" presetClass="entr" presetSubtype="0" fill="hold" nodeType="withEffect">
                                      <p:stCondLst>
                                        <p:cond delay="30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2" presetClass="entr" presetSubtype="8" accel="10000" fill="hold" grpId="0" nodeType="withEffect">
                                      <p:stCondLst>
                                        <p:cond delay="60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0-#ppt_w/2"/>
                                              </p:val>
                                            </p:tav>
                                            <p:tav tm="100000">
                                              <p:val>
                                                <p:strVal val="#ppt_x"/>
                                              </p:val>
                                            </p:tav>
                                          </p:tavLst>
                                        </p:anim>
                                        <p:anim calcmode="lin" valueType="num">
                                          <p:cBhvr additive="base">
                                            <p:cTn id="27" dur="500" fill="hold"/>
                                            <p:tgtEl>
                                              <p:spTgt spid="8"/>
                                            </p:tgtEl>
                                            <p:attrNameLst>
                                              <p:attrName>ppt_y</p:attrName>
                                            </p:attrNameLst>
                                          </p:cBhvr>
                                          <p:tavLst>
                                            <p:tav tm="0">
                                              <p:val>
                                                <p:strVal val="#ppt_y"/>
                                              </p:val>
                                            </p:tav>
                                            <p:tav tm="100000">
                                              <p:val>
                                                <p:strVal val="#ppt_y"/>
                                              </p:val>
                                            </p:tav>
                                          </p:tavLst>
                                        </p:anim>
                                      </p:childTnLst>
                                    </p:cTn>
                                  </p:par>
                                  <p:par>
                                    <p:cTn id="28" presetID="2" presetClass="entr" presetSubtype="8" accel="10000" fill="hold" grpId="0" nodeType="withEffect">
                                      <p:stCondLst>
                                        <p:cond delay="900"/>
                                      </p:stCondLst>
                                      <p:childTnLst>
                                        <p:set>
                                          <p:cBhvr>
                                            <p:cTn id="29" dur="1" fill="hold">
                                              <p:stCondLst>
                                                <p:cond delay="0"/>
                                              </p:stCondLst>
                                            </p:cTn>
                                            <p:tgtEl>
                                              <p:spTgt spid="15"/>
                                            </p:tgtEl>
                                            <p:attrNameLst>
                                              <p:attrName>style.visibility</p:attrName>
                                            </p:attrNameLst>
                                          </p:cBhvr>
                                          <p:to>
                                            <p:strVal val="visible"/>
                                          </p:to>
                                        </p:set>
                                        <p:anim calcmode="lin" valueType="num">
                                          <p:cBhvr additive="base">
                                            <p:cTn id="30" dur="500" fill="hold"/>
                                            <p:tgtEl>
                                              <p:spTgt spid="15"/>
                                            </p:tgtEl>
                                            <p:attrNameLst>
                                              <p:attrName>ppt_x</p:attrName>
                                            </p:attrNameLst>
                                          </p:cBhvr>
                                          <p:tavLst>
                                            <p:tav tm="0">
                                              <p:val>
                                                <p:strVal val="0-#ppt_w/2"/>
                                              </p:val>
                                            </p:tav>
                                            <p:tav tm="100000">
                                              <p:val>
                                                <p:strVal val="#ppt_x"/>
                                              </p:val>
                                            </p:tav>
                                          </p:tavLst>
                                        </p:anim>
                                        <p:anim calcmode="lin" valueType="num">
                                          <p:cBhvr additive="base">
                                            <p:cTn id="31" dur="500" fill="hold"/>
                                            <p:tgtEl>
                                              <p:spTgt spid="15"/>
                                            </p:tgtEl>
                                            <p:attrNameLst>
                                              <p:attrName>ppt_y</p:attrName>
                                            </p:attrNameLst>
                                          </p:cBhvr>
                                          <p:tavLst>
                                            <p:tav tm="0">
                                              <p:val>
                                                <p:strVal val="#ppt_y"/>
                                              </p:val>
                                            </p:tav>
                                            <p:tav tm="100000">
                                              <p:val>
                                                <p:strVal val="#ppt_y"/>
                                              </p:val>
                                            </p:tav>
                                          </p:tavLst>
                                        </p:anim>
                                      </p:childTnLst>
                                    </p:cTn>
                                  </p:par>
                                  <p:par>
                                    <p:cTn id="32" presetID="2" presetClass="entr" presetSubtype="8" accel="10000" fill="hold" grpId="0" nodeType="withEffect">
                                      <p:stCondLst>
                                        <p:cond delay="1100"/>
                                      </p:stCondLst>
                                      <p:childTnLst>
                                        <p:set>
                                          <p:cBhvr>
                                            <p:cTn id="33" dur="1" fill="hold">
                                              <p:stCondLst>
                                                <p:cond delay="0"/>
                                              </p:stCondLst>
                                            </p:cTn>
                                            <p:tgtEl>
                                              <p:spTgt spid="16"/>
                                            </p:tgtEl>
                                            <p:attrNameLst>
                                              <p:attrName>style.visibility</p:attrName>
                                            </p:attrNameLst>
                                          </p:cBhvr>
                                          <p:to>
                                            <p:strVal val="visible"/>
                                          </p:to>
                                        </p:set>
                                        <p:anim calcmode="lin" valueType="num">
                                          <p:cBhvr additive="base">
                                            <p:cTn id="34" dur="500" fill="hold"/>
                                            <p:tgtEl>
                                              <p:spTgt spid="16"/>
                                            </p:tgtEl>
                                            <p:attrNameLst>
                                              <p:attrName>ppt_x</p:attrName>
                                            </p:attrNameLst>
                                          </p:cBhvr>
                                          <p:tavLst>
                                            <p:tav tm="0">
                                              <p:val>
                                                <p:strVal val="0-#ppt_w/2"/>
                                              </p:val>
                                            </p:tav>
                                            <p:tav tm="100000">
                                              <p:val>
                                                <p:strVal val="#ppt_x"/>
                                              </p:val>
                                            </p:tav>
                                          </p:tavLst>
                                        </p:anim>
                                        <p:anim calcmode="lin" valueType="num">
                                          <p:cBhvr additive="base">
                                            <p:cTn id="35" dur="500" fill="hold"/>
                                            <p:tgtEl>
                                              <p:spTgt spid="16"/>
                                            </p:tgtEl>
                                            <p:attrNameLst>
                                              <p:attrName>ppt_y</p:attrName>
                                            </p:attrNameLst>
                                          </p:cBhvr>
                                          <p:tavLst>
                                            <p:tav tm="0">
                                              <p:val>
                                                <p:strVal val="#ppt_y"/>
                                              </p:val>
                                            </p:tav>
                                            <p:tav tm="100000">
                                              <p:val>
                                                <p:strVal val="#ppt_y"/>
                                              </p:val>
                                            </p:tav>
                                          </p:tavLst>
                                        </p:anim>
                                      </p:childTnLst>
                                    </p:cTn>
                                  </p:par>
                                  <p:par>
                                    <p:cTn id="36" presetID="2" presetClass="entr" presetSubtype="8" accel="10000" fill="hold" grpId="0" nodeType="withEffect">
                                      <p:stCondLst>
                                        <p:cond delay="1300"/>
                                      </p:stCondLst>
                                      <p:childTnLst>
                                        <p:set>
                                          <p:cBhvr>
                                            <p:cTn id="37" dur="1" fill="hold">
                                              <p:stCondLst>
                                                <p:cond delay="0"/>
                                              </p:stCondLst>
                                            </p:cTn>
                                            <p:tgtEl>
                                              <p:spTgt spid="17"/>
                                            </p:tgtEl>
                                            <p:attrNameLst>
                                              <p:attrName>style.visibility</p:attrName>
                                            </p:attrNameLst>
                                          </p:cBhvr>
                                          <p:to>
                                            <p:strVal val="visible"/>
                                          </p:to>
                                        </p:set>
                                        <p:anim calcmode="lin" valueType="num">
                                          <p:cBhvr additive="base">
                                            <p:cTn id="38" dur="500" fill="hold"/>
                                            <p:tgtEl>
                                              <p:spTgt spid="17"/>
                                            </p:tgtEl>
                                            <p:attrNameLst>
                                              <p:attrName>ppt_x</p:attrName>
                                            </p:attrNameLst>
                                          </p:cBhvr>
                                          <p:tavLst>
                                            <p:tav tm="0">
                                              <p:val>
                                                <p:strVal val="0-#ppt_w/2"/>
                                              </p:val>
                                            </p:tav>
                                            <p:tav tm="100000">
                                              <p:val>
                                                <p:strVal val="#ppt_x"/>
                                              </p:val>
                                            </p:tav>
                                          </p:tavLst>
                                        </p:anim>
                                        <p:anim calcmode="lin" valueType="num">
                                          <p:cBhvr additive="base">
                                            <p:cTn id="39"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path" presetSubtype="0" accel="50000" decel="50000" fill="hold" grpId="1" nodeType="clickEffect">
                                      <p:stCondLst>
                                        <p:cond delay="0"/>
                                      </p:stCondLst>
                                      <p:childTnLst>
                                        <p:animMotion origin="layout" path="M -8.33333E-7 -4.07407E-6 L -8.33333E-7 -0.25023 " pathEditMode="relative" rAng="0" ptsTypes="AA">
                                          <p:cBhvr>
                                            <p:cTn id="48" dur="2000" fill="hold"/>
                                            <p:tgtEl>
                                              <p:spTgt spid="23"/>
                                            </p:tgtEl>
                                            <p:attrNameLst>
                                              <p:attrName>ppt_x</p:attrName>
                                              <p:attrName>ppt_y</p:attrName>
                                            </p:attrNameLst>
                                          </p:cBhvr>
                                          <p:rCtr x="0" y="-12523"/>
                                        </p:animMotion>
                                      </p:childTnLst>
                                    </p:cTn>
                                  </p:par>
                                </p:childTnLst>
                              </p:cTn>
                            </p:par>
                          </p:childTnLst>
                        </p:cTn>
                      </p:par>
                      <p:par>
                        <p:cTn id="49" fill="hold">
                          <p:stCondLst>
                            <p:cond delay="indefinite"/>
                          </p:stCondLst>
                          <p:childTnLst>
                            <p:par>
                              <p:cTn id="50" fill="hold">
                                <p:stCondLst>
                                  <p:cond delay="0"/>
                                </p:stCondLst>
                                <p:childTnLst>
                                  <p:par>
                                    <p:cTn id="51" presetID="42" presetClass="path" presetSubtype="0" accel="50000" decel="50000" fill="hold" grpId="2" nodeType="clickEffect">
                                      <p:stCondLst>
                                        <p:cond delay="0"/>
                                      </p:stCondLst>
                                      <p:childTnLst>
                                        <p:animMotion origin="layout" path="M -8.33333E-7 -0.25023 L -8.33333E-7 4.44444E-6 " pathEditMode="relative" rAng="0" ptsTypes="AA">
                                          <p:cBhvr>
                                            <p:cTn id="52" dur="2000" fill="hold"/>
                                            <p:tgtEl>
                                              <p:spTgt spid="23"/>
                                            </p:tgtEl>
                                            <p:attrNameLst>
                                              <p:attrName>ppt_x</p:attrName>
                                              <p:attrName>ppt_y</p:attrName>
                                            </p:attrNameLst>
                                          </p:cBhvr>
                                          <p:rCtr x="0" y="125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15" grpId="0"/>
          <p:bldP spid="16" grpId="0"/>
          <p:bldP spid="17" grpId="0"/>
          <p:bldP spid="23" grpId="0" animBg="1"/>
          <p:bldP spid="23" grpId="1" animBg="1"/>
          <p:bldP spid="23" grpId="2" animBg="1"/>
        </p:bldLst>
      </p:timing>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iṡḻïḋe">
            <a:extLst>
              <a:ext uri="{FF2B5EF4-FFF2-40B4-BE49-F238E27FC236}">
                <a16:creationId xmlns:a16="http://schemas.microsoft.com/office/drawing/2014/main" id="{93F3D345-D1F4-4C55-89DC-47787425AF10}"/>
              </a:ext>
            </a:extLst>
          </p:cNvPr>
          <p:cNvGrpSpPr/>
          <p:nvPr/>
        </p:nvGrpSpPr>
        <p:grpSpPr>
          <a:xfrm>
            <a:off x="2707" y="3991452"/>
            <a:ext cx="12720793" cy="2879999"/>
            <a:chOff x="46671" y="3991451"/>
            <a:chExt cx="12720795" cy="2880000"/>
          </a:xfrm>
          <a:solidFill>
            <a:schemeClr val="bg1">
              <a:lumMod val="95000"/>
            </a:schemeClr>
          </a:solidFill>
        </p:grpSpPr>
        <p:sp>
          <p:nvSpPr>
            <p:cNvPr id="42" name="i$ḻîḑê">
              <a:extLst>
                <a:ext uri="{FF2B5EF4-FFF2-40B4-BE49-F238E27FC236}">
                  <a16:creationId xmlns:a16="http://schemas.microsoft.com/office/drawing/2014/main" id="{0AB58688-EBEC-4937-8B8F-C2462A65298F}"/>
                </a:ext>
              </a:extLst>
            </p:cNvPr>
            <p:cNvSpPr/>
            <p:nvPr/>
          </p:nvSpPr>
          <p:spPr bwMode="auto">
            <a:xfrm>
              <a:off x="9310762" y="4302880"/>
              <a:ext cx="2018841" cy="2508570"/>
            </a:xfrm>
            <a:custGeom>
              <a:avLst/>
              <a:gdLst/>
              <a:ahLst/>
              <a:cxnLst>
                <a:cxn ang="0">
                  <a:pos x="912" y="878"/>
                </a:cxn>
                <a:cxn ang="0">
                  <a:pos x="912" y="492"/>
                </a:cxn>
                <a:cxn ang="0">
                  <a:pos x="449" y="492"/>
                </a:cxn>
                <a:cxn ang="0">
                  <a:pos x="449" y="117"/>
                </a:cxn>
                <a:cxn ang="0">
                  <a:pos x="336" y="0"/>
                </a:cxn>
                <a:cxn ang="0">
                  <a:pos x="190" y="147"/>
                </a:cxn>
                <a:cxn ang="0">
                  <a:pos x="190" y="392"/>
                </a:cxn>
                <a:cxn ang="0">
                  <a:pos x="102" y="392"/>
                </a:cxn>
                <a:cxn ang="0">
                  <a:pos x="102" y="508"/>
                </a:cxn>
                <a:cxn ang="0">
                  <a:pos x="0" y="508"/>
                </a:cxn>
                <a:cxn ang="0">
                  <a:pos x="0" y="878"/>
                </a:cxn>
                <a:cxn ang="0">
                  <a:pos x="912" y="878"/>
                </a:cxn>
              </a:cxnLst>
              <a:rect l="0" t="0" r="r" b="b"/>
              <a:pathLst>
                <a:path w="912" h="878">
                  <a:moveTo>
                    <a:pt x="912" y="878"/>
                  </a:moveTo>
                  <a:lnTo>
                    <a:pt x="912" y="492"/>
                  </a:lnTo>
                  <a:lnTo>
                    <a:pt x="449" y="492"/>
                  </a:lnTo>
                  <a:lnTo>
                    <a:pt x="449" y="117"/>
                  </a:lnTo>
                  <a:lnTo>
                    <a:pt x="336" y="0"/>
                  </a:lnTo>
                  <a:lnTo>
                    <a:pt x="190" y="147"/>
                  </a:lnTo>
                  <a:lnTo>
                    <a:pt x="190" y="392"/>
                  </a:lnTo>
                  <a:lnTo>
                    <a:pt x="102" y="392"/>
                  </a:lnTo>
                  <a:lnTo>
                    <a:pt x="102" y="508"/>
                  </a:lnTo>
                  <a:lnTo>
                    <a:pt x="0" y="508"/>
                  </a:lnTo>
                  <a:lnTo>
                    <a:pt x="0" y="878"/>
                  </a:lnTo>
                  <a:lnTo>
                    <a:pt x="912" y="878"/>
                  </a:lnTo>
                  <a:close/>
                </a:path>
              </a:pathLst>
            </a:custGeom>
            <a:grpFill/>
            <a:ln w="9525">
              <a:noFill/>
              <a:round/>
              <a:headEnd/>
              <a:tailEnd/>
            </a:ln>
          </p:spPr>
          <p:txBody>
            <a:bodyPr wrap="square" lIns="91440" tIns="45720" rIns="91440" bIns="45720" anchor="ctr">
              <a:normAutofit/>
            </a:bodyPr>
            <a:lstStyle/>
            <a:p>
              <a:pPr algn="ctr"/>
              <a:endParaRPr/>
            </a:p>
          </p:txBody>
        </p:sp>
        <p:grpSp>
          <p:nvGrpSpPr>
            <p:cNvPr id="43" name="îṡlíḑe">
              <a:extLst>
                <a:ext uri="{FF2B5EF4-FFF2-40B4-BE49-F238E27FC236}">
                  <a16:creationId xmlns:a16="http://schemas.microsoft.com/office/drawing/2014/main" id="{EEFEB8CE-36FE-49E2-9889-97458DD0026A}"/>
                </a:ext>
              </a:extLst>
            </p:cNvPr>
            <p:cNvGrpSpPr/>
            <p:nvPr/>
          </p:nvGrpSpPr>
          <p:grpSpPr>
            <a:xfrm>
              <a:off x="46671" y="3991451"/>
              <a:ext cx="12720795" cy="2880000"/>
              <a:chOff x="19050" y="2343150"/>
              <a:chExt cx="9122640" cy="1600201"/>
            </a:xfrm>
            <a:grpFill/>
          </p:grpSpPr>
          <p:sp>
            <p:nvSpPr>
              <p:cNvPr id="44" name="ï$1îḑè">
                <a:extLst>
                  <a:ext uri="{FF2B5EF4-FFF2-40B4-BE49-F238E27FC236}">
                    <a16:creationId xmlns:a16="http://schemas.microsoft.com/office/drawing/2014/main" id="{0348ABFE-2DED-4E79-87A1-44DFA61A82A1}"/>
                  </a:ext>
                </a:extLst>
              </p:cNvPr>
              <p:cNvSpPr/>
              <p:nvPr/>
            </p:nvSpPr>
            <p:spPr bwMode="auto">
              <a:xfrm>
                <a:off x="7540625" y="2362200"/>
                <a:ext cx="1203325" cy="1547813"/>
              </a:xfrm>
              <a:custGeom>
                <a:avLst/>
                <a:gdLst/>
                <a:ahLst/>
                <a:cxnLst>
                  <a:cxn ang="0">
                    <a:pos x="327" y="419"/>
                  </a:cxn>
                  <a:cxn ang="0">
                    <a:pos x="327" y="218"/>
                  </a:cxn>
                  <a:cxn ang="0">
                    <a:pos x="187" y="218"/>
                  </a:cxn>
                  <a:cxn ang="0">
                    <a:pos x="187" y="121"/>
                  </a:cxn>
                  <a:cxn ang="0">
                    <a:pos x="136" y="121"/>
                  </a:cxn>
                  <a:cxn ang="0">
                    <a:pos x="136" y="0"/>
                  </a:cxn>
                  <a:cxn ang="0">
                    <a:pos x="64" y="0"/>
                  </a:cxn>
                  <a:cxn ang="0">
                    <a:pos x="64" y="128"/>
                  </a:cxn>
                  <a:cxn ang="0">
                    <a:pos x="7" y="128"/>
                  </a:cxn>
                  <a:cxn ang="0">
                    <a:pos x="7" y="279"/>
                  </a:cxn>
                  <a:cxn ang="0">
                    <a:pos x="0" y="419"/>
                  </a:cxn>
                  <a:cxn ang="0">
                    <a:pos x="327" y="419"/>
                  </a:cxn>
                </a:cxnLst>
                <a:rect l="0" t="0" r="r" b="b"/>
                <a:pathLst>
                  <a:path w="327" h="419">
                    <a:moveTo>
                      <a:pt x="327" y="419"/>
                    </a:moveTo>
                    <a:cubicBezTo>
                      <a:pt x="327" y="218"/>
                      <a:pt x="327" y="218"/>
                      <a:pt x="327" y="218"/>
                    </a:cubicBezTo>
                    <a:cubicBezTo>
                      <a:pt x="327" y="222"/>
                      <a:pt x="187" y="218"/>
                      <a:pt x="187" y="218"/>
                    </a:cubicBezTo>
                    <a:cubicBezTo>
                      <a:pt x="187" y="121"/>
                      <a:pt x="187" y="121"/>
                      <a:pt x="187" y="121"/>
                    </a:cubicBezTo>
                    <a:cubicBezTo>
                      <a:pt x="136" y="121"/>
                      <a:pt x="136" y="121"/>
                      <a:pt x="136" y="121"/>
                    </a:cubicBezTo>
                    <a:cubicBezTo>
                      <a:pt x="136" y="0"/>
                      <a:pt x="136" y="0"/>
                      <a:pt x="136" y="0"/>
                    </a:cubicBezTo>
                    <a:cubicBezTo>
                      <a:pt x="64" y="0"/>
                      <a:pt x="64" y="0"/>
                      <a:pt x="64" y="0"/>
                    </a:cubicBezTo>
                    <a:cubicBezTo>
                      <a:pt x="64" y="128"/>
                      <a:pt x="64" y="128"/>
                      <a:pt x="64" y="128"/>
                    </a:cubicBezTo>
                    <a:cubicBezTo>
                      <a:pt x="7" y="128"/>
                      <a:pt x="7" y="128"/>
                      <a:pt x="7" y="128"/>
                    </a:cubicBezTo>
                    <a:cubicBezTo>
                      <a:pt x="7" y="279"/>
                      <a:pt x="7" y="279"/>
                      <a:pt x="7" y="279"/>
                    </a:cubicBezTo>
                    <a:cubicBezTo>
                      <a:pt x="7" y="274"/>
                      <a:pt x="2" y="372"/>
                      <a:pt x="0" y="419"/>
                    </a:cubicBezTo>
                    <a:lnTo>
                      <a:pt x="327" y="419"/>
                    </a:lnTo>
                    <a:close/>
                  </a:path>
                </a:pathLst>
              </a:custGeom>
              <a:grpFill/>
              <a:ln w="9525">
                <a:noFill/>
                <a:round/>
                <a:headEnd/>
                <a:tailEnd/>
              </a:ln>
            </p:spPr>
            <p:txBody>
              <a:bodyPr wrap="square" lIns="91440" tIns="45720" rIns="91440" bIns="45720" anchor="ctr">
                <a:normAutofit/>
              </a:bodyPr>
              <a:lstStyle/>
              <a:p>
                <a:pPr algn="ctr"/>
                <a:endParaRPr/>
              </a:p>
            </p:txBody>
          </p:sp>
          <p:grpSp>
            <p:nvGrpSpPr>
              <p:cNvPr id="45" name="íš1íḑé">
                <a:extLst>
                  <a:ext uri="{FF2B5EF4-FFF2-40B4-BE49-F238E27FC236}">
                    <a16:creationId xmlns:a16="http://schemas.microsoft.com/office/drawing/2014/main" id="{9DEC56AA-3638-4C3A-A1BE-47EEFDBC1923}"/>
                  </a:ext>
                </a:extLst>
              </p:cNvPr>
              <p:cNvGrpSpPr/>
              <p:nvPr/>
            </p:nvGrpSpPr>
            <p:grpSpPr>
              <a:xfrm>
                <a:off x="19050" y="2343150"/>
                <a:ext cx="9122640" cy="1600201"/>
                <a:chOff x="19050" y="2343150"/>
                <a:chExt cx="9122640" cy="1600201"/>
              </a:xfrm>
              <a:grpFill/>
            </p:grpSpPr>
            <p:sp>
              <p:nvSpPr>
                <p:cNvPr id="46" name="ïşļiḍê">
                  <a:extLst>
                    <a:ext uri="{FF2B5EF4-FFF2-40B4-BE49-F238E27FC236}">
                      <a16:creationId xmlns:a16="http://schemas.microsoft.com/office/drawing/2014/main" id="{9A995A4B-25F3-4741-BDD4-CC72CD97EB31}"/>
                    </a:ext>
                  </a:extLst>
                </p:cNvPr>
                <p:cNvSpPr/>
                <p:nvPr/>
              </p:nvSpPr>
              <p:spPr bwMode="auto">
                <a:xfrm>
                  <a:off x="5934075" y="2343150"/>
                  <a:ext cx="1827213" cy="1566863"/>
                </a:xfrm>
                <a:custGeom>
                  <a:avLst/>
                  <a:gdLst/>
                  <a:ahLst/>
                  <a:cxnLst>
                    <a:cxn ang="0">
                      <a:pos x="288" y="424"/>
                    </a:cxn>
                    <a:cxn ang="0">
                      <a:pos x="360" y="352"/>
                    </a:cxn>
                    <a:cxn ang="0">
                      <a:pos x="452" y="260"/>
                    </a:cxn>
                    <a:cxn ang="0">
                      <a:pos x="452" y="135"/>
                    </a:cxn>
                    <a:cxn ang="0">
                      <a:pos x="497" y="135"/>
                    </a:cxn>
                    <a:cxn ang="0">
                      <a:pos x="497" y="106"/>
                    </a:cxn>
                    <a:cxn ang="0">
                      <a:pos x="450" y="106"/>
                    </a:cxn>
                    <a:cxn ang="0">
                      <a:pos x="450" y="18"/>
                    </a:cxn>
                    <a:cxn ang="0">
                      <a:pos x="432" y="18"/>
                    </a:cxn>
                    <a:cxn ang="0">
                      <a:pos x="432" y="0"/>
                    </a:cxn>
                    <a:cxn ang="0">
                      <a:pos x="374" y="0"/>
                    </a:cxn>
                    <a:cxn ang="0">
                      <a:pos x="374" y="18"/>
                    </a:cxn>
                    <a:cxn ang="0">
                      <a:pos x="351" y="18"/>
                    </a:cxn>
                    <a:cxn ang="0">
                      <a:pos x="351" y="110"/>
                    </a:cxn>
                    <a:cxn ang="0">
                      <a:pos x="282" y="180"/>
                    </a:cxn>
                    <a:cxn ang="0">
                      <a:pos x="259" y="180"/>
                    </a:cxn>
                    <a:cxn ang="0">
                      <a:pos x="259" y="128"/>
                    </a:cxn>
                    <a:cxn ang="0">
                      <a:pos x="238" y="128"/>
                    </a:cxn>
                    <a:cxn ang="0">
                      <a:pos x="238" y="107"/>
                    </a:cxn>
                    <a:cxn ang="0">
                      <a:pos x="201" y="107"/>
                    </a:cxn>
                    <a:cxn ang="0">
                      <a:pos x="201" y="128"/>
                    </a:cxn>
                    <a:cxn ang="0">
                      <a:pos x="189" y="128"/>
                    </a:cxn>
                    <a:cxn ang="0">
                      <a:pos x="189" y="205"/>
                    </a:cxn>
                    <a:cxn ang="0">
                      <a:pos x="151" y="205"/>
                    </a:cxn>
                    <a:cxn ang="0">
                      <a:pos x="151" y="32"/>
                    </a:cxn>
                    <a:cxn ang="0">
                      <a:pos x="122" y="32"/>
                    </a:cxn>
                    <a:cxn ang="0">
                      <a:pos x="122" y="234"/>
                    </a:cxn>
                    <a:cxn ang="0">
                      <a:pos x="102" y="234"/>
                    </a:cxn>
                    <a:cxn ang="0">
                      <a:pos x="102" y="105"/>
                    </a:cxn>
                    <a:cxn ang="0">
                      <a:pos x="88" y="105"/>
                    </a:cxn>
                    <a:cxn ang="0">
                      <a:pos x="88" y="83"/>
                    </a:cxn>
                    <a:cxn ang="0">
                      <a:pos x="15" y="83"/>
                    </a:cxn>
                    <a:cxn ang="0">
                      <a:pos x="15" y="106"/>
                    </a:cxn>
                    <a:cxn ang="0">
                      <a:pos x="0" y="106"/>
                    </a:cxn>
                    <a:cxn ang="0">
                      <a:pos x="0" y="166"/>
                    </a:cxn>
                    <a:cxn ang="0">
                      <a:pos x="35" y="424"/>
                    </a:cxn>
                    <a:cxn ang="0">
                      <a:pos x="288" y="424"/>
                    </a:cxn>
                  </a:cxnLst>
                  <a:rect l="0" t="0" r="r" b="b"/>
                  <a:pathLst>
                    <a:path w="497" h="424">
                      <a:moveTo>
                        <a:pt x="288" y="424"/>
                      </a:moveTo>
                      <a:cubicBezTo>
                        <a:pt x="360" y="352"/>
                        <a:pt x="360" y="352"/>
                        <a:pt x="360" y="352"/>
                      </a:cubicBezTo>
                      <a:cubicBezTo>
                        <a:pt x="452" y="260"/>
                        <a:pt x="452" y="260"/>
                        <a:pt x="452" y="260"/>
                      </a:cubicBezTo>
                      <a:cubicBezTo>
                        <a:pt x="452" y="135"/>
                        <a:pt x="452" y="135"/>
                        <a:pt x="452" y="135"/>
                      </a:cubicBezTo>
                      <a:cubicBezTo>
                        <a:pt x="497" y="135"/>
                        <a:pt x="497" y="135"/>
                        <a:pt x="497" y="135"/>
                      </a:cubicBezTo>
                      <a:cubicBezTo>
                        <a:pt x="497" y="106"/>
                        <a:pt x="497" y="106"/>
                        <a:pt x="497" y="106"/>
                      </a:cubicBezTo>
                      <a:cubicBezTo>
                        <a:pt x="450" y="106"/>
                        <a:pt x="450" y="106"/>
                        <a:pt x="450" y="106"/>
                      </a:cubicBezTo>
                      <a:cubicBezTo>
                        <a:pt x="450" y="18"/>
                        <a:pt x="450" y="18"/>
                        <a:pt x="450" y="18"/>
                      </a:cubicBezTo>
                      <a:cubicBezTo>
                        <a:pt x="432" y="18"/>
                        <a:pt x="432" y="18"/>
                        <a:pt x="432" y="18"/>
                      </a:cubicBezTo>
                      <a:cubicBezTo>
                        <a:pt x="432" y="0"/>
                        <a:pt x="432" y="0"/>
                        <a:pt x="432" y="0"/>
                      </a:cubicBezTo>
                      <a:cubicBezTo>
                        <a:pt x="374" y="0"/>
                        <a:pt x="374" y="0"/>
                        <a:pt x="374" y="0"/>
                      </a:cubicBezTo>
                      <a:cubicBezTo>
                        <a:pt x="374" y="18"/>
                        <a:pt x="374" y="18"/>
                        <a:pt x="374" y="18"/>
                      </a:cubicBezTo>
                      <a:cubicBezTo>
                        <a:pt x="351" y="18"/>
                        <a:pt x="351" y="18"/>
                        <a:pt x="351" y="18"/>
                      </a:cubicBezTo>
                      <a:cubicBezTo>
                        <a:pt x="351" y="110"/>
                        <a:pt x="351" y="110"/>
                        <a:pt x="351" y="110"/>
                      </a:cubicBezTo>
                      <a:cubicBezTo>
                        <a:pt x="282" y="180"/>
                        <a:pt x="282" y="180"/>
                        <a:pt x="282" y="180"/>
                      </a:cubicBezTo>
                      <a:cubicBezTo>
                        <a:pt x="259" y="180"/>
                        <a:pt x="259" y="180"/>
                        <a:pt x="259" y="180"/>
                      </a:cubicBezTo>
                      <a:cubicBezTo>
                        <a:pt x="259" y="128"/>
                        <a:pt x="259" y="128"/>
                        <a:pt x="259" y="128"/>
                      </a:cubicBezTo>
                      <a:cubicBezTo>
                        <a:pt x="238" y="128"/>
                        <a:pt x="238" y="128"/>
                        <a:pt x="238" y="128"/>
                      </a:cubicBezTo>
                      <a:cubicBezTo>
                        <a:pt x="238" y="107"/>
                        <a:pt x="238" y="107"/>
                        <a:pt x="238" y="107"/>
                      </a:cubicBezTo>
                      <a:cubicBezTo>
                        <a:pt x="201" y="107"/>
                        <a:pt x="201" y="107"/>
                        <a:pt x="201" y="107"/>
                      </a:cubicBezTo>
                      <a:cubicBezTo>
                        <a:pt x="201" y="128"/>
                        <a:pt x="201" y="128"/>
                        <a:pt x="201" y="128"/>
                      </a:cubicBezTo>
                      <a:cubicBezTo>
                        <a:pt x="189" y="128"/>
                        <a:pt x="189" y="128"/>
                        <a:pt x="189" y="128"/>
                      </a:cubicBezTo>
                      <a:cubicBezTo>
                        <a:pt x="189" y="205"/>
                        <a:pt x="189" y="205"/>
                        <a:pt x="189" y="205"/>
                      </a:cubicBezTo>
                      <a:cubicBezTo>
                        <a:pt x="151" y="205"/>
                        <a:pt x="151" y="205"/>
                        <a:pt x="151" y="205"/>
                      </a:cubicBezTo>
                      <a:cubicBezTo>
                        <a:pt x="151" y="205"/>
                        <a:pt x="151" y="33"/>
                        <a:pt x="151" y="32"/>
                      </a:cubicBezTo>
                      <a:cubicBezTo>
                        <a:pt x="151" y="31"/>
                        <a:pt x="122" y="32"/>
                        <a:pt x="122" y="32"/>
                      </a:cubicBezTo>
                      <a:cubicBezTo>
                        <a:pt x="122" y="234"/>
                        <a:pt x="122" y="234"/>
                        <a:pt x="122" y="234"/>
                      </a:cubicBezTo>
                      <a:cubicBezTo>
                        <a:pt x="102" y="234"/>
                        <a:pt x="102" y="234"/>
                        <a:pt x="102" y="234"/>
                      </a:cubicBezTo>
                      <a:cubicBezTo>
                        <a:pt x="102" y="105"/>
                        <a:pt x="102" y="105"/>
                        <a:pt x="102" y="105"/>
                      </a:cubicBezTo>
                      <a:cubicBezTo>
                        <a:pt x="88" y="105"/>
                        <a:pt x="88" y="105"/>
                        <a:pt x="88" y="105"/>
                      </a:cubicBezTo>
                      <a:cubicBezTo>
                        <a:pt x="88" y="83"/>
                        <a:pt x="88" y="83"/>
                        <a:pt x="88" y="83"/>
                      </a:cubicBezTo>
                      <a:cubicBezTo>
                        <a:pt x="15" y="83"/>
                        <a:pt x="15" y="83"/>
                        <a:pt x="15" y="83"/>
                      </a:cubicBezTo>
                      <a:cubicBezTo>
                        <a:pt x="15" y="106"/>
                        <a:pt x="15" y="106"/>
                        <a:pt x="15" y="106"/>
                      </a:cubicBezTo>
                      <a:cubicBezTo>
                        <a:pt x="0" y="106"/>
                        <a:pt x="0" y="106"/>
                        <a:pt x="0" y="106"/>
                      </a:cubicBezTo>
                      <a:cubicBezTo>
                        <a:pt x="0" y="166"/>
                        <a:pt x="0" y="166"/>
                        <a:pt x="0" y="166"/>
                      </a:cubicBezTo>
                      <a:cubicBezTo>
                        <a:pt x="35" y="424"/>
                        <a:pt x="35" y="424"/>
                        <a:pt x="35" y="424"/>
                      </a:cubicBezTo>
                      <a:lnTo>
                        <a:pt x="288" y="424"/>
                      </a:lnTo>
                      <a:close/>
                    </a:path>
                  </a:pathLst>
                </a:custGeom>
                <a:grpFill/>
                <a:ln w="9525">
                  <a:noFill/>
                  <a:round/>
                  <a:headEnd/>
                  <a:tailEnd/>
                </a:ln>
              </p:spPr>
              <p:txBody>
                <a:bodyPr wrap="square" lIns="91440" tIns="45720" rIns="91440" bIns="45720" anchor="ctr">
                  <a:normAutofit/>
                </a:bodyPr>
                <a:lstStyle/>
                <a:p>
                  <a:pPr algn="ctr"/>
                  <a:endParaRPr/>
                </a:p>
              </p:txBody>
            </p:sp>
            <p:grpSp>
              <p:nvGrpSpPr>
                <p:cNvPr id="47" name="íśḷîdé">
                  <a:extLst>
                    <a:ext uri="{FF2B5EF4-FFF2-40B4-BE49-F238E27FC236}">
                      <a16:creationId xmlns:a16="http://schemas.microsoft.com/office/drawing/2014/main" id="{5198A20C-E10B-4BC7-BD26-57C6291D7051}"/>
                    </a:ext>
                  </a:extLst>
                </p:cNvPr>
                <p:cNvGrpSpPr/>
                <p:nvPr/>
              </p:nvGrpSpPr>
              <p:grpSpPr>
                <a:xfrm>
                  <a:off x="19050" y="2627313"/>
                  <a:ext cx="9122640" cy="1316038"/>
                  <a:chOff x="19050" y="2627313"/>
                  <a:chExt cx="9122640" cy="1316038"/>
                </a:xfrm>
                <a:grpFill/>
              </p:grpSpPr>
              <p:sp>
                <p:nvSpPr>
                  <p:cNvPr id="48" name="ïśļiďê">
                    <a:extLst>
                      <a:ext uri="{FF2B5EF4-FFF2-40B4-BE49-F238E27FC236}">
                        <a16:creationId xmlns:a16="http://schemas.microsoft.com/office/drawing/2014/main" id="{60CBA5DD-A548-410B-8C60-58ABF14CCB8A}"/>
                      </a:ext>
                    </a:extLst>
                  </p:cNvPr>
                  <p:cNvSpPr/>
                  <p:nvPr/>
                </p:nvSpPr>
                <p:spPr bwMode="auto">
                  <a:xfrm>
                    <a:off x="5341938" y="2774950"/>
                    <a:ext cx="971550" cy="1135063"/>
                  </a:xfrm>
                  <a:custGeom>
                    <a:avLst/>
                    <a:gdLst/>
                    <a:ahLst/>
                    <a:cxnLst>
                      <a:cxn ang="0">
                        <a:pos x="612" y="715"/>
                      </a:cxn>
                      <a:cxn ang="0">
                        <a:pos x="612" y="389"/>
                      </a:cxn>
                      <a:cxn ang="0">
                        <a:pos x="533" y="389"/>
                      </a:cxn>
                      <a:cxn ang="0">
                        <a:pos x="533" y="163"/>
                      </a:cxn>
                      <a:cxn ang="0">
                        <a:pos x="484" y="163"/>
                      </a:cxn>
                      <a:cxn ang="0">
                        <a:pos x="484" y="110"/>
                      </a:cxn>
                      <a:cxn ang="0">
                        <a:pos x="285" y="110"/>
                      </a:cxn>
                      <a:cxn ang="0">
                        <a:pos x="285" y="170"/>
                      </a:cxn>
                      <a:cxn ang="0">
                        <a:pos x="220" y="170"/>
                      </a:cxn>
                      <a:cxn ang="0">
                        <a:pos x="220" y="0"/>
                      </a:cxn>
                      <a:cxn ang="0">
                        <a:pos x="109" y="0"/>
                      </a:cxn>
                      <a:cxn ang="0">
                        <a:pos x="109" y="331"/>
                      </a:cxn>
                      <a:cxn ang="0">
                        <a:pos x="0" y="331"/>
                      </a:cxn>
                      <a:cxn ang="0">
                        <a:pos x="0" y="715"/>
                      </a:cxn>
                      <a:cxn ang="0">
                        <a:pos x="612" y="715"/>
                      </a:cxn>
                    </a:cxnLst>
                    <a:rect l="0" t="0" r="r" b="b"/>
                    <a:pathLst>
                      <a:path w="612" h="715">
                        <a:moveTo>
                          <a:pt x="612" y="715"/>
                        </a:moveTo>
                        <a:lnTo>
                          <a:pt x="612" y="389"/>
                        </a:lnTo>
                        <a:lnTo>
                          <a:pt x="533" y="389"/>
                        </a:lnTo>
                        <a:lnTo>
                          <a:pt x="533" y="163"/>
                        </a:lnTo>
                        <a:lnTo>
                          <a:pt x="484" y="163"/>
                        </a:lnTo>
                        <a:lnTo>
                          <a:pt x="484" y="110"/>
                        </a:lnTo>
                        <a:lnTo>
                          <a:pt x="285" y="110"/>
                        </a:lnTo>
                        <a:lnTo>
                          <a:pt x="285" y="170"/>
                        </a:lnTo>
                        <a:lnTo>
                          <a:pt x="220" y="170"/>
                        </a:lnTo>
                        <a:lnTo>
                          <a:pt x="220" y="0"/>
                        </a:lnTo>
                        <a:lnTo>
                          <a:pt x="109" y="0"/>
                        </a:lnTo>
                        <a:lnTo>
                          <a:pt x="109" y="331"/>
                        </a:lnTo>
                        <a:lnTo>
                          <a:pt x="0" y="331"/>
                        </a:lnTo>
                        <a:lnTo>
                          <a:pt x="0" y="715"/>
                        </a:lnTo>
                        <a:lnTo>
                          <a:pt x="612" y="715"/>
                        </a:lnTo>
                        <a:close/>
                      </a:path>
                    </a:pathLst>
                  </a:custGeom>
                  <a:grpFill/>
                  <a:ln w="9525">
                    <a:noFill/>
                    <a:round/>
                    <a:headEnd/>
                    <a:tailEnd/>
                  </a:ln>
                </p:spPr>
                <p:txBody>
                  <a:bodyPr wrap="square" lIns="91440" tIns="45720" rIns="91440" bIns="45720" anchor="ctr">
                    <a:normAutofit/>
                  </a:bodyPr>
                  <a:lstStyle/>
                  <a:p>
                    <a:pPr algn="ctr"/>
                    <a:endParaRPr/>
                  </a:p>
                </p:txBody>
              </p:sp>
              <p:sp>
                <p:nvSpPr>
                  <p:cNvPr id="49" name="íṡlîďe">
                    <a:extLst>
                      <a:ext uri="{FF2B5EF4-FFF2-40B4-BE49-F238E27FC236}">
                        <a16:creationId xmlns:a16="http://schemas.microsoft.com/office/drawing/2014/main" id="{767B47F5-707C-434E-890D-EF8AD47F242C}"/>
                      </a:ext>
                    </a:extLst>
                  </p:cNvPr>
                  <p:cNvSpPr/>
                  <p:nvPr/>
                </p:nvSpPr>
                <p:spPr bwMode="auto">
                  <a:xfrm>
                    <a:off x="5375275" y="3352800"/>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50" name="iŝľiďé">
                    <a:extLst>
                      <a:ext uri="{FF2B5EF4-FFF2-40B4-BE49-F238E27FC236}">
                        <a16:creationId xmlns:a16="http://schemas.microsoft.com/office/drawing/2014/main" id="{14E01644-C00D-4B4C-8797-964270923336}"/>
                      </a:ext>
                    </a:extLst>
                  </p:cNvPr>
                  <p:cNvSpPr/>
                  <p:nvPr/>
                </p:nvSpPr>
                <p:spPr bwMode="auto">
                  <a:xfrm>
                    <a:off x="5567363" y="2797175"/>
                    <a:ext cx="65088" cy="127000"/>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51" name="íšľiḋê">
                    <a:extLst>
                      <a:ext uri="{FF2B5EF4-FFF2-40B4-BE49-F238E27FC236}">
                        <a16:creationId xmlns:a16="http://schemas.microsoft.com/office/drawing/2014/main" id="{0120141F-B289-4E08-A4EE-EAB5D0287F24}"/>
                      </a:ext>
                    </a:extLst>
                  </p:cNvPr>
                  <p:cNvSpPr/>
                  <p:nvPr/>
                </p:nvSpPr>
                <p:spPr bwMode="auto">
                  <a:xfrm>
                    <a:off x="5562600" y="2952750"/>
                    <a:ext cx="66675"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52" name="íṣ1ïdè">
                    <a:extLst>
                      <a:ext uri="{FF2B5EF4-FFF2-40B4-BE49-F238E27FC236}">
                        <a16:creationId xmlns:a16="http://schemas.microsoft.com/office/drawing/2014/main" id="{59528618-0DB8-4EBB-BAD7-2AD5DB831129}"/>
                      </a:ext>
                    </a:extLst>
                  </p:cNvPr>
                  <p:cNvSpPr/>
                  <p:nvPr/>
                </p:nvSpPr>
                <p:spPr bwMode="auto">
                  <a:xfrm>
                    <a:off x="5567363" y="3111500"/>
                    <a:ext cx="65088"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53" name="îṥľïḓé">
                    <a:extLst>
                      <a:ext uri="{FF2B5EF4-FFF2-40B4-BE49-F238E27FC236}">
                        <a16:creationId xmlns:a16="http://schemas.microsoft.com/office/drawing/2014/main" id="{E4781331-9095-48FF-A888-3BDC8732A44F}"/>
                      </a:ext>
                    </a:extLst>
                  </p:cNvPr>
                  <p:cNvSpPr/>
                  <p:nvPr/>
                </p:nvSpPr>
                <p:spPr bwMode="auto">
                  <a:xfrm>
                    <a:off x="6400800" y="2643188"/>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54" name="ïšlïdè">
                    <a:extLst>
                      <a:ext uri="{FF2B5EF4-FFF2-40B4-BE49-F238E27FC236}">
                        <a16:creationId xmlns:a16="http://schemas.microsoft.com/office/drawing/2014/main" id="{45D215AD-59E5-4AED-A35F-A5D7C01FF876}"/>
                      </a:ext>
                    </a:extLst>
                  </p:cNvPr>
                  <p:cNvSpPr/>
                  <p:nvPr/>
                </p:nvSpPr>
                <p:spPr bwMode="auto">
                  <a:xfrm>
                    <a:off x="6405563" y="2805113"/>
                    <a:ext cx="65088"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55" name="îṡliḍê">
                    <a:extLst>
                      <a:ext uri="{FF2B5EF4-FFF2-40B4-BE49-F238E27FC236}">
                        <a16:creationId xmlns:a16="http://schemas.microsoft.com/office/drawing/2014/main" id="{2B89374B-654D-4B1E-BD28-5601D7830817}"/>
                      </a:ext>
                    </a:extLst>
                  </p:cNvPr>
                  <p:cNvSpPr/>
                  <p:nvPr/>
                </p:nvSpPr>
                <p:spPr bwMode="auto">
                  <a:xfrm>
                    <a:off x="6405563" y="2968625"/>
                    <a:ext cx="65088"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56" name="ïš1ïḓé">
                    <a:extLst>
                      <a:ext uri="{FF2B5EF4-FFF2-40B4-BE49-F238E27FC236}">
                        <a16:creationId xmlns:a16="http://schemas.microsoft.com/office/drawing/2014/main" id="{D972CA50-010A-46C0-8811-46A501C927A4}"/>
                      </a:ext>
                    </a:extLst>
                  </p:cNvPr>
                  <p:cNvSpPr/>
                  <p:nvPr/>
                </p:nvSpPr>
                <p:spPr bwMode="auto">
                  <a:xfrm>
                    <a:off x="6400800" y="3122613"/>
                    <a:ext cx="69850"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57" name="îš1îḓè">
                    <a:extLst>
                      <a:ext uri="{FF2B5EF4-FFF2-40B4-BE49-F238E27FC236}">
                        <a16:creationId xmlns:a16="http://schemas.microsoft.com/office/drawing/2014/main" id="{999F20F0-C79B-4C97-9ECC-7FBF0D05972C}"/>
                      </a:ext>
                    </a:extLst>
                  </p:cNvPr>
                  <p:cNvSpPr/>
                  <p:nvPr/>
                </p:nvSpPr>
                <p:spPr bwMode="auto">
                  <a:xfrm>
                    <a:off x="6405563" y="3286125"/>
                    <a:ext cx="65088"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58" name="ïŝlîďè">
                    <a:extLst>
                      <a:ext uri="{FF2B5EF4-FFF2-40B4-BE49-F238E27FC236}">
                        <a16:creationId xmlns:a16="http://schemas.microsoft.com/office/drawing/2014/main" id="{21FF7C87-2246-485F-978A-EE891C270CE2}"/>
                      </a:ext>
                    </a:extLst>
                  </p:cNvPr>
                  <p:cNvSpPr/>
                  <p:nvPr/>
                </p:nvSpPr>
                <p:spPr bwMode="auto">
                  <a:xfrm>
                    <a:off x="5500688" y="3348038"/>
                    <a:ext cx="66675"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59" name="îś1ïḍe">
                    <a:extLst>
                      <a:ext uri="{FF2B5EF4-FFF2-40B4-BE49-F238E27FC236}">
                        <a16:creationId xmlns:a16="http://schemas.microsoft.com/office/drawing/2014/main" id="{583D7C8C-07F3-4BCF-AD9D-15F27F66EB33}"/>
                      </a:ext>
                    </a:extLst>
                  </p:cNvPr>
                  <p:cNvSpPr/>
                  <p:nvPr/>
                </p:nvSpPr>
                <p:spPr bwMode="auto">
                  <a:xfrm>
                    <a:off x="6996113" y="2752725"/>
                    <a:ext cx="66675" cy="127000"/>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60" name="íṡḻiḍê">
                    <a:extLst>
                      <a:ext uri="{FF2B5EF4-FFF2-40B4-BE49-F238E27FC236}">
                        <a16:creationId xmlns:a16="http://schemas.microsoft.com/office/drawing/2014/main" id="{09F9EABB-09A4-4FCD-A674-06DC5B0A8C02}"/>
                      </a:ext>
                    </a:extLst>
                  </p:cNvPr>
                  <p:cNvSpPr/>
                  <p:nvPr/>
                </p:nvSpPr>
                <p:spPr bwMode="auto">
                  <a:xfrm>
                    <a:off x="7118350" y="2749550"/>
                    <a:ext cx="69850"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61" name="ïṡliďè">
                    <a:extLst>
                      <a:ext uri="{FF2B5EF4-FFF2-40B4-BE49-F238E27FC236}">
                        <a16:creationId xmlns:a16="http://schemas.microsoft.com/office/drawing/2014/main" id="{80E744E6-7235-4987-856C-09CE53FA71F5}"/>
                      </a:ext>
                    </a:extLst>
                  </p:cNvPr>
                  <p:cNvSpPr/>
                  <p:nvPr/>
                </p:nvSpPr>
                <p:spPr bwMode="auto">
                  <a:xfrm>
                    <a:off x="7813675" y="2632075"/>
                    <a:ext cx="65088"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62" name="íŝḻïḋê">
                    <a:extLst>
                      <a:ext uri="{FF2B5EF4-FFF2-40B4-BE49-F238E27FC236}">
                        <a16:creationId xmlns:a16="http://schemas.microsoft.com/office/drawing/2014/main" id="{790E8BF3-C57B-4EEF-B9CA-2D6C61B40B23}"/>
                      </a:ext>
                    </a:extLst>
                  </p:cNvPr>
                  <p:cNvSpPr/>
                  <p:nvPr/>
                </p:nvSpPr>
                <p:spPr bwMode="auto">
                  <a:xfrm>
                    <a:off x="7934325" y="2627313"/>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63" name="îs1ïdè">
                    <a:extLst>
                      <a:ext uri="{FF2B5EF4-FFF2-40B4-BE49-F238E27FC236}">
                        <a16:creationId xmlns:a16="http://schemas.microsoft.com/office/drawing/2014/main" id="{338A5EA7-4F58-4985-A914-F1C76F83825C}"/>
                      </a:ext>
                    </a:extLst>
                  </p:cNvPr>
                  <p:cNvSpPr/>
                  <p:nvPr/>
                </p:nvSpPr>
                <p:spPr bwMode="auto">
                  <a:xfrm>
                    <a:off x="7604125" y="2927350"/>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64" name="išľïḍe">
                    <a:extLst>
                      <a:ext uri="{FF2B5EF4-FFF2-40B4-BE49-F238E27FC236}">
                        <a16:creationId xmlns:a16="http://schemas.microsoft.com/office/drawing/2014/main" id="{A74319C7-9672-4345-8605-ACAF18751808}"/>
                      </a:ext>
                    </a:extLst>
                  </p:cNvPr>
                  <p:cNvSpPr/>
                  <p:nvPr/>
                </p:nvSpPr>
                <p:spPr bwMode="auto">
                  <a:xfrm>
                    <a:off x="7727950" y="2924175"/>
                    <a:ext cx="66675"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65" name="ïšļïḑè">
                    <a:extLst>
                      <a:ext uri="{FF2B5EF4-FFF2-40B4-BE49-F238E27FC236}">
                        <a16:creationId xmlns:a16="http://schemas.microsoft.com/office/drawing/2014/main" id="{8FFD8281-E876-4A61-A2A7-B47918E3A66C}"/>
                      </a:ext>
                    </a:extLst>
                  </p:cNvPr>
                  <p:cNvSpPr/>
                  <p:nvPr/>
                </p:nvSpPr>
                <p:spPr bwMode="auto">
                  <a:xfrm>
                    <a:off x="7989888" y="2927350"/>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66" name="îṩļiďè">
                    <a:extLst>
                      <a:ext uri="{FF2B5EF4-FFF2-40B4-BE49-F238E27FC236}">
                        <a16:creationId xmlns:a16="http://schemas.microsoft.com/office/drawing/2014/main" id="{9723965F-F72A-4B96-933F-3DCA4A5233BF}"/>
                      </a:ext>
                    </a:extLst>
                  </p:cNvPr>
                  <p:cNvSpPr/>
                  <p:nvPr/>
                </p:nvSpPr>
                <p:spPr bwMode="auto">
                  <a:xfrm>
                    <a:off x="8115300" y="2924175"/>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67" name="iṣḷïḋe">
                    <a:extLst>
                      <a:ext uri="{FF2B5EF4-FFF2-40B4-BE49-F238E27FC236}">
                        <a16:creationId xmlns:a16="http://schemas.microsoft.com/office/drawing/2014/main" id="{9EE4089E-5A14-4E80-9762-D47D950D145F}"/>
                      </a:ext>
                    </a:extLst>
                  </p:cNvPr>
                  <p:cNvSpPr/>
                  <p:nvPr/>
                </p:nvSpPr>
                <p:spPr bwMode="auto">
                  <a:xfrm>
                    <a:off x="7604125" y="3122613"/>
                    <a:ext cx="69850" cy="127000"/>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68" name="îŝḻiḋe">
                    <a:extLst>
                      <a:ext uri="{FF2B5EF4-FFF2-40B4-BE49-F238E27FC236}">
                        <a16:creationId xmlns:a16="http://schemas.microsoft.com/office/drawing/2014/main" id="{2B10B7E6-7091-4011-8C67-CA1457E0387E}"/>
                      </a:ext>
                    </a:extLst>
                  </p:cNvPr>
                  <p:cNvSpPr/>
                  <p:nvPr/>
                </p:nvSpPr>
                <p:spPr bwMode="auto">
                  <a:xfrm>
                    <a:off x="7727950" y="3119438"/>
                    <a:ext cx="66675"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69" name="ïṩľîdè">
                    <a:extLst>
                      <a:ext uri="{FF2B5EF4-FFF2-40B4-BE49-F238E27FC236}">
                        <a16:creationId xmlns:a16="http://schemas.microsoft.com/office/drawing/2014/main" id="{EF4BC22D-F83E-4266-878D-CE7CF389D25E}"/>
                      </a:ext>
                    </a:extLst>
                  </p:cNvPr>
                  <p:cNvSpPr/>
                  <p:nvPr/>
                </p:nvSpPr>
                <p:spPr bwMode="auto">
                  <a:xfrm>
                    <a:off x="7989888" y="3122613"/>
                    <a:ext cx="69850" cy="127000"/>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70" name="íSḻiḍe">
                    <a:extLst>
                      <a:ext uri="{FF2B5EF4-FFF2-40B4-BE49-F238E27FC236}">
                        <a16:creationId xmlns:a16="http://schemas.microsoft.com/office/drawing/2014/main" id="{64F04D44-D157-4C2C-BED5-0CF7CF9D38B5}"/>
                      </a:ext>
                    </a:extLst>
                  </p:cNvPr>
                  <p:cNvSpPr/>
                  <p:nvPr/>
                </p:nvSpPr>
                <p:spPr bwMode="auto">
                  <a:xfrm>
                    <a:off x="8115300" y="3119438"/>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71" name="ïṩlîḋê">
                    <a:extLst>
                      <a:ext uri="{FF2B5EF4-FFF2-40B4-BE49-F238E27FC236}">
                        <a16:creationId xmlns:a16="http://schemas.microsoft.com/office/drawing/2014/main" id="{3BA9D5DD-88BE-4F4F-815D-12652DDC896B}"/>
                      </a:ext>
                    </a:extLst>
                  </p:cNvPr>
                  <p:cNvSpPr/>
                  <p:nvPr/>
                </p:nvSpPr>
                <p:spPr bwMode="auto">
                  <a:xfrm>
                    <a:off x="8221663" y="3644900"/>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72" name="íṡlïďè">
                    <a:extLst>
                      <a:ext uri="{FF2B5EF4-FFF2-40B4-BE49-F238E27FC236}">
                        <a16:creationId xmlns:a16="http://schemas.microsoft.com/office/drawing/2014/main" id="{DEF2C353-A601-4998-BDD9-476C1E89912C}"/>
                      </a:ext>
                    </a:extLst>
                  </p:cNvPr>
                  <p:cNvSpPr/>
                  <p:nvPr/>
                </p:nvSpPr>
                <p:spPr bwMode="auto">
                  <a:xfrm>
                    <a:off x="8345488" y="3640138"/>
                    <a:ext cx="69850" cy="127000"/>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73" name="îsļidé">
                    <a:extLst>
                      <a:ext uri="{FF2B5EF4-FFF2-40B4-BE49-F238E27FC236}">
                        <a16:creationId xmlns:a16="http://schemas.microsoft.com/office/drawing/2014/main" id="{0B8EE2BC-8855-49D3-A315-F0E31FAC4791}"/>
                      </a:ext>
                    </a:extLst>
                  </p:cNvPr>
                  <p:cNvSpPr/>
                  <p:nvPr/>
                </p:nvSpPr>
                <p:spPr bwMode="auto">
                  <a:xfrm>
                    <a:off x="8493125" y="3644900"/>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74" name="iṣļíďe">
                    <a:extLst>
                      <a:ext uri="{FF2B5EF4-FFF2-40B4-BE49-F238E27FC236}">
                        <a16:creationId xmlns:a16="http://schemas.microsoft.com/office/drawing/2014/main" id="{3F8F175C-0FC4-4832-8176-19F3F6641CB6}"/>
                      </a:ext>
                    </a:extLst>
                  </p:cNvPr>
                  <p:cNvSpPr/>
                  <p:nvPr/>
                </p:nvSpPr>
                <p:spPr bwMode="auto">
                  <a:xfrm>
                    <a:off x="8618538" y="3640138"/>
                    <a:ext cx="66675" cy="127000"/>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75" name="ïsľiḓê">
                    <a:extLst>
                      <a:ext uri="{FF2B5EF4-FFF2-40B4-BE49-F238E27FC236}">
                        <a16:creationId xmlns:a16="http://schemas.microsoft.com/office/drawing/2014/main" id="{4B07CF1D-CA41-48A5-9316-C2329028B3A5}"/>
                      </a:ext>
                    </a:extLst>
                  </p:cNvPr>
                  <p:cNvSpPr/>
                  <p:nvPr/>
                </p:nvSpPr>
                <p:spPr bwMode="auto">
                  <a:xfrm>
                    <a:off x="7246938" y="2749550"/>
                    <a:ext cx="66675"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76" name="íšlîḋê">
                    <a:extLst>
                      <a:ext uri="{FF2B5EF4-FFF2-40B4-BE49-F238E27FC236}">
                        <a16:creationId xmlns:a16="http://schemas.microsoft.com/office/drawing/2014/main" id="{0B41B00E-6E28-428A-ABD6-2822AA70ECC3}"/>
                      </a:ext>
                    </a:extLst>
                  </p:cNvPr>
                  <p:cNvSpPr/>
                  <p:nvPr/>
                </p:nvSpPr>
                <p:spPr bwMode="auto">
                  <a:xfrm>
                    <a:off x="6716713" y="3403600"/>
                    <a:ext cx="69850"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77" name="ïSľiďê">
                    <a:extLst>
                      <a:ext uri="{FF2B5EF4-FFF2-40B4-BE49-F238E27FC236}">
                        <a16:creationId xmlns:a16="http://schemas.microsoft.com/office/drawing/2014/main" id="{CDFB99C8-9465-4B59-B1A1-7B8FD0629BD7}"/>
                      </a:ext>
                    </a:extLst>
                  </p:cNvPr>
                  <p:cNvSpPr/>
                  <p:nvPr/>
                </p:nvSpPr>
                <p:spPr bwMode="auto">
                  <a:xfrm>
                    <a:off x="6842125" y="3400425"/>
                    <a:ext cx="66675"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78" name="ï$ļïďê">
                    <a:extLst>
                      <a:ext uri="{FF2B5EF4-FFF2-40B4-BE49-F238E27FC236}">
                        <a16:creationId xmlns:a16="http://schemas.microsoft.com/office/drawing/2014/main" id="{650E8C16-0DF9-4373-84D2-3E72D02B3054}"/>
                      </a:ext>
                    </a:extLst>
                  </p:cNvPr>
                  <p:cNvSpPr/>
                  <p:nvPr/>
                </p:nvSpPr>
                <p:spPr bwMode="auto">
                  <a:xfrm>
                    <a:off x="6967538" y="3400425"/>
                    <a:ext cx="69850"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79" name="ïśḻídê">
                    <a:extLst>
                      <a:ext uri="{FF2B5EF4-FFF2-40B4-BE49-F238E27FC236}">
                        <a16:creationId xmlns:a16="http://schemas.microsoft.com/office/drawing/2014/main" id="{91E6FE31-C3A0-4208-B483-718EC12481F2}"/>
                      </a:ext>
                    </a:extLst>
                  </p:cNvPr>
                  <p:cNvSpPr/>
                  <p:nvPr/>
                </p:nvSpPr>
                <p:spPr bwMode="auto">
                  <a:xfrm>
                    <a:off x="7110413" y="3403600"/>
                    <a:ext cx="69850"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80" name="îṩļiḑe">
                    <a:extLst>
                      <a:ext uri="{FF2B5EF4-FFF2-40B4-BE49-F238E27FC236}">
                        <a16:creationId xmlns:a16="http://schemas.microsoft.com/office/drawing/2014/main" id="{13D87B45-019A-43F1-8975-23DE3FCFD036}"/>
                      </a:ext>
                    </a:extLst>
                  </p:cNvPr>
                  <p:cNvSpPr/>
                  <p:nvPr/>
                </p:nvSpPr>
                <p:spPr bwMode="auto">
                  <a:xfrm>
                    <a:off x="7235825" y="3400425"/>
                    <a:ext cx="69850"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81" name="í$ļíḍe">
                    <a:extLst>
                      <a:ext uri="{FF2B5EF4-FFF2-40B4-BE49-F238E27FC236}">
                        <a16:creationId xmlns:a16="http://schemas.microsoft.com/office/drawing/2014/main" id="{31DDE48E-8886-41AC-9CCF-FA6629F90C9B}"/>
                      </a:ext>
                    </a:extLst>
                  </p:cNvPr>
                  <p:cNvSpPr/>
                  <p:nvPr/>
                </p:nvSpPr>
                <p:spPr bwMode="auto">
                  <a:xfrm>
                    <a:off x="7361238" y="3400425"/>
                    <a:ext cx="69850"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82" name="iSḻîḋe">
                    <a:extLst>
                      <a:ext uri="{FF2B5EF4-FFF2-40B4-BE49-F238E27FC236}">
                        <a16:creationId xmlns:a16="http://schemas.microsoft.com/office/drawing/2014/main" id="{BCA08CA4-374F-4656-AC49-1D438AB15AFE}"/>
                      </a:ext>
                    </a:extLst>
                  </p:cNvPr>
                  <p:cNvSpPr/>
                  <p:nvPr/>
                </p:nvSpPr>
                <p:spPr bwMode="auto">
                  <a:xfrm>
                    <a:off x="7507288" y="3403600"/>
                    <a:ext cx="66675"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83" name="íşḷîḋé">
                    <a:extLst>
                      <a:ext uri="{FF2B5EF4-FFF2-40B4-BE49-F238E27FC236}">
                        <a16:creationId xmlns:a16="http://schemas.microsoft.com/office/drawing/2014/main" id="{8B57307B-C1EC-4586-8D86-3974A31462E4}"/>
                      </a:ext>
                    </a:extLst>
                  </p:cNvPr>
                  <p:cNvSpPr/>
                  <p:nvPr/>
                </p:nvSpPr>
                <p:spPr bwMode="auto">
                  <a:xfrm>
                    <a:off x="7629525" y="3400425"/>
                    <a:ext cx="69850"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84" name="íşlîdè">
                    <a:extLst>
                      <a:ext uri="{FF2B5EF4-FFF2-40B4-BE49-F238E27FC236}">
                        <a16:creationId xmlns:a16="http://schemas.microsoft.com/office/drawing/2014/main" id="{EB444C1D-98BE-40D7-A14C-DF22A07ED9E0}"/>
                      </a:ext>
                    </a:extLst>
                  </p:cNvPr>
                  <p:cNvSpPr/>
                  <p:nvPr/>
                </p:nvSpPr>
                <p:spPr bwMode="auto">
                  <a:xfrm>
                    <a:off x="7758113" y="3400425"/>
                    <a:ext cx="66675"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85" name="ïSḷídé">
                    <a:extLst>
                      <a:ext uri="{FF2B5EF4-FFF2-40B4-BE49-F238E27FC236}">
                        <a16:creationId xmlns:a16="http://schemas.microsoft.com/office/drawing/2014/main" id="{B3B174BC-4D19-4721-AD72-034EBAB59018}"/>
                      </a:ext>
                    </a:extLst>
                  </p:cNvPr>
                  <p:cNvSpPr/>
                  <p:nvPr/>
                </p:nvSpPr>
                <p:spPr bwMode="auto">
                  <a:xfrm>
                    <a:off x="7872413" y="3400425"/>
                    <a:ext cx="193675"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86" name="íṧľíḓê">
                    <a:extLst>
                      <a:ext uri="{FF2B5EF4-FFF2-40B4-BE49-F238E27FC236}">
                        <a16:creationId xmlns:a16="http://schemas.microsoft.com/office/drawing/2014/main" id="{3E51A9B5-F037-40D3-8A95-FA1283DC619A}"/>
                      </a:ext>
                    </a:extLst>
                  </p:cNvPr>
                  <p:cNvSpPr/>
                  <p:nvPr/>
                </p:nvSpPr>
                <p:spPr bwMode="auto">
                  <a:xfrm>
                    <a:off x="8216900" y="3282950"/>
                    <a:ext cx="48260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87" name="íṣḷîḓê">
                    <a:extLst>
                      <a:ext uri="{FF2B5EF4-FFF2-40B4-BE49-F238E27FC236}">
                        <a16:creationId xmlns:a16="http://schemas.microsoft.com/office/drawing/2014/main" id="{D1F71820-1D14-4775-A1CB-57DA501E879B}"/>
                      </a:ext>
                    </a:extLst>
                  </p:cNvPr>
                  <p:cNvSpPr/>
                  <p:nvPr/>
                </p:nvSpPr>
                <p:spPr bwMode="auto">
                  <a:xfrm>
                    <a:off x="8216900" y="3459163"/>
                    <a:ext cx="482600"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88" name="i$1ïďe">
                    <a:extLst>
                      <a:ext uri="{FF2B5EF4-FFF2-40B4-BE49-F238E27FC236}">
                        <a16:creationId xmlns:a16="http://schemas.microsoft.com/office/drawing/2014/main" id="{F183D784-0265-4799-AB35-604FC84B4E0E}"/>
                      </a:ext>
                    </a:extLst>
                  </p:cNvPr>
                  <p:cNvSpPr/>
                  <p:nvPr/>
                </p:nvSpPr>
                <p:spPr bwMode="auto">
                  <a:xfrm>
                    <a:off x="7872413" y="3589338"/>
                    <a:ext cx="193675" cy="128588"/>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89" name="iš1ïḓé">
                    <a:extLst>
                      <a:ext uri="{FF2B5EF4-FFF2-40B4-BE49-F238E27FC236}">
                        <a16:creationId xmlns:a16="http://schemas.microsoft.com/office/drawing/2014/main" id="{6AD67C86-7AF2-4C16-96B3-28D1E52567AD}"/>
                      </a:ext>
                    </a:extLst>
                  </p:cNvPr>
                  <p:cNvSpPr/>
                  <p:nvPr/>
                </p:nvSpPr>
                <p:spPr bwMode="auto">
                  <a:xfrm>
                    <a:off x="6716713" y="3592513"/>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90" name="ïš1iḍè">
                    <a:extLst>
                      <a:ext uri="{FF2B5EF4-FFF2-40B4-BE49-F238E27FC236}">
                        <a16:creationId xmlns:a16="http://schemas.microsoft.com/office/drawing/2014/main" id="{9A2032F6-5E3E-4F47-84ED-D9548E5626A3}"/>
                      </a:ext>
                    </a:extLst>
                  </p:cNvPr>
                  <p:cNvSpPr/>
                  <p:nvPr/>
                </p:nvSpPr>
                <p:spPr bwMode="auto">
                  <a:xfrm>
                    <a:off x="6842125" y="3589338"/>
                    <a:ext cx="66675" cy="128588"/>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91" name="íṣḻiḍè">
                    <a:extLst>
                      <a:ext uri="{FF2B5EF4-FFF2-40B4-BE49-F238E27FC236}">
                        <a16:creationId xmlns:a16="http://schemas.microsoft.com/office/drawing/2014/main" id="{C46C8368-7F93-41EC-81DA-EEFD1799582F}"/>
                      </a:ext>
                    </a:extLst>
                  </p:cNvPr>
                  <p:cNvSpPr/>
                  <p:nvPr/>
                </p:nvSpPr>
                <p:spPr bwMode="auto">
                  <a:xfrm>
                    <a:off x="6967538" y="3589338"/>
                    <a:ext cx="69850" cy="128588"/>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92" name="îşlïḋé">
                    <a:extLst>
                      <a:ext uri="{FF2B5EF4-FFF2-40B4-BE49-F238E27FC236}">
                        <a16:creationId xmlns:a16="http://schemas.microsoft.com/office/drawing/2014/main" id="{8F5D2EC2-8003-43A4-98E8-6DB87A03D180}"/>
                      </a:ext>
                    </a:extLst>
                  </p:cNvPr>
                  <p:cNvSpPr/>
                  <p:nvPr/>
                </p:nvSpPr>
                <p:spPr bwMode="auto">
                  <a:xfrm>
                    <a:off x="7110413" y="3592513"/>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93" name="ïš1íḍê">
                    <a:extLst>
                      <a:ext uri="{FF2B5EF4-FFF2-40B4-BE49-F238E27FC236}">
                        <a16:creationId xmlns:a16="http://schemas.microsoft.com/office/drawing/2014/main" id="{D3C09000-A35D-472E-ABC7-DE72DD142B11}"/>
                      </a:ext>
                    </a:extLst>
                  </p:cNvPr>
                  <p:cNvSpPr/>
                  <p:nvPr/>
                </p:nvSpPr>
                <p:spPr bwMode="auto">
                  <a:xfrm>
                    <a:off x="7235825" y="3589338"/>
                    <a:ext cx="69850" cy="128588"/>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94" name="í$1îḍe">
                    <a:extLst>
                      <a:ext uri="{FF2B5EF4-FFF2-40B4-BE49-F238E27FC236}">
                        <a16:creationId xmlns:a16="http://schemas.microsoft.com/office/drawing/2014/main" id="{447A046A-3116-42B3-BE9C-A8FACAD70A13}"/>
                      </a:ext>
                    </a:extLst>
                  </p:cNvPr>
                  <p:cNvSpPr/>
                  <p:nvPr/>
                </p:nvSpPr>
                <p:spPr bwMode="auto">
                  <a:xfrm>
                    <a:off x="7361238" y="3589338"/>
                    <a:ext cx="69850" cy="128588"/>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95" name="îṩḻîḑê">
                    <a:extLst>
                      <a:ext uri="{FF2B5EF4-FFF2-40B4-BE49-F238E27FC236}">
                        <a16:creationId xmlns:a16="http://schemas.microsoft.com/office/drawing/2014/main" id="{DAD73FB2-E906-46F0-946D-19FB8F51B40B}"/>
                      </a:ext>
                    </a:extLst>
                  </p:cNvPr>
                  <p:cNvSpPr/>
                  <p:nvPr/>
                </p:nvSpPr>
                <p:spPr bwMode="auto">
                  <a:xfrm>
                    <a:off x="7507288" y="3592513"/>
                    <a:ext cx="66675"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96" name="îslíḋe">
                    <a:extLst>
                      <a:ext uri="{FF2B5EF4-FFF2-40B4-BE49-F238E27FC236}">
                        <a16:creationId xmlns:a16="http://schemas.microsoft.com/office/drawing/2014/main" id="{DAF2355E-E426-4C00-BB24-529FC90EA725}"/>
                      </a:ext>
                    </a:extLst>
                  </p:cNvPr>
                  <p:cNvSpPr/>
                  <p:nvPr/>
                </p:nvSpPr>
                <p:spPr bwMode="auto">
                  <a:xfrm>
                    <a:off x="7629525" y="3589338"/>
                    <a:ext cx="69850" cy="128588"/>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97" name="ïšḷîde">
                    <a:extLst>
                      <a:ext uri="{FF2B5EF4-FFF2-40B4-BE49-F238E27FC236}">
                        <a16:creationId xmlns:a16="http://schemas.microsoft.com/office/drawing/2014/main" id="{217C0B1A-D32D-4571-A805-3754CC357896}"/>
                      </a:ext>
                    </a:extLst>
                  </p:cNvPr>
                  <p:cNvSpPr/>
                  <p:nvPr/>
                </p:nvSpPr>
                <p:spPr bwMode="auto">
                  <a:xfrm>
                    <a:off x="7758113" y="3589338"/>
                    <a:ext cx="66675" cy="128588"/>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98" name="ïsļíďê">
                    <a:extLst>
                      <a:ext uri="{FF2B5EF4-FFF2-40B4-BE49-F238E27FC236}">
                        <a16:creationId xmlns:a16="http://schemas.microsoft.com/office/drawing/2014/main" id="{ECED1C7C-3BFB-473F-897F-BB970563B647}"/>
                      </a:ext>
                    </a:extLst>
                  </p:cNvPr>
                  <p:cNvSpPr/>
                  <p:nvPr/>
                </p:nvSpPr>
                <p:spPr bwMode="auto">
                  <a:xfrm>
                    <a:off x="6996113" y="2994025"/>
                    <a:ext cx="66675"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99" name="îṡľiḓe">
                    <a:extLst>
                      <a:ext uri="{FF2B5EF4-FFF2-40B4-BE49-F238E27FC236}">
                        <a16:creationId xmlns:a16="http://schemas.microsoft.com/office/drawing/2014/main" id="{2B5E6444-C1BC-4FF9-8BE4-DF9C0D374902}"/>
                      </a:ext>
                    </a:extLst>
                  </p:cNvPr>
                  <p:cNvSpPr/>
                  <p:nvPr/>
                </p:nvSpPr>
                <p:spPr bwMode="auto">
                  <a:xfrm>
                    <a:off x="7118350" y="2990850"/>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00" name="íšlîḑê">
                    <a:extLst>
                      <a:ext uri="{FF2B5EF4-FFF2-40B4-BE49-F238E27FC236}">
                        <a16:creationId xmlns:a16="http://schemas.microsoft.com/office/drawing/2014/main" id="{02EFDDD2-E5D6-4154-9F05-D36D4303A48F}"/>
                      </a:ext>
                    </a:extLst>
                  </p:cNvPr>
                  <p:cNvSpPr/>
                  <p:nvPr/>
                </p:nvSpPr>
                <p:spPr bwMode="auto">
                  <a:xfrm>
                    <a:off x="7246938" y="2990850"/>
                    <a:ext cx="66675"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01" name="íSľíḋe">
                    <a:extLst>
                      <a:ext uri="{FF2B5EF4-FFF2-40B4-BE49-F238E27FC236}">
                        <a16:creationId xmlns:a16="http://schemas.microsoft.com/office/drawing/2014/main" id="{AB7C2343-655A-41C3-8DB6-2EC4E4556A08}"/>
                      </a:ext>
                    </a:extLst>
                  </p:cNvPr>
                  <p:cNvSpPr/>
                  <p:nvPr/>
                </p:nvSpPr>
                <p:spPr bwMode="auto">
                  <a:xfrm>
                    <a:off x="5610225" y="3352800"/>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02" name="îṥḷiḑé">
                    <a:extLst>
                      <a:ext uri="{FF2B5EF4-FFF2-40B4-BE49-F238E27FC236}">
                        <a16:creationId xmlns:a16="http://schemas.microsoft.com/office/drawing/2014/main" id="{B4A3F810-6448-4CC5-A992-98C8FF3AC578}"/>
                      </a:ext>
                    </a:extLst>
                  </p:cNvPr>
                  <p:cNvSpPr/>
                  <p:nvPr/>
                </p:nvSpPr>
                <p:spPr bwMode="auto">
                  <a:xfrm>
                    <a:off x="5735638" y="3348038"/>
                    <a:ext cx="69850"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03" name="iṧ1iḑe">
                    <a:extLst>
                      <a:ext uri="{FF2B5EF4-FFF2-40B4-BE49-F238E27FC236}">
                        <a16:creationId xmlns:a16="http://schemas.microsoft.com/office/drawing/2014/main" id="{F0A1B6D4-E11E-43CC-B30A-79EA5FDA8055}"/>
                      </a:ext>
                    </a:extLst>
                  </p:cNvPr>
                  <p:cNvSpPr/>
                  <p:nvPr/>
                </p:nvSpPr>
                <p:spPr bwMode="auto">
                  <a:xfrm>
                    <a:off x="5842000" y="3352800"/>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04" name="î$ļide">
                    <a:extLst>
                      <a:ext uri="{FF2B5EF4-FFF2-40B4-BE49-F238E27FC236}">
                        <a16:creationId xmlns:a16="http://schemas.microsoft.com/office/drawing/2014/main" id="{E1B7101D-3EF9-4320-A782-27F83497B0D9}"/>
                      </a:ext>
                    </a:extLst>
                  </p:cNvPr>
                  <p:cNvSpPr/>
                  <p:nvPr/>
                </p:nvSpPr>
                <p:spPr bwMode="auto">
                  <a:xfrm>
                    <a:off x="5967413" y="3348038"/>
                    <a:ext cx="69850"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05" name="íṣľïdè">
                    <a:extLst>
                      <a:ext uri="{FF2B5EF4-FFF2-40B4-BE49-F238E27FC236}">
                        <a16:creationId xmlns:a16="http://schemas.microsoft.com/office/drawing/2014/main" id="{E006DCA7-407E-4955-A61F-87A2A3C6E083}"/>
                      </a:ext>
                    </a:extLst>
                  </p:cNvPr>
                  <p:cNvSpPr/>
                  <p:nvPr/>
                </p:nvSpPr>
                <p:spPr bwMode="auto">
                  <a:xfrm>
                    <a:off x="6076950" y="3348038"/>
                    <a:ext cx="69850" cy="130175"/>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06" name="ï$ľïḋe">
                    <a:extLst>
                      <a:ext uri="{FF2B5EF4-FFF2-40B4-BE49-F238E27FC236}">
                        <a16:creationId xmlns:a16="http://schemas.microsoft.com/office/drawing/2014/main" id="{9FF66746-AAC8-442E-B2CD-30C0DABFE328}"/>
                      </a:ext>
                    </a:extLst>
                  </p:cNvPr>
                  <p:cNvSpPr/>
                  <p:nvPr/>
                </p:nvSpPr>
                <p:spPr bwMode="auto">
                  <a:xfrm>
                    <a:off x="5794375" y="3105150"/>
                    <a:ext cx="2984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07" name="îṩḻíďè">
                    <a:extLst>
                      <a:ext uri="{FF2B5EF4-FFF2-40B4-BE49-F238E27FC236}">
                        <a16:creationId xmlns:a16="http://schemas.microsoft.com/office/drawing/2014/main" id="{EAE2BE65-D932-40A7-AA3A-5E54468629AD}"/>
                      </a:ext>
                    </a:extLst>
                  </p:cNvPr>
                  <p:cNvSpPr/>
                  <p:nvPr/>
                </p:nvSpPr>
                <p:spPr bwMode="auto">
                  <a:xfrm>
                    <a:off x="6992938" y="3171825"/>
                    <a:ext cx="331788" cy="128588"/>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08" name="iṥḷïḓê">
                    <a:extLst>
                      <a:ext uri="{FF2B5EF4-FFF2-40B4-BE49-F238E27FC236}">
                        <a16:creationId xmlns:a16="http://schemas.microsoft.com/office/drawing/2014/main" id="{2C15DD1B-7952-4ADF-A680-CB3AD2D7CBF3}"/>
                      </a:ext>
                    </a:extLst>
                  </p:cNvPr>
                  <p:cNvSpPr/>
                  <p:nvPr/>
                </p:nvSpPr>
                <p:spPr bwMode="auto">
                  <a:xfrm>
                    <a:off x="5375275" y="3567113"/>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09" name="i$lïdè">
                    <a:extLst>
                      <a:ext uri="{FF2B5EF4-FFF2-40B4-BE49-F238E27FC236}">
                        <a16:creationId xmlns:a16="http://schemas.microsoft.com/office/drawing/2014/main" id="{083B611F-6B7E-45C8-9DFD-853237FDCA60}"/>
                      </a:ext>
                    </a:extLst>
                  </p:cNvPr>
                  <p:cNvSpPr/>
                  <p:nvPr/>
                </p:nvSpPr>
                <p:spPr bwMode="auto">
                  <a:xfrm>
                    <a:off x="5500688" y="3563938"/>
                    <a:ext cx="66675"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10" name="íṡḻidé">
                    <a:extLst>
                      <a:ext uri="{FF2B5EF4-FFF2-40B4-BE49-F238E27FC236}">
                        <a16:creationId xmlns:a16="http://schemas.microsoft.com/office/drawing/2014/main" id="{C9880EC4-1B1C-4CFE-A8ED-0730BD255045}"/>
                      </a:ext>
                    </a:extLst>
                  </p:cNvPr>
                  <p:cNvSpPr/>
                  <p:nvPr/>
                </p:nvSpPr>
                <p:spPr bwMode="auto">
                  <a:xfrm>
                    <a:off x="5610225" y="3567113"/>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11" name="ïṥľídè">
                    <a:extLst>
                      <a:ext uri="{FF2B5EF4-FFF2-40B4-BE49-F238E27FC236}">
                        <a16:creationId xmlns:a16="http://schemas.microsoft.com/office/drawing/2014/main" id="{534F6295-6819-4868-BB7C-A183D651FD1B}"/>
                      </a:ext>
                    </a:extLst>
                  </p:cNvPr>
                  <p:cNvSpPr/>
                  <p:nvPr/>
                </p:nvSpPr>
                <p:spPr bwMode="auto">
                  <a:xfrm>
                    <a:off x="5735638" y="3563938"/>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12" name="íṩļiḍe">
                    <a:extLst>
                      <a:ext uri="{FF2B5EF4-FFF2-40B4-BE49-F238E27FC236}">
                        <a16:creationId xmlns:a16="http://schemas.microsoft.com/office/drawing/2014/main" id="{83D11AF7-7041-4B95-8016-983EFAB0A717}"/>
                      </a:ext>
                    </a:extLst>
                  </p:cNvPr>
                  <p:cNvSpPr/>
                  <p:nvPr/>
                </p:nvSpPr>
                <p:spPr bwMode="auto">
                  <a:xfrm>
                    <a:off x="5842000" y="3567113"/>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13" name="íśliďé">
                    <a:extLst>
                      <a:ext uri="{FF2B5EF4-FFF2-40B4-BE49-F238E27FC236}">
                        <a16:creationId xmlns:a16="http://schemas.microsoft.com/office/drawing/2014/main" id="{0D55766A-0B96-4A3B-B93E-49F24CE1BD59}"/>
                      </a:ext>
                    </a:extLst>
                  </p:cNvPr>
                  <p:cNvSpPr/>
                  <p:nvPr/>
                </p:nvSpPr>
                <p:spPr bwMode="auto">
                  <a:xfrm>
                    <a:off x="5967413" y="3563938"/>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14" name="íṥḷíďê">
                    <a:extLst>
                      <a:ext uri="{FF2B5EF4-FFF2-40B4-BE49-F238E27FC236}">
                        <a16:creationId xmlns:a16="http://schemas.microsoft.com/office/drawing/2014/main" id="{66DFC9E4-F826-4E4A-A285-2EA649179FE6}"/>
                      </a:ext>
                    </a:extLst>
                  </p:cNvPr>
                  <p:cNvSpPr/>
                  <p:nvPr/>
                </p:nvSpPr>
                <p:spPr bwMode="auto">
                  <a:xfrm>
                    <a:off x="6076950" y="3563938"/>
                    <a:ext cx="69850" cy="125413"/>
                  </a:xfrm>
                  <a:prstGeom prst="rect">
                    <a:avLst/>
                  </a:prstGeom>
                  <a:grpFill/>
                  <a:ln w="9525">
                    <a:noFill/>
                    <a:miter lim="800000"/>
                    <a:headEnd/>
                    <a:tailEnd/>
                  </a:ln>
                </p:spPr>
                <p:txBody>
                  <a:bodyPr wrap="square" lIns="91440" tIns="45720" rIns="91440" bIns="45720" anchor="ctr">
                    <a:normAutofit fontScale="62500" lnSpcReduction="20000"/>
                  </a:bodyPr>
                  <a:lstStyle/>
                  <a:p>
                    <a:pPr algn="ctr"/>
                    <a:endParaRPr/>
                  </a:p>
                </p:txBody>
              </p:sp>
              <p:sp>
                <p:nvSpPr>
                  <p:cNvPr id="115" name="išliḍê">
                    <a:extLst>
                      <a:ext uri="{FF2B5EF4-FFF2-40B4-BE49-F238E27FC236}">
                        <a16:creationId xmlns:a16="http://schemas.microsoft.com/office/drawing/2014/main" id="{9966EEAD-C18C-4D39-8CC2-80576322E43D}"/>
                      </a:ext>
                    </a:extLst>
                  </p:cNvPr>
                  <p:cNvSpPr/>
                  <p:nvPr/>
                </p:nvSpPr>
                <p:spPr bwMode="auto">
                  <a:xfrm>
                    <a:off x="6224588" y="3670300"/>
                    <a:ext cx="22225" cy="239713"/>
                  </a:xfrm>
                  <a:prstGeom prst="rect">
                    <a:avLst/>
                  </a:prstGeom>
                  <a:grpFill/>
                  <a:ln w="9525">
                    <a:noFill/>
                    <a:miter lim="800000"/>
                    <a:headEnd/>
                    <a:tailEnd/>
                  </a:ln>
                </p:spPr>
                <p:txBody>
                  <a:bodyPr wrap="square" lIns="91440" tIns="45720" rIns="91440" bIns="45720" anchor="ctr">
                    <a:normAutofit/>
                  </a:bodyPr>
                  <a:lstStyle/>
                  <a:p>
                    <a:pPr algn="ctr"/>
                    <a:endParaRPr/>
                  </a:p>
                </p:txBody>
              </p:sp>
              <p:sp>
                <p:nvSpPr>
                  <p:cNvPr id="116" name="iṥľíḑè">
                    <a:extLst>
                      <a:ext uri="{FF2B5EF4-FFF2-40B4-BE49-F238E27FC236}">
                        <a16:creationId xmlns:a16="http://schemas.microsoft.com/office/drawing/2014/main" id="{B4B22ECA-B0E1-40C9-A391-C60D7EE987B1}"/>
                      </a:ext>
                    </a:extLst>
                  </p:cNvPr>
                  <p:cNvSpPr/>
                  <p:nvPr/>
                </p:nvSpPr>
                <p:spPr bwMode="auto">
                  <a:xfrm>
                    <a:off x="6107113" y="3448050"/>
                    <a:ext cx="249238" cy="252413"/>
                  </a:xfrm>
                  <a:prstGeom prst="ellipse">
                    <a:avLst/>
                  </a:prstGeom>
                  <a:grpFill/>
                  <a:ln w="9525">
                    <a:noFill/>
                    <a:round/>
                    <a:headEnd/>
                    <a:tailEnd/>
                  </a:ln>
                </p:spPr>
                <p:txBody>
                  <a:bodyPr wrap="square" lIns="91440" tIns="45720" rIns="91440" bIns="45720" anchor="ctr">
                    <a:normAutofit fontScale="92500" lnSpcReduction="20000"/>
                  </a:bodyPr>
                  <a:lstStyle/>
                  <a:p>
                    <a:pPr algn="ctr"/>
                    <a:endParaRPr/>
                  </a:p>
                </p:txBody>
              </p:sp>
              <p:sp>
                <p:nvSpPr>
                  <p:cNvPr id="117" name="ïšľîḑè">
                    <a:extLst>
                      <a:ext uri="{FF2B5EF4-FFF2-40B4-BE49-F238E27FC236}">
                        <a16:creationId xmlns:a16="http://schemas.microsoft.com/office/drawing/2014/main" id="{C9B3B699-79EA-42C5-86C1-2F341E326172}"/>
                      </a:ext>
                    </a:extLst>
                  </p:cNvPr>
                  <p:cNvSpPr/>
                  <p:nvPr/>
                </p:nvSpPr>
                <p:spPr bwMode="auto">
                  <a:xfrm>
                    <a:off x="6743700" y="3448050"/>
                    <a:ext cx="249238" cy="252413"/>
                  </a:xfrm>
                  <a:prstGeom prst="ellipse">
                    <a:avLst/>
                  </a:prstGeom>
                  <a:grpFill/>
                  <a:ln w="9525">
                    <a:noFill/>
                    <a:round/>
                    <a:headEnd/>
                    <a:tailEnd/>
                  </a:ln>
                </p:spPr>
                <p:txBody>
                  <a:bodyPr wrap="square" lIns="91440" tIns="45720" rIns="91440" bIns="45720" anchor="ctr">
                    <a:normAutofit fontScale="92500" lnSpcReduction="20000"/>
                  </a:bodyPr>
                  <a:lstStyle/>
                  <a:p>
                    <a:pPr algn="ctr"/>
                    <a:endParaRPr/>
                  </a:p>
                </p:txBody>
              </p:sp>
              <p:sp>
                <p:nvSpPr>
                  <p:cNvPr id="118" name="íSḻiḓê">
                    <a:extLst>
                      <a:ext uri="{FF2B5EF4-FFF2-40B4-BE49-F238E27FC236}">
                        <a16:creationId xmlns:a16="http://schemas.microsoft.com/office/drawing/2014/main" id="{E71FA97D-4FB1-4F59-BBED-A616056255AF}"/>
                      </a:ext>
                    </a:extLst>
                  </p:cNvPr>
                  <p:cNvSpPr/>
                  <p:nvPr/>
                </p:nvSpPr>
                <p:spPr bwMode="auto">
                  <a:xfrm>
                    <a:off x="6861175" y="3670300"/>
                    <a:ext cx="22225" cy="239713"/>
                  </a:xfrm>
                  <a:prstGeom prst="rect">
                    <a:avLst/>
                  </a:prstGeom>
                  <a:grpFill/>
                  <a:ln w="9525">
                    <a:noFill/>
                    <a:miter lim="800000"/>
                    <a:headEnd/>
                    <a:tailEnd/>
                  </a:ln>
                </p:spPr>
                <p:txBody>
                  <a:bodyPr wrap="square" lIns="91440" tIns="45720" rIns="91440" bIns="45720" anchor="ctr">
                    <a:normAutofit/>
                  </a:bodyPr>
                  <a:lstStyle/>
                  <a:p>
                    <a:pPr algn="ctr"/>
                    <a:endParaRPr/>
                  </a:p>
                </p:txBody>
              </p:sp>
              <p:sp>
                <p:nvSpPr>
                  <p:cNvPr id="119" name="i$ļiḓé">
                    <a:extLst>
                      <a:ext uri="{FF2B5EF4-FFF2-40B4-BE49-F238E27FC236}">
                        <a16:creationId xmlns:a16="http://schemas.microsoft.com/office/drawing/2014/main" id="{7C09E25B-FB2A-408F-9477-DFFEE930B708}"/>
                      </a:ext>
                    </a:extLst>
                  </p:cNvPr>
                  <p:cNvSpPr/>
                  <p:nvPr/>
                </p:nvSpPr>
                <p:spPr bwMode="auto">
                  <a:xfrm>
                    <a:off x="6743700" y="3448050"/>
                    <a:ext cx="249238" cy="252413"/>
                  </a:xfrm>
                  <a:prstGeom prst="ellipse">
                    <a:avLst/>
                  </a:prstGeom>
                  <a:grpFill/>
                  <a:ln w="9525">
                    <a:noFill/>
                    <a:round/>
                    <a:headEnd/>
                    <a:tailEnd/>
                  </a:ln>
                </p:spPr>
                <p:txBody>
                  <a:bodyPr wrap="square" lIns="91440" tIns="45720" rIns="91440" bIns="45720" anchor="ctr">
                    <a:normAutofit fontScale="92500" lnSpcReduction="20000"/>
                  </a:bodyPr>
                  <a:lstStyle/>
                  <a:p>
                    <a:pPr algn="ctr"/>
                    <a:endParaRPr/>
                  </a:p>
                </p:txBody>
              </p:sp>
              <p:sp>
                <p:nvSpPr>
                  <p:cNvPr id="120" name="ïṡļîḋe">
                    <a:extLst>
                      <a:ext uri="{FF2B5EF4-FFF2-40B4-BE49-F238E27FC236}">
                        <a16:creationId xmlns:a16="http://schemas.microsoft.com/office/drawing/2014/main" id="{6217AD4C-D61E-4CCB-BCF8-FAA0DFFC8447}"/>
                      </a:ext>
                    </a:extLst>
                  </p:cNvPr>
                  <p:cNvSpPr/>
                  <p:nvPr/>
                </p:nvSpPr>
                <p:spPr bwMode="auto">
                  <a:xfrm>
                    <a:off x="6743700" y="3448050"/>
                    <a:ext cx="128588" cy="252413"/>
                  </a:xfrm>
                  <a:custGeom>
                    <a:avLst/>
                    <a:gdLst/>
                    <a:ahLst/>
                    <a:cxnLst>
                      <a:cxn ang="0">
                        <a:pos x="35" y="1"/>
                      </a:cxn>
                      <a:cxn ang="0">
                        <a:pos x="34" y="0"/>
                      </a:cxn>
                      <a:cxn ang="0">
                        <a:pos x="0" y="34"/>
                      </a:cxn>
                      <a:cxn ang="0">
                        <a:pos x="34" y="68"/>
                      </a:cxn>
                      <a:cxn ang="0">
                        <a:pos x="35" y="67"/>
                      </a:cxn>
                      <a:cxn ang="0">
                        <a:pos x="35" y="1"/>
                      </a:cxn>
                    </a:cxnLst>
                    <a:rect l="0" t="0" r="r" b="b"/>
                    <a:pathLst>
                      <a:path w="35" h="68">
                        <a:moveTo>
                          <a:pt x="35" y="1"/>
                        </a:moveTo>
                        <a:cubicBezTo>
                          <a:pt x="34" y="1"/>
                          <a:pt x="34" y="0"/>
                          <a:pt x="34" y="0"/>
                        </a:cubicBezTo>
                        <a:cubicBezTo>
                          <a:pt x="15" y="0"/>
                          <a:pt x="0" y="15"/>
                          <a:pt x="0" y="34"/>
                        </a:cubicBezTo>
                        <a:cubicBezTo>
                          <a:pt x="0" y="53"/>
                          <a:pt x="15" y="68"/>
                          <a:pt x="34" y="68"/>
                        </a:cubicBezTo>
                        <a:cubicBezTo>
                          <a:pt x="34" y="68"/>
                          <a:pt x="34" y="68"/>
                          <a:pt x="35" y="67"/>
                        </a:cubicBezTo>
                        <a:lnTo>
                          <a:pt x="35" y="1"/>
                        </a:lnTo>
                        <a:close/>
                      </a:path>
                    </a:pathLst>
                  </a:custGeom>
                  <a:grpFill/>
                  <a:ln w="9525">
                    <a:noFill/>
                    <a:round/>
                    <a:headEnd/>
                    <a:tailEnd/>
                  </a:ln>
                </p:spPr>
                <p:txBody>
                  <a:bodyPr wrap="square" lIns="91440" tIns="45720" rIns="91440" bIns="45720" anchor="ctr">
                    <a:normAutofit/>
                  </a:bodyPr>
                  <a:lstStyle/>
                  <a:p>
                    <a:pPr algn="ctr"/>
                    <a:endParaRPr/>
                  </a:p>
                </p:txBody>
              </p:sp>
              <p:sp>
                <p:nvSpPr>
                  <p:cNvPr id="121" name="i$1ïďê">
                    <a:extLst>
                      <a:ext uri="{FF2B5EF4-FFF2-40B4-BE49-F238E27FC236}">
                        <a16:creationId xmlns:a16="http://schemas.microsoft.com/office/drawing/2014/main" id="{B2F111B0-A111-46C6-A393-E2DC89C9BC35}"/>
                      </a:ext>
                    </a:extLst>
                  </p:cNvPr>
                  <p:cNvSpPr/>
                  <p:nvPr/>
                </p:nvSpPr>
                <p:spPr bwMode="auto">
                  <a:xfrm>
                    <a:off x="6518275" y="3670300"/>
                    <a:ext cx="22225" cy="239713"/>
                  </a:xfrm>
                  <a:prstGeom prst="rect">
                    <a:avLst/>
                  </a:prstGeom>
                  <a:grpFill/>
                  <a:ln w="9525">
                    <a:noFill/>
                    <a:miter lim="800000"/>
                    <a:headEnd/>
                    <a:tailEnd/>
                  </a:ln>
                </p:spPr>
                <p:txBody>
                  <a:bodyPr wrap="square" lIns="91440" tIns="45720" rIns="91440" bIns="45720" anchor="ctr">
                    <a:normAutofit/>
                  </a:bodyPr>
                  <a:lstStyle/>
                  <a:p>
                    <a:pPr algn="ctr"/>
                    <a:endParaRPr/>
                  </a:p>
                </p:txBody>
              </p:sp>
              <p:sp>
                <p:nvSpPr>
                  <p:cNvPr id="122" name="ïşḷïḋe">
                    <a:extLst>
                      <a:ext uri="{FF2B5EF4-FFF2-40B4-BE49-F238E27FC236}">
                        <a16:creationId xmlns:a16="http://schemas.microsoft.com/office/drawing/2014/main" id="{94507FF3-761C-4E65-9E2B-5FC1544BD8CB}"/>
                      </a:ext>
                    </a:extLst>
                  </p:cNvPr>
                  <p:cNvSpPr/>
                  <p:nvPr/>
                </p:nvSpPr>
                <p:spPr bwMode="auto">
                  <a:xfrm>
                    <a:off x="6405563" y="3448050"/>
                    <a:ext cx="246063" cy="252413"/>
                  </a:xfrm>
                  <a:prstGeom prst="ellipse">
                    <a:avLst/>
                  </a:prstGeom>
                  <a:grpFill/>
                  <a:ln w="9525">
                    <a:noFill/>
                    <a:round/>
                    <a:headEnd/>
                    <a:tailEnd/>
                  </a:ln>
                </p:spPr>
                <p:txBody>
                  <a:bodyPr wrap="square" lIns="91440" tIns="45720" rIns="91440" bIns="45720" anchor="ctr">
                    <a:normAutofit fontScale="92500" lnSpcReduction="20000"/>
                  </a:bodyPr>
                  <a:lstStyle/>
                  <a:p>
                    <a:pPr algn="ctr"/>
                    <a:endParaRPr/>
                  </a:p>
                </p:txBody>
              </p:sp>
              <p:sp>
                <p:nvSpPr>
                  <p:cNvPr id="123" name="išḻídê">
                    <a:extLst>
                      <a:ext uri="{FF2B5EF4-FFF2-40B4-BE49-F238E27FC236}">
                        <a16:creationId xmlns:a16="http://schemas.microsoft.com/office/drawing/2014/main" id="{B8B18BDE-122F-4277-9DE4-3457314D9B55}"/>
                      </a:ext>
                    </a:extLst>
                  </p:cNvPr>
                  <p:cNvSpPr/>
                  <p:nvPr/>
                </p:nvSpPr>
                <p:spPr bwMode="auto">
                  <a:xfrm>
                    <a:off x="6405563" y="3448050"/>
                    <a:ext cx="128588" cy="252413"/>
                  </a:xfrm>
                  <a:custGeom>
                    <a:avLst/>
                    <a:gdLst/>
                    <a:ahLst/>
                    <a:cxnLst>
                      <a:cxn ang="0">
                        <a:pos x="35" y="1"/>
                      </a:cxn>
                      <a:cxn ang="0">
                        <a:pos x="33" y="0"/>
                      </a:cxn>
                      <a:cxn ang="0">
                        <a:pos x="0" y="34"/>
                      </a:cxn>
                      <a:cxn ang="0">
                        <a:pos x="33" y="68"/>
                      </a:cxn>
                      <a:cxn ang="0">
                        <a:pos x="35" y="67"/>
                      </a:cxn>
                      <a:cxn ang="0">
                        <a:pos x="35" y="1"/>
                      </a:cxn>
                    </a:cxnLst>
                    <a:rect l="0" t="0" r="r" b="b"/>
                    <a:pathLst>
                      <a:path w="35" h="68">
                        <a:moveTo>
                          <a:pt x="35" y="1"/>
                        </a:moveTo>
                        <a:cubicBezTo>
                          <a:pt x="34" y="1"/>
                          <a:pt x="34" y="0"/>
                          <a:pt x="33" y="0"/>
                        </a:cubicBezTo>
                        <a:cubicBezTo>
                          <a:pt x="15" y="0"/>
                          <a:pt x="0" y="15"/>
                          <a:pt x="0" y="34"/>
                        </a:cubicBezTo>
                        <a:cubicBezTo>
                          <a:pt x="0" y="53"/>
                          <a:pt x="15" y="68"/>
                          <a:pt x="33" y="68"/>
                        </a:cubicBezTo>
                        <a:cubicBezTo>
                          <a:pt x="34" y="68"/>
                          <a:pt x="34" y="67"/>
                          <a:pt x="35" y="67"/>
                        </a:cubicBezTo>
                        <a:lnTo>
                          <a:pt x="35" y="1"/>
                        </a:lnTo>
                        <a:close/>
                      </a:path>
                    </a:pathLst>
                  </a:custGeom>
                  <a:grpFill/>
                  <a:ln w="9525">
                    <a:noFill/>
                    <a:round/>
                    <a:headEnd/>
                    <a:tailEnd/>
                  </a:ln>
                </p:spPr>
                <p:txBody>
                  <a:bodyPr wrap="square" lIns="91440" tIns="45720" rIns="91440" bIns="45720" anchor="ctr">
                    <a:normAutofit/>
                  </a:bodyPr>
                  <a:lstStyle/>
                  <a:p>
                    <a:pPr algn="ctr"/>
                    <a:endParaRPr/>
                  </a:p>
                </p:txBody>
              </p:sp>
              <p:sp>
                <p:nvSpPr>
                  <p:cNvPr id="124" name="ïşlíde">
                    <a:extLst>
                      <a:ext uri="{FF2B5EF4-FFF2-40B4-BE49-F238E27FC236}">
                        <a16:creationId xmlns:a16="http://schemas.microsoft.com/office/drawing/2014/main" id="{DB9F0798-D670-4E1A-8BBD-0D156F0E36FE}"/>
                      </a:ext>
                    </a:extLst>
                  </p:cNvPr>
                  <p:cNvSpPr/>
                  <p:nvPr/>
                </p:nvSpPr>
                <p:spPr bwMode="auto">
                  <a:xfrm>
                    <a:off x="7342188" y="3759200"/>
                    <a:ext cx="581025" cy="107950"/>
                  </a:xfrm>
                  <a:custGeom>
                    <a:avLst/>
                    <a:gdLst/>
                    <a:ahLst/>
                    <a:cxnLst>
                      <a:cxn ang="0">
                        <a:pos x="158" y="14"/>
                      </a:cxn>
                      <a:cxn ang="0">
                        <a:pos x="143" y="29"/>
                      </a:cxn>
                      <a:cxn ang="0">
                        <a:pos x="11" y="29"/>
                      </a:cxn>
                      <a:cxn ang="0">
                        <a:pos x="5" y="14"/>
                      </a:cxn>
                      <a:cxn ang="0">
                        <a:pos x="5" y="14"/>
                      </a:cxn>
                      <a:cxn ang="0">
                        <a:pos x="41" y="0"/>
                      </a:cxn>
                      <a:cxn ang="0">
                        <a:pos x="143" y="0"/>
                      </a:cxn>
                      <a:cxn ang="0">
                        <a:pos x="158" y="14"/>
                      </a:cxn>
                    </a:cxnLst>
                    <a:rect l="0" t="0" r="r" b="b"/>
                    <a:pathLst>
                      <a:path w="158" h="29">
                        <a:moveTo>
                          <a:pt x="158" y="14"/>
                        </a:moveTo>
                        <a:cubicBezTo>
                          <a:pt x="158" y="22"/>
                          <a:pt x="151" y="29"/>
                          <a:pt x="143" y="29"/>
                        </a:cubicBezTo>
                        <a:cubicBezTo>
                          <a:pt x="11" y="29"/>
                          <a:pt x="11" y="29"/>
                          <a:pt x="11" y="29"/>
                        </a:cubicBezTo>
                        <a:cubicBezTo>
                          <a:pt x="3" y="29"/>
                          <a:pt x="0" y="20"/>
                          <a:pt x="5" y="14"/>
                        </a:cubicBezTo>
                        <a:cubicBezTo>
                          <a:pt x="5" y="14"/>
                          <a:pt x="5" y="14"/>
                          <a:pt x="5" y="14"/>
                        </a:cubicBezTo>
                        <a:cubicBezTo>
                          <a:pt x="12" y="6"/>
                          <a:pt x="33" y="0"/>
                          <a:pt x="41" y="0"/>
                        </a:cubicBezTo>
                        <a:cubicBezTo>
                          <a:pt x="143" y="0"/>
                          <a:pt x="143" y="0"/>
                          <a:pt x="143" y="0"/>
                        </a:cubicBezTo>
                        <a:cubicBezTo>
                          <a:pt x="151" y="0"/>
                          <a:pt x="158" y="6"/>
                          <a:pt x="158" y="14"/>
                        </a:cubicBezTo>
                        <a:close/>
                      </a:path>
                    </a:pathLst>
                  </a:custGeom>
                  <a:grpFill/>
                  <a:ln w="9525">
                    <a:noFill/>
                    <a:round/>
                    <a:headEnd/>
                    <a:tailEnd/>
                  </a:ln>
                </p:spPr>
                <p:txBody>
                  <a:bodyPr wrap="square" lIns="91440" tIns="45720" rIns="91440" bIns="45720" anchor="ctr">
                    <a:normAutofit fontScale="40000" lnSpcReduction="20000"/>
                  </a:bodyPr>
                  <a:lstStyle/>
                  <a:p>
                    <a:pPr algn="ctr"/>
                    <a:endParaRPr/>
                  </a:p>
                </p:txBody>
              </p:sp>
              <p:sp>
                <p:nvSpPr>
                  <p:cNvPr id="125" name="íşḻïḑe">
                    <a:extLst>
                      <a:ext uri="{FF2B5EF4-FFF2-40B4-BE49-F238E27FC236}">
                        <a16:creationId xmlns:a16="http://schemas.microsoft.com/office/drawing/2014/main" id="{B4145391-6532-449B-A955-B725DFB0A1DB}"/>
                      </a:ext>
                    </a:extLst>
                  </p:cNvPr>
                  <p:cNvSpPr/>
                  <p:nvPr/>
                </p:nvSpPr>
                <p:spPr bwMode="auto">
                  <a:xfrm>
                    <a:off x="7481888" y="3659188"/>
                    <a:ext cx="396875" cy="100013"/>
                  </a:xfrm>
                  <a:custGeom>
                    <a:avLst/>
                    <a:gdLst/>
                    <a:ahLst/>
                    <a:cxnLst>
                      <a:cxn ang="0">
                        <a:pos x="108" y="27"/>
                      </a:cxn>
                      <a:cxn ang="0">
                        <a:pos x="54" y="1"/>
                      </a:cxn>
                      <a:cxn ang="0">
                        <a:pos x="0" y="27"/>
                      </a:cxn>
                      <a:cxn ang="0">
                        <a:pos x="108" y="27"/>
                      </a:cxn>
                    </a:cxnLst>
                    <a:rect l="0" t="0" r="r" b="b"/>
                    <a:pathLst>
                      <a:path w="108" h="27">
                        <a:moveTo>
                          <a:pt x="108" y="27"/>
                        </a:moveTo>
                        <a:cubicBezTo>
                          <a:pt x="108" y="13"/>
                          <a:pt x="84" y="0"/>
                          <a:pt x="54" y="1"/>
                        </a:cubicBezTo>
                        <a:cubicBezTo>
                          <a:pt x="34" y="2"/>
                          <a:pt x="7" y="14"/>
                          <a:pt x="0" y="27"/>
                        </a:cubicBezTo>
                        <a:lnTo>
                          <a:pt x="108" y="27"/>
                        </a:lnTo>
                        <a:close/>
                      </a:path>
                    </a:pathLst>
                  </a:custGeom>
                  <a:grpFill/>
                  <a:ln w="9525">
                    <a:noFill/>
                    <a:round/>
                    <a:headEnd/>
                    <a:tailEnd/>
                  </a:ln>
                </p:spPr>
                <p:txBody>
                  <a:bodyPr wrap="square" lIns="91440" tIns="45720" rIns="91440" bIns="45720" anchor="ctr">
                    <a:normAutofit fontScale="40000" lnSpcReduction="20000"/>
                  </a:bodyPr>
                  <a:lstStyle/>
                  <a:p>
                    <a:pPr algn="ctr"/>
                    <a:endParaRPr/>
                  </a:p>
                </p:txBody>
              </p:sp>
              <p:sp>
                <p:nvSpPr>
                  <p:cNvPr id="126" name="îṩļiḍè">
                    <a:extLst>
                      <a:ext uri="{FF2B5EF4-FFF2-40B4-BE49-F238E27FC236}">
                        <a16:creationId xmlns:a16="http://schemas.microsoft.com/office/drawing/2014/main" id="{2BCE881B-6D78-44F6-BB84-AACC2B858276}"/>
                      </a:ext>
                    </a:extLst>
                  </p:cNvPr>
                  <p:cNvSpPr/>
                  <p:nvPr/>
                </p:nvSpPr>
                <p:spPr bwMode="auto">
                  <a:xfrm>
                    <a:off x="7442200" y="3811588"/>
                    <a:ext cx="95250" cy="95250"/>
                  </a:xfrm>
                  <a:prstGeom prst="ellipse">
                    <a:avLst/>
                  </a:prstGeom>
                  <a:grpFill/>
                  <a:ln w="9525">
                    <a:noFill/>
                    <a:round/>
                    <a:headEnd/>
                    <a:tailEnd/>
                  </a:ln>
                </p:spPr>
                <p:txBody>
                  <a:bodyPr wrap="square" lIns="91440" tIns="45720" rIns="91440" bIns="45720" anchor="ctr">
                    <a:normAutofit fontScale="25000" lnSpcReduction="20000"/>
                  </a:bodyPr>
                  <a:lstStyle/>
                  <a:p>
                    <a:pPr algn="ctr"/>
                    <a:endParaRPr/>
                  </a:p>
                </p:txBody>
              </p:sp>
              <p:sp>
                <p:nvSpPr>
                  <p:cNvPr id="127" name="iṣliḍé">
                    <a:extLst>
                      <a:ext uri="{FF2B5EF4-FFF2-40B4-BE49-F238E27FC236}">
                        <a16:creationId xmlns:a16="http://schemas.microsoft.com/office/drawing/2014/main" id="{1E3B461A-B384-4E72-88CD-26954FE37D25}"/>
                      </a:ext>
                    </a:extLst>
                  </p:cNvPr>
                  <p:cNvSpPr/>
                  <p:nvPr/>
                </p:nvSpPr>
                <p:spPr bwMode="auto">
                  <a:xfrm>
                    <a:off x="7518400" y="3673475"/>
                    <a:ext cx="349250" cy="82550"/>
                  </a:xfrm>
                  <a:custGeom>
                    <a:avLst/>
                    <a:gdLst/>
                    <a:ahLst/>
                    <a:cxnLst>
                      <a:cxn ang="0">
                        <a:pos x="95" y="22"/>
                      </a:cxn>
                      <a:cxn ang="0">
                        <a:pos x="47" y="0"/>
                      </a:cxn>
                      <a:cxn ang="0">
                        <a:pos x="0" y="22"/>
                      </a:cxn>
                      <a:cxn ang="0">
                        <a:pos x="95" y="22"/>
                      </a:cxn>
                    </a:cxnLst>
                    <a:rect l="0" t="0" r="r" b="b"/>
                    <a:pathLst>
                      <a:path w="95" h="22">
                        <a:moveTo>
                          <a:pt x="95" y="22"/>
                        </a:moveTo>
                        <a:cubicBezTo>
                          <a:pt x="94" y="11"/>
                          <a:pt x="73" y="0"/>
                          <a:pt x="47" y="0"/>
                        </a:cubicBezTo>
                        <a:cubicBezTo>
                          <a:pt x="24" y="1"/>
                          <a:pt x="1" y="11"/>
                          <a:pt x="0" y="22"/>
                        </a:cubicBezTo>
                        <a:lnTo>
                          <a:pt x="95" y="22"/>
                        </a:lnTo>
                        <a:close/>
                      </a:path>
                    </a:pathLst>
                  </a:custGeom>
                  <a:grpFill/>
                  <a:ln w="9525">
                    <a:noFill/>
                    <a:round/>
                    <a:headEnd/>
                    <a:tailEnd/>
                  </a:ln>
                </p:spPr>
                <p:txBody>
                  <a:bodyPr wrap="square" lIns="91440" tIns="45720" rIns="91440" bIns="45720" anchor="ctr">
                    <a:normAutofit fontScale="25000" lnSpcReduction="20000"/>
                  </a:bodyPr>
                  <a:lstStyle/>
                  <a:p>
                    <a:pPr algn="ctr"/>
                    <a:endParaRPr/>
                  </a:p>
                </p:txBody>
              </p:sp>
              <p:sp>
                <p:nvSpPr>
                  <p:cNvPr id="128" name="iSḻîdê">
                    <a:extLst>
                      <a:ext uri="{FF2B5EF4-FFF2-40B4-BE49-F238E27FC236}">
                        <a16:creationId xmlns:a16="http://schemas.microsoft.com/office/drawing/2014/main" id="{FABBDE2D-318A-4D26-B6E7-436109B89F24}"/>
                      </a:ext>
                    </a:extLst>
                  </p:cNvPr>
                  <p:cNvSpPr/>
                  <p:nvPr/>
                </p:nvSpPr>
                <p:spPr bwMode="auto">
                  <a:xfrm>
                    <a:off x="7632700" y="3678238"/>
                    <a:ext cx="11113" cy="80963"/>
                  </a:xfrm>
                  <a:prstGeom prst="rect">
                    <a:avLst/>
                  </a:prstGeom>
                  <a:grpFill/>
                  <a:ln w="9525">
                    <a:noFill/>
                    <a:miter lim="800000"/>
                    <a:headEnd/>
                    <a:tailEnd/>
                  </a:ln>
                </p:spPr>
                <p:txBody>
                  <a:bodyPr wrap="square" lIns="91440" tIns="45720" rIns="91440" bIns="45720" anchor="ctr">
                    <a:normAutofit fontScale="25000" lnSpcReduction="20000"/>
                  </a:bodyPr>
                  <a:lstStyle/>
                  <a:p>
                    <a:pPr algn="ctr"/>
                    <a:endParaRPr/>
                  </a:p>
                </p:txBody>
              </p:sp>
              <p:sp>
                <p:nvSpPr>
                  <p:cNvPr id="129" name="îślïḑè">
                    <a:extLst>
                      <a:ext uri="{FF2B5EF4-FFF2-40B4-BE49-F238E27FC236}">
                        <a16:creationId xmlns:a16="http://schemas.microsoft.com/office/drawing/2014/main" id="{3E397ED5-829A-4096-BAE2-ADDFDDBF0EE8}"/>
                      </a:ext>
                    </a:extLst>
                  </p:cNvPr>
                  <p:cNvSpPr/>
                  <p:nvPr/>
                </p:nvSpPr>
                <p:spPr bwMode="auto">
                  <a:xfrm>
                    <a:off x="7794625" y="3684588"/>
                    <a:ext cx="11113" cy="82550"/>
                  </a:xfrm>
                  <a:prstGeom prst="rect">
                    <a:avLst/>
                  </a:prstGeom>
                  <a:grpFill/>
                  <a:ln w="9525">
                    <a:noFill/>
                    <a:miter lim="800000"/>
                    <a:headEnd/>
                    <a:tailEnd/>
                  </a:ln>
                </p:spPr>
                <p:txBody>
                  <a:bodyPr wrap="square" lIns="91440" tIns="45720" rIns="91440" bIns="45720" anchor="ctr">
                    <a:normAutofit fontScale="25000" lnSpcReduction="20000"/>
                  </a:bodyPr>
                  <a:lstStyle/>
                  <a:p>
                    <a:pPr algn="ctr"/>
                    <a:endParaRPr/>
                  </a:p>
                </p:txBody>
              </p:sp>
              <p:sp>
                <p:nvSpPr>
                  <p:cNvPr id="130" name="ïŝlïḍê">
                    <a:extLst>
                      <a:ext uri="{FF2B5EF4-FFF2-40B4-BE49-F238E27FC236}">
                        <a16:creationId xmlns:a16="http://schemas.microsoft.com/office/drawing/2014/main" id="{CFEC7244-C2E8-4D31-9142-4F7464260C95}"/>
                      </a:ext>
                    </a:extLst>
                  </p:cNvPr>
                  <p:cNvSpPr/>
                  <p:nvPr/>
                </p:nvSpPr>
                <p:spPr bwMode="auto">
                  <a:xfrm>
                    <a:off x="7453313" y="3822700"/>
                    <a:ext cx="73025" cy="76200"/>
                  </a:xfrm>
                  <a:prstGeom prst="ellipse">
                    <a:avLst/>
                  </a:prstGeom>
                  <a:grpFill/>
                  <a:ln w="9525">
                    <a:noFill/>
                    <a:round/>
                    <a:headEnd/>
                    <a:tailEnd/>
                  </a:ln>
                </p:spPr>
                <p:txBody>
                  <a:bodyPr wrap="square" lIns="91440" tIns="45720" rIns="91440" bIns="45720" anchor="ctr">
                    <a:normAutofit fontScale="25000" lnSpcReduction="20000"/>
                  </a:bodyPr>
                  <a:lstStyle/>
                  <a:p>
                    <a:pPr algn="ctr"/>
                    <a:endParaRPr/>
                  </a:p>
                </p:txBody>
              </p:sp>
              <p:sp>
                <p:nvSpPr>
                  <p:cNvPr id="131" name="ïşľîḋê">
                    <a:extLst>
                      <a:ext uri="{FF2B5EF4-FFF2-40B4-BE49-F238E27FC236}">
                        <a16:creationId xmlns:a16="http://schemas.microsoft.com/office/drawing/2014/main" id="{22603818-FC40-4A25-A1FB-9B7396CEDD50}"/>
                      </a:ext>
                    </a:extLst>
                  </p:cNvPr>
                  <p:cNvSpPr/>
                  <p:nvPr/>
                </p:nvSpPr>
                <p:spPr bwMode="auto">
                  <a:xfrm>
                    <a:off x="7775575" y="3811588"/>
                    <a:ext cx="96838" cy="95250"/>
                  </a:xfrm>
                  <a:prstGeom prst="ellipse">
                    <a:avLst/>
                  </a:prstGeom>
                  <a:grpFill/>
                  <a:ln w="9525">
                    <a:noFill/>
                    <a:round/>
                    <a:headEnd/>
                    <a:tailEnd/>
                  </a:ln>
                </p:spPr>
                <p:txBody>
                  <a:bodyPr wrap="square" lIns="91440" tIns="45720" rIns="91440" bIns="45720" anchor="ctr">
                    <a:normAutofit fontScale="25000" lnSpcReduction="20000"/>
                  </a:bodyPr>
                  <a:lstStyle/>
                  <a:p>
                    <a:pPr algn="ctr"/>
                    <a:endParaRPr/>
                  </a:p>
                </p:txBody>
              </p:sp>
              <p:sp>
                <p:nvSpPr>
                  <p:cNvPr id="132" name="íSľîḋè">
                    <a:extLst>
                      <a:ext uri="{FF2B5EF4-FFF2-40B4-BE49-F238E27FC236}">
                        <a16:creationId xmlns:a16="http://schemas.microsoft.com/office/drawing/2014/main" id="{7E06358D-8A21-4B7C-9417-FF7B5320EAF3}"/>
                      </a:ext>
                    </a:extLst>
                  </p:cNvPr>
                  <p:cNvSpPr/>
                  <p:nvPr/>
                </p:nvSpPr>
                <p:spPr bwMode="auto">
                  <a:xfrm>
                    <a:off x="7786688" y="3822700"/>
                    <a:ext cx="74613" cy="76200"/>
                  </a:xfrm>
                  <a:prstGeom prst="ellipse">
                    <a:avLst/>
                  </a:prstGeom>
                  <a:grpFill/>
                  <a:ln w="9525">
                    <a:noFill/>
                    <a:round/>
                    <a:headEnd/>
                    <a:tailEnd/>
                  </a:ln>
                </p:spPr>
                <p:txBody>
                  <a:bodyPr wrap="square" lIns="91440" tIns="45720" rIns="91440" bIns="45720" anchor="ctr">
                    <a:normAutofit fontScale="25000" lnSpcReduction="20000"/>
                  </a:bodyPr>
                  <a:lstStyle/>
                  <a:p>
                    <a:pPr algn="ctr"/>
                    <a:endParaRPr/>
                  </a:p>
                </p:txBody>
              </p:sp>
              <p:sp>
                <p:nvSpPr>
                  <p:cNvPr id="133" name="îšļíḍê">
                    <a:extLst>
                      <a:ext uri="{FF2B5EF4-FFF2-40B4-BE49-F238E27FC236}">
                        <a16:creationId xmlns:a16="http://schemas.microsoft.com/office/drawing/2014/main" id="{5A717630-2D00-45EA-BBBA-D23CF71CBDDF}"/>
                      </a:ext>
                    </a:extLst>
                  </p:cNvPr>
                  <p:cNvSpPr/>
                  <p:nvPr/>
                </p:nvSpPr>
                <p:spPr bwMode="auto">
                  <a:xfrm>
                    <a:off x="5475288" y="3759200"/>
                    <a:ext cx="576263" cy="107950"/>
                  </a:xfrm>
                  <a:custGeom>
                    <a:avLst/>
                    <a:gdLst/>
                    <a:ahLst/>
                    <a:cxnLst>
                      <a:cxn ang="0">
                        <a:pos x="157" y="14"/>
                      </a:cxn>
                      <a:cxn ang="0">
                        <a:pos x="143" y="29"/>
                      </a:cxn>
                      <a:cxn ang="0">
                        <a:pos x="11" y="29"/>
                      </a:cxn>
                      <a:cxn ang="0">
                        <a:pos x="4" y="14"/>
                      </a:cxn>
                      <a:cxn ang="0">
                        <a:pos x="4" y="14"/>
                      </a:cxn>
                      <a:cxn ang="0">
                        <a:pos x="40" y="0"/>
                      </a:cxn>
                      <a:cxn ang="0">
                        <a:pos x="143" y="0"/>
                      </a:cxn>
                      <a:cxn ang="0">
                        <a:pos x="157" y="14"/>
                      </a:cxn>
                    </a:cxnLst>
                    <a:rect l="0" t="0" r="r" b="b"/>
                    <a:pathLst>
                      <a:path w="157" h="29">
                        <a:moveTo>
                          <a:pt x="157" y="14"/>
                        </a:moveTo>
                        <a:cubicBezTo>
                          <a:pt x="157" y="22"/>
                          <a:pt x="151" y="29"/>
                          <a:pt x="143" y="29"/>
                        </a:cubicBezTo>
                        <a:cubicBezTo>
                          <a:pt x="11" y="29"/>
                          <a:pt x="11" y="29"/>
                          <a:pt x="11" y="29"/>
                        </a:cubicBezTo>
                        <a:cubicBezTo>
                          <a:pt x="3" y="29"/>
                          <a:pt x="0" y="20"/>
                          <a:pt x="4" y="14"/>
                        </a:cubicBezTo>
                        <a:cubicBezTo>
                          <a:pt x="4" y="14"/>
                          <a:pt x="4" y="14"/>
                          <a:pt x="4" y="14"/>
                        </a:cubicBezTo>
                        <a:cubicBezTo>
                          <a:pt x="11" y="6"/>
                          <a:pt x="32" y="0"/>
                          <a:pt x="40" y="0"/>
                        </a:cubicBezTo>
                        <a:cubicBezTo>
                          <a:pt x="143" y="0"/>
                          <a:pt x="143" y="0"/>
                          <a:pt x="143" y="0"/>
                        </a:cubicBezTo>
                        <a:cubicBezTo>
                          <a:pt x="151" y="0"/>
                          <a:pt x="157" y="6"/>
                          <a:pt x="157" y="14"/>
                        </a:cubicBezTo>
                        <a:close/>
                      </a:path>
                    </a:pathLst>
                  </a:custGeom>
                  <a:grpFill/>
                  <a:ln w="9525">
                    <a:noFill/>
                    <a:round/>
                    <a:headEnd/>
                    <a:tailEnd/>
                  </a:ln>
                </p:spPr>
                <p:txBody>
                  <a:bodyPr wrap="square" lIns="91440" tIns="45720" rIns="91440" bIns="45720" anchor="ctr">
                    <a:normAutofit fontScale="40000" lnSpcReduction="20000"/>
                  </a:bodyPr>
                  <a:lstStyle/>
                  <a:p>
                    <a:pPr algn="ctr"/>
                    <a:endParaRPr/>
                  </a:p>
                </p:txBody>
              </p:sp>
              <p:sp>
                <p:nvSpPr>
                  <p:cNvPr id="134" name="iṧḻiḋè">
                    <a:extLst>
                      <a:ext uri="{FF2B5EF4-FFF2-40B4-BE49-F238E27FC236}">
                        <a16:creationId xmlns:a16="http://schemas.microsoft.com/office/drawing/2014/main" id="{845424FA-40CF-41EB-97C3-0CC514A56BD5}"/>
                      </a:ext>
                    </a:extLst>
                  </p:cNvPr>
                  <p:cNvSpPr/>
                  <p:nvPr/>
                </p:nvSpPr>
                <p:spPr bwMode="auto">
                  <a:xfrm>
                    <a:off x="5614988" y="3659188"/>
                    <a:ext cx="396875" cy="100013"/>
                  </a:xfrm>
                  <a:custGeom>
                    <a:avLst/>
                    <a:gdLst/>
                    <a:ahLst/>
                    <a:cxnLst>
                      <a:cxn ang="0">
                        <a:pos x="108" y="27"/>
                      </a:cxn>
                      <a:cxn ang="0">
                        <a:pos x="54" y="1"/>
                      </a:cxn>
                      <a:cxn ang="0">
                        <a:pos x="0" y="27"/>
                      </a:cxn>
                      <a:cxn ang="0">
                        <a:pos x="108" y="27"/>
                      </a:cxn>
                    </a:cxnLst>
                    <a:rect l="0" t="0" r="r" b="b"/>
                    <a:pathLst>
                      <a:path w="108" h="27">
                        <a:moveTo>
                          <a:pt x="108" y="27"/>
                        </a:moveTo>
                        <a:cubicBezTo>
                          <a:pt x="107" y="13"/>
                          <a:pt x="83" y="0"/>
                          <a:pt x="54" y="1"/>
                        </a:cubicBezTo>
                        <a:cubicBezTo>
                          <a:pt x="34" y="2"/>
                          <a:pt x="7" y="14"/>
                          <a:pt x="0" y="27"/>
                        </a:cubicBezTo>
                        <a:lnTo>
                          <a:pt x="108" y="27"/>
                        </a:lnTo>
                        <a:close/>
                      </a:path>
                    </a:pathLst>
                  </a:custGeom>
                  <a:grpFill/>
                  <a:ln w="9525">
                    <a:noFill/>
                    <a:round/>
                    <a:headEnd/>
                    <a:tailEnd/>
                  </a:ln>
                </p:spPr>
                <p:txBody>
                  <a:bodyPr wrap="square" lIns="91440" tIns="45720" rIns="91440" bIns="45720" anchor="ctr">
                    <a:normAutofit fontScale="40000" lnSpcReduction="20000"/>
                  </a:bodyPr>
                  <a:lstStyle/>
                  <a:p>
                    <a:pPr algn="ctr"/>
                    <a:endParaRPr/>
                  </a:p>
                </p:txBody>
              </p:sp>
              <p:sp>
                <p:nvSpPr>
                  <p:cNvPr id="135" name="ïşḻiḋé">
                    <a:extLst>
                      <a:ext uri="{FF2B5EF4-FFF2-40B4-BE49-F238E27FC236}">
                        <a16:creationId xmlns:a16="http://schemas.microsoft.com/office/drawing/2014/main" id="{3494EBC1-35DE-45BE-8140-313C805BD1B3}"/>
                      </a:ext>
                    </a:extLst>
                  </p:cNvPr>
                  <p:cNvSpPr/>
                  <p:nvPr/>
                </p:nvSpPr>
                <p:spPr bwMode="auto">
                  <a:xfrm>
                    <a:off x="5573713" y="3811588"/>
                    <a:ext cx="92075" cy="95250"/>
                  </a:xfrm>
                  <a:prstGeom prst="ellipse">
                    <a:avLst/>
                  </a:prstGeom>
                  <a:grpFill/>
                  <a:ln w="9525">
                    <a:noFill/>
                    <a:round/>
                    <a:headEnd/>
                    <a:tailEnd/>
                  </a:ln>
                </p:spPr>
                <p:txBody>
                  <a:bodyPr wrap="square" lIns="91440" tIns="45720" rIns="91440" bIns="45720" anchor="ctr">
                    <a:normAutofit fontScale="25000" lnSpcReduction="20000"/>
                  </a:bodyPr>
                  <a:lstStyle/>
                  <a:p>
                    <a:pPr algn="ctr"/>
                    <a:endParaRPr/>
                  </a:p>
                </p:txBody>
              </p:sp>
              <p:sp>
                <p:nvSpPr>
                  <p:cNvPr id="136" name="iś1iḋè">
                    <a:extLst>
                      <a:ext uri="{FF2B5EF4-FFF2-40B4-BE49-F238E27FC236}">
                        <a16:creationId xmlns:a16="http://schemas.microsoft.com/office/drawing/2014/main" id="{CCCD4595-5892-4854-97CD-37E3599FD4FB}"/>
                      </a:ext>
                    </a:extLst>
                  </p:cNvPr>
                  <p:cNvSpPr/>
                  <p:nvPr/>
                </p:nvSpPr>
                <p:spPr bwMode="auto">
                  <a:xfrm>
                    <a:off x="5651500" y="3673475"/>
                    <a:ext cx="346075" cy="82550"/>
                  </a:xfrm>
                  <a:custGeom>
                    <a:avLst/>
                    <a:gdLst/>
                    <a:ahLst/>
                    <a:cxnLst>
                      <a:cxn ang="0">
                        <a:pos x="94" y="22"/>
                      </a:cxn>
                      <a:cxn ang="0">
                        <a:pos x="47" y="0"/>
                      </a:cxn>
                      <a:cxn ang="0">
                        <a:pos x="0" y="22"/>
                      </a:cxn>
                      <a:cxn ang="0">
                        <a:pos x="94" y="22"/>
                      </a:cxn>
                    </a:cxnLst>
                    <a:rect l="0" t="0" r="r" b="b"/>
                    <a:pathLst>
                      <a:path w="94" h="22">
                        <a:moveTo>
                          <a:pt x="94" y="22"/>
                        </a:moveTo>
                        <a:cubicBezTo>
                          <a:pt x="94" y="11"/>
                          <a:pt x="73" y="0"/>
                          <a:pt x="47" y="0"/>
                        </a:cubicBezTo>
                        <a:cubicBezTo>
                          <a:pt x="24" y="1"/>
                          <a:pt x="0" y="11"/>
                          <a:pt x="0" y="22"/>
                        </a:cubicBezTo>
                        <a:lnTo>
                          <a:pt x="94" y="22"/>
                        </a:lnTo>
                        <a:close/>
                      </a:path>
                    </a:pathLst>
                  </a:custGeom>
                  <a:grpFill/>
                  <a:ln w="9525">
                    <a:noFill/>
                    <a:round/>
                    <a:headEnd/>
                    <a:tailEnd/>
                  </a:ln>
                </p:spPr>
                <p:txBody>
                  <a:bodyPr wrap="square" lIns="91440" tIns="45720" rIns="91440" bIns="45720" anchor="ctr">
                    <a:normAutofit fontScale="25000" lnSpcReduction="20000"/>
                  </a:bodyPr>
                  <a:lstStyle/>
                  <a:p>
                    <a:pPr algn="ctr"/>
                    <a:endParaRPr/>
                  </a:p>
                </p:txBody>
              </p:sp>
              <p:sp>
                <p:nvSpPr>
                  <p:cNvPr id="137" name="íṩḻide">
                    <a:extLst>
                      <a:ext uri="{FF2B5EF4-FFF2-40B4-BE49-F238E27FC236}">
                        <a16:creationId xmlns:a16="http://schemas.microsoft.com/office/drawing/2014/main" id="{AA3AF577-31ED-4C85-A5B5-486E00EFA299}"/>
                      </a:ext>
                    </a:extLst>
                  </p:cNvPr>
                  <p:cNvSpPr/>
                  <p:nvPr/>
                </p:nvSpPr>
                <p:spPr bwMode="auto">
                  <a:xfrm>
                    <a:off x="5765800" y="3678238"/>
                    <a:ext cx="6350" cy="80963"/>
                  </a:xfrm>
                  <a:prstGeom prst="rect">
                    <a:avLst/>
                  </a:prstGeom>
                  <a:grpFill/>
                  <a:ln w="9525">
                    <a:noFill/>
                    <a:miter lim="800000"/>
                    <a:headEnd/>
                    <a:tailEnd/>
                  </a:ln>
                </p:spPr>
                <p:txBody>
                  <a:bodyPr wrap="square" lIns="91440" tIns="45720" rIns="91440" bIns="45720" anchor="ctr">
                    <a:normAutofit fontScale="25000" lnSpcReduction="20000"/>
                  </a:bodyPr>
                  <a:lstStyle/>
                  <a:p>
                    <a:pPr algn="ctr"/>
                    <a:endParaRPr/>
                  </a:p>
                </p:txBody>
              </p:sp>
              <p:sp>
                <p:nvSpPr>
                  <p:cNvPr id="138" name="íš1ïdé">
                    <a:extLst>
                      <a:ext uri="{FF2B5EF4-FFF2-40B4-BE49-F238E27FC236}">
                        <a16:creationId xmlns:a16="http://schemas.microsoft.com/office/drawing/2014/main" id="{C5320571-C7C1-44FA-87DF-5D235115B372}"/>
                      </a:ext>
                    </a:extLst>
                  </p:cNvPr>
                  <p:cNvSpPr/>
                  <p:nvPr/>
                </p:nvSpPr>
                <p:spPr bwMode="auto">
                  <a:xfrm>
                    <a:off x="5926138" y="3684588"/>
                    <a:ext cx="7938" cy="82550"/>
                  </a:xfrm>
                  <a:prstGeom prst="rect">
                    <a:avLst/>
                  </a:prstGeom>
                  <a:grpFill/>
                  <a:ln w="9525">
                    <a:noFill/>
                    <a:miter lim="800000"/>
                    <a:headEnd/>
                    <a:tailEnd/>
                  </a:ln>
                </p:spPr>
                <p:txBody>
                  <a:bodyPr wrap="square" lIns="91440" tIns="45720" rIns="91440" bIns="45720" anchor="ctr">
                    <a:normAutofit fontScale="25000" lnSpcReduction="20000"/>
                  </a:bodyPr>
                  <a:lstStyle/>
                  <a:p>
                    <a:pPr algn="ctr"/>
                    <a:endParaRPr/>
                  </a:p>
                </p:txBody>
              </p:sp>
              <p:sp>
                <p:nvSpPr>
                  <p:cNvPr id="139" name="ïṩľíḓé">
                    <a:extLst>
                      <a:ext uri="{FF2B5EF4-FFF2-40B4-BE49-F238E27FC236}">
                        <a16:creationId xmlns:a16="http://schemas.microsoft.com/office/drawing/2014/main" id="{0F566D54-DCBE-4C5F-8D28-075A2A38E4F9}"/>
                      </a:ext>
                    </a:extLst>
                  </p:cNvPr>
                  <p:cNvSpPr/>
                  <p:nvPr/>
                </p:nvSpPr>
                <p:spPr bwMode="auto">
                  <a:xfrm>
                    <a:off x="5581650" y="3822700"/>
                    <a:ext cx="76200" cy="76200"/>
                  </a:xfrm>
                  <a:prstGeom prst="ellipse">
                    <a:avLst/>
                  </a:prstGeom>
                  <a:grpFill/>
                  <a:ln w="9525">
                    <a:noFill/>
                    <a:round/>
                    <a:headEnd/>
                    <a:tailEnd/>
                  </a:ln>
                </p:spPr>
                <p:txBody>
                  <a:bodyPr wrap="square" lIns="91440" tIns="45720" rIns="91440" bIns="45720" anchor="ctr">
                    <a:normAutofit fontScale="25000" lnSpcReduction="20000"/>
                  </a:bodyPr>
                  <a:lstStyle/>
                  <a:p>
                    <a:pPr algn="ctr"/>
                    <a:endParaRPr/>
                  </a:p>
                </p:txBody>
              </p:sp>
              <p:sp>
                <p:nvSpPr>
                  <p:cNvPr id="140" name="išḷiḓè">
                    <a:extLst>
                      <a:ext uri="{FF2B5EF4-FFF2-40B4-BE49-F238E27FC236}">
                        <a16:creationId xmlns:a16="http://schemas.microsoft.com/office/drawing/2014/main" id="{2D0B6111-D616-4937-86BC-029B63894856}"/>
                      </a:ext>
                    </a:extLst>
                  </p:cNvPr>
                  <p:cNvSpPr/>
                  <p:nvPr/>
                </p:nvSpPr>
                <p:spPr bwMode="auto">
                  <a:xfrm>
                    <a:off x="5908675" y="3811588"/>
                    <a:ext cx="92075" cy="95250"/>
                  </a:xfrm>
                  <a:prstGeom prst="ellipse">
                    <a:avLst/>
                  </a:prstGeom>
                  <a:grpFill/>
                  <a:ln w="9525">
                    <a:noFill/>
                    <a:round/>
                    <a:headEnd/>
                    <a:tailEnd/>
                  </a:ln>
                </p:spPr>
                <p:txBody>
                  <a:bodyPr wrap="square" lIns="91440" tIns="45720" rIns="91440" bIns="45720" anchor="ctr">
                    <a:normAutofit fontScale="25000" lnSpcReduction="20000"/>
                  </a:bodyPr>
                  <a:lstStyle/>
                  <a:p>
                    <a:pPr algn="ctr"/>
                    <a:endParaRPr/>
                  </a:p>
                </p:txBody>
              </p:sp>
              <p:sp>
                <p:nvSpPr>
                  <p:cNvPr id="141" name="ïśḷîḑê">
                    <a:extLst>
                      <a:ext uri="{FF2B5EF4-FFF2-40B4-BE49-F238E27FC236}">
                        <a16:creationId xmlns:a16="http://schemas.microsoft.com/office/drawing/2014/main" id="{4B008C00-110E-48B9-83C8-CB3E107C88B9}"/>
                      </a:ext>
                    </a:extLst>
                  </p:cNvPr>
                  <p:cNvSpPr/>
                  <p:nvPr/>
                </p:nvSpPr>
                <p:spPr bwMode="auto">
                  <a:xfrm>
                    <a:off x="5916613" y="3822700"/>
                    <a:ext cx="76200" cy="76200"/>
                  </a:xfrm>
                  <a:prstGeom prst="ellipse">
                    <a:avLst/>
                  </a:prstGeom>
                  <a:grpFill/>
                  <a:ln w="9525">
                    <a:noFill/>
                    <a:round/>
                    <a:headEnd/>
                    <a:tailEnd/>
                  </a:ln>
                </p:spPr>
                <p:txBody>
                  <a:bodyPr wrap="square" lIns="91440" tIns="45720" rIns="91440" bIns="45720" anchor="ctr">
                    <a:normAutofit fontScale="25000" lnSpcReduction="20000"/>
                  </a:bodyPr>
                  <a:lstStyle/>
                  <a:p>
                    <a:pPr algn="ctr"/>
                    <a:endParaRPr/>
                  </a:p>
                </p:txBody>
              </p:sp>
              <p:sp>
                <p:nvSpPr>
                  <p:cNvPr id="142" name="íṡļidê">
                    <a:extLst>
                      <a:ext uri="{FF2B5EF4-FFF2-40B4-BE49-F238E27FC236}">
                        <a16:creationId xmlns:a16="http://schemas.microsoft.com/office/drawing/2014/main" id="{520CD4D6-ACED-4ED5-8985-4B8F46F40B56}"/>
                      </a:ext>
                    </a:extLst>
                  </p:cNvPr>
                  <p:cNvSpPr/>
                  <p:nvPr/>
                </p:nvSpPr>
                <p:spPr bwMode="auto">
                  <a:xfrm>
                    <a:off x="4668838" y="3408363"/>
                    <a:ext cx="681038" cy="501650"/>
                  </a:xfrm>
                  <a:custGeom>
                    <a:avLst/>
                    <a:gdLst/>
                    <a:ahLst/>
                    <a:cxnLst>
                      <a:cxn ang="0">
                        <a:pos x="185" y="136"/>
                      </a:cxn>
                      <a:cxn ang="0">
                        <a:pos x="82" y="0"/>
                      </a:cxn>
                      <a:cxn ang="0">
                        <a:pos x="0" y="38"/>
                      </a:cxn>
                      <a:cxn ang="0">
                        <a:pos x="7" y="136"/>
                      </a:cxn>
                      <a:cxn ang="0">
                        <a:pos x="185" y="136"/>
                      </a:cxn>
                    </a:cxnLst>
                    <a:rect l="0" t="0" r="r" b="b"/>
                    <a:pathLst>
                      <a:path w="185" h="136">
                        <a:moveTo>
                          <a:pt x="185" y="136"/>
                        </a:moveTo>
                        <a:cubicBezTo>
                          <a:pt x="156" y="97"/>
                          <a:pt x="82" y="0"/>
                          <a:pt x="82" y="0"/>
                        </a:cubicBezTo>
                        <a:cubicBezTo>
                          <a:pt x="0" y="38"/>
                          <a:pt x="0" y="38"/>
                          <a:pt x="0" y="38"/>
                        </a:cubicBezTo>
                        <a:cubicBezTo>
                          <a:pt x="7" y="136"/>
                          <a:pt x="7" y="136"/>
                          <a:pt x="7" y="136"/>
                        </a:cubicBezTo>
                        <a:lnTo>
                          <a:pt x="185" y="136"/>
                        </a:lnTo>
                        <a:close/>
                      </a:path>
                    </a:pathLst>
                  </a:custGeom>
                  <a:grpFill/>
                  <a:ln w="9525">
                    <a:noFill/>
                    <a:round/>
                    <a:headEnd/>
                    <a:tailEnd/>
                  </a:ln>
                </p:spPr>
                <p:txBody>
                  <a:bodyPr wrap="square" lIns="91440" tIns="45720" rIns="91440" bIns="45720" anchor="ctr">
                    <a:normAutofit/>
                  </a:bodyPr>
                  <a:lstStyle/>
                  <a:p>
                    <a:pPr algn="ctr"/>
                    <a:endParaRPr/>
                  </a:p>
                </p:txBody>
              </p:sp>
              <p:sp>
                <p:nvSpPr>
                  <p:cNvPr id="143" name="işḷïḑè">
                    <a:extLst>
                      <a:ext uri="{FF2B5EF4-FFF2-40B4-BE49-F238E27FC236}">
                        <a16:creationId xmlns:a16="http://schemas.microsoft.com/office/drawing/2014/main" id="{8E21C1E4-29F6-47EC-9BB9-B9755B535AF5}"/>
                      </a:ext>
                    </a:extLst>
                  </p:cNvPr>
                  <p:cNvSpPr/>
                  <p:nvPr/>
                </p:nvSpPr>
                <p:spPr bwMode="auto">
                  <a:xfrm>
                    <a:off x="4000500" y="2797175"/>
                    <a:ext cx="823913" cy="1112838"/>
                  </a:xfrm>
                  <a:custGeom>
                    <a:avLst/>
                    <a:gdLst/>
                    <a:ahLst/>
                    <a:cxnLst>
                      <a:cxn ang="0">
                        <a:pos x="519" y="701"/>
                      </a:cxn>
                      <a:cxn ang="0">
                        <a:pos x="273" y="0"/>
                      </a:cxn>
                      <a:cxn ang="0">
                        <a:pos x="37" y="459"/>
                      </a:cxn>
                      <a:cxn ang="0">
                        <a:pos x="0" y="701"/>
                      </a:cxn>
                      <a:cxn ang="0">
                        <a:pos x="519" y="701"/>
                      </a:cxn>
                    </a:cxnLst>
                    <a:rect l="0" t="0" r="r" b="b"/>
                    <a:pathLst>
                      <a:path w="519" h="701">
                        <a:moveTo>
                          <a:pt x="519" y="701"/>
                        </a:moveTo>
                        <a:lnTo>
                          <a:pt x="273" y="0"/>
                        </a:lnTo>
                        <a:lnTo>
                          <a:pt x="37" y="459"/>
                        </a:lnTo>
                        <a:lnTo>
                          <a:pt x="0" y="701"/>
                        </a:lnTo>
                        <a:lnTo>
                          <a:pt x="519" y="701"/>
                        </a:lnTo>
                        <a:close/>
                      </a:path>
                    </a:pathLst>
                  </a:custGeom>
                  <a:grpFill/>
                  <a:ln w="9525">
                    <a:noFill/>
                    <a:round/>
                    <a:headEnd/>
                    <a:tailEnd/>
                  </a:ln>
                </p:spPr>
                <p:txBody>
                  <a:bodyPr wrap="square" lIns="91440" tIns="45720" rIns="91440" bIns="45720" anchor="ctr">
                    <a:normAutofit/>
                  </a:bodyPr>
                  <a:lstStyle/>
                  <a:p>
                    <a:pPr algn="ctr"/>
                    <a:endParaRPr/>
                  </a:p>
                </p:txBody>
              </p:sp>
              <p:sp>
                <p:nvSpPr>
                  <p:cNvPr id="144" name="işḷiḍé">
                    <a:extLst>
                      <a:ext uri="{FF2B5EF4-FFF2-40B4-BE49-F238E27FC236}">
                        <a16:creationId xmlns:a16="http://schemas.microsoft.com/office/drawing/2014/main" id="{B2A3953C-E0A6-45AD-8EDF-9C43E31303D0}"/>
                      </a:ext>
                    </a:extLst>
                  </p:cNvPr>
                  <p:cNvSpPr/>
                  <p:nvPr/>
                </p:nvSpPr>
                <p:spPr bwMode="auto">
                  <a:xfrm>
                    <a:off x="3305175" y="3260725"/>
                    <a:ext cx="1058863" cy="649288"/>
                  </a:xfrm>
                  <a:custGeom>
                    <a:avLst/>
                    <a:gdLst/>
                    <a:ahLst/>
                    <a:cxnLst>
                      <a:cxn ang="0">
                        <a:pos x="288" y="176"/>
                      </a:cxn>
                      <a:cxn ang="0">
                        <a:pos x="172" y="1"/>
                      </a:cxn>
                      <a:cxn ang="0">
                        <a:pos x="0" y="176"/>
                      </a:cxn>
                      <a:cxn ang="0">
                        <a:pos x="288" y="176"/>
                      </a:cxn>
                    </a:cxnLst>
                    <a:rect l="0" t="0" r="r" b="b"/>
                    <a:pathLst>
                      <a:path w="288" h="176">
                        <a:moveTo>
                          <a:pt x="288" y="176"/>
                        </a:moveTo>
                        <a:cubicBezTo>
                          <a:pt x="260" y="132"/>
                          <a:pt x="174" y="3"/>
                          <a:pt x="172" y="1"/>
                        </a:cubicBezTo>
                        <a:cubicBezTo>
                          <a:pt x="169" y="0"/>
                          <a:pt x="46" y="128"/>
                          <a:pt x="0" y="176"/>
                        </a:cubicBezTo>
                        <a:lnTo>
                          <a:pt x="288" y="176"/>
                        </a:lnTo>
                        <a:close/>
                      </a:path>
                    </a:pathLst>
                  </a:custGeom>
                  <a:grpFill/>
                  <a:ln w="9525">
                    <a:noFill/>
                    <a:round/>
                    <a:headEnd/>
                    <a:tailEnd/>
                  </a:ln>
                </p:spPr>
                <p:txBody>
                  <a:bodyPr wrap="square" lIns="91440" tIns="45720" rIns="91440" bIns="45720" anchor="ctr">
                    <a:normAutofit/>
                  </a:bodyPr>
                  <a:lstStyle/>
                  <a:p>
                    <a:pPr algn="ctr"/>
                    <a:endParaRPr/>
                  </a:p>
                </p:txBody>
              </p:sp>
              <p:sp>
                <p:nvSpPr>
                  <p:cNvPr id="145" name="íšľîḋè">
                    <a:extLst>
                      <a:ext uri="{FF2B5EF4-FFF2-40B4-BE49-F238E27FC236}">
                        <a16:creationId xmlns:a16="http://schemas.microsoft.com/office/drawing/2014/main" id="{FB57191C-7697-4118-B5CD-D83EE744C3E9}"/>
                      </a:ext>
                    </a:extLst>
                  </p:cNvPr>
                  <p:cNvSpPr/>
                  <p:nvPr/>
                </p:nvSpPr>
                <p:spPr bwMode="auto">
                  <a:xfrm>
                    <a:off x="3941763" y="3271838"/>
                    <a:ext cx="422275" cy="638175"/>
                  </a:xfrm>
                  <a:custGeom>
                    <a:avLst/>
                    <a:gdLst/>
                    <a:ahLst/>
                    <a:cxnLst>
                      <a:cxn ang="0">
                        <a:pos x="115" y="173"/>
                      </a:cxn>
                      <a:cxn ang="0">
                        <a:pos x="0" y="0"/>
                      </a:cxn>
                      <a:cxn ang="0">
                        <a:pos x="66" y="173"/>
                      </a:cxn>
                      <a:cxn ang="0">
                        <a:pos x="115" y="173"/>
                      </a:cxn>
                    </a:cxnLst>
                    <a:rect l="0" t="0" r="r" b="b"/>
                    <a:pathLst>
                      <a:path w="115" h="173">
                        <a:moveTo>
                          <a:pt x="115" y="173"/>
                        </a:moveTo>
                        <a:cubicBezTo>
                          <a:pt x="88" y="131"/>
                          <a:pt x="9" y="12"/>
                          <a:pt x="0" y="0"/>
                        </a:cubicBezTo>
                        <a:cubicBezTo>
                          <a:pt x="66" y="173"/>
                          <a:pt x="66" y="173"/>
                          <a:pt x="66" y="173"/>
                        </a:cubicBezTo>
                        <a:lnTo>
                          <a:pt x="115" y="173"/>
                        </a:lnTo>
                        <a:close/>
                      </a:path>
                    </a:pathLst>
                  </a:custGeom>
                  <a:grpFill/>
                  <a:ln w="9525">
                    <a:noFill/>
                    <a:round/>
                    <a:headEnd/>
                    <a:tailEnd/>
                  </a:ln>
                </p:spPr>
                <p:txBody>
                  <a:bodyPr wrap="square" lIns="91440" tIns="45720" rIns="91440" bIns="45720" anchor="ctr">
                    <a:normAutofit/>
                  </a:bodyPr>
                  <a:lstStyle/>
                  <a:p>
                    <a:pPr algn="ctr"/>
                    <a:endParaRPr/>
                  </a:p>
                </p:txBody>
              </p:sp>
              <p:sp>
                <p:nvSpPr>
                  <p:cNvPr id="146" name="îśḷîḍé">
                    <a:extLst>
                      <a:ext uri="{FF2B5EF4-FFF2-40B4-BE49-F238E27FC236}">
                        <a16:creationId xmlns:a16="http://schemas.microsoft.com/office/drawing/2014/main" id="{05388A29-E6A7-48AF-BF66-D808839042A3}"/>
                      </a:ext>
                    </a:extLst>
                  </p:cNvPr>
                  <p:cNvSpPr/>
                  <p:nvPr/>
                </p:nvSpPr>
                <p:spPr bwMode="auto">
                  <a:xfrm>
                    <a:off x="3779838" y="3263900"/>
                    <a:ext cx="265113" cy="250825"/>
                  </a:xfrm>
                  <a:custGeom>
                    <a:avLst/>
                    <a:gdLst/>
                    <a:ahLst/>
                    <a:cxnLst>
                      <a:cxn ang="0">
                        <a:pos x="100" y="0"/>
                      </a:cxn>
                      <a:cxn ang="0">
                        <a:pos x="0" y="93"/>
                      </a:cxn>
                      <a:cxn ang="0">
                        <a:pos x="56" y="79"/>
                      </a:cxn>
                      <a:cxn ang="0">
                        <a:pos x="60" y="116"/>
                      </a:cxn>
                      <a:cxn ang="0">
                        <a:pos x="86" y="81"/>
                      </a:cxn>
                      <a:cxn ang="0">
                        <a:pos x="100" y="102"/>
                      </a:cxn>
                      <a:cxn ang="0">
                        <a:pos x="132" y="158"/>
                      </a:cxn>
                      <a:cxn ang="0">
                        <a:pos x="116" y="95"/>
                      </a:cxn>
                      <a:cxn ang="0">
                        <a:pos x="139" y="121"/>
                      </a:cxn>
                      <a:cxn ang="0">
                        <a:pos x="134" y="79"/>
                      </a:cxn>
                      <a:cxn ang="0">
                        <a:pos x="167" y="98"/>
                      </a:cxn>
                      <a:cxn ang="0">
                        <a:pos x="100" y="0"/>
                      </a:cxn>
                    </a:cxnLst>
                    <a:rect l="0" t="0" r="r" b="b"/>
                    <a:pathLst>
                      <a:path w="167" h="158">
                        <a:moveTo>
                          <a:pt x="100" y="0"/>
                        </a:moveTo>
                        <a:lnTo>
                          <a:pt x="0" y="93"/>
                        </a:lnTo>
                        <a:lnTo>
                          <a:pt x="56" y="79"/>
                        </a:lnTo>
                        <a:lnTo>
                          <a:pt x="60" y="116"/>
                        </a:lnTo>
                        <a:lnTo>
                          <a:pt x="86" y="81"/>
                        </a:lnTo>
                        <a:lnTo>
                          <a:pt x="100" y="102"/>
                        </a:lnTo>
                        <a:lnTo>
                          <a:pt x="132" y="158"/>
                        </a:lnTo>
                        <a:lnTo>
                          <a:pt x="116" y="95"/>
                        </a:lnTo>
                        <a:lnTo>
                          <a:pt x="139" y="121"/>
                        </a:lnTo>
                        <a:lnTo>
                          <a:pt x="134" y="79"/>
                        </a:lnTo>
                        <a:lnTo>
                          <a:pt x="167" y="98"/>
                        </a:lnTo>
                        <a:lnTo>
                          <a:pt x="100" y="0"/>
                        </a:lnTo>
                        <a:close/>
                      </a:path>
                    </a:pathLst>
                  </a:custGeom>
                  <a:grpFill/>
                  <a:ln w="9525">
                    <a:noFill/>
                    <a:round/>
                    <a:headEnd/>
                    <a:tailEnd/>
                  </a:ln>
                </p:spPr>
                <p:txBody>
                  <a:bodyPr wrap="square" lIns="91440" tIns="45720" rIns="91440" bIns="45720" anchor="ctr">
                    <a:normAutofit/>
                  </a:bodyPr>
                  <a:lstStyle/>
                  <a:p>
                    <a:pPr algn="ctr"/>
                    <a:endParaRPr/>
                  </a:p>
                </p:txBody>
              </p:sp>
              <p:sp>
                <p:nvSpPr>
                  <p:cNvPr id="147" name="iŝľiḑê">
                    <a:extLst>
                      <a:ext uri="{FF2B5EF4-FFF2-40B4-BE49-F238E27FC236}">
                        <a16:creationId xmlns:a16="http://schemas.microsoft.com/office/drawing/2014/main" id="{3011A990-EDEC-4489-932A-48C6674E21CA}"/>
                      </a:ext>
                    </a:extLst>
                  </p:cNvPr>
                  <p:cNvSpPr/>
                  <p:nvPr/>
                </p:nvSpPr>
                <p:spPr bwMode="auto">
                  <a:xfrm>
                    <a:off x="4433888" y="2808288"/>
                    <a:ext cx="390525" cy="1101725"/>
                  </a:xfrm>
                  <a:custGeom>
                    <a:avLst/>
                    <a:gdLst/>
                    <a:ahLst/>
                    <a:cxnLst>
                      <a:cxn ang="0">
                        <a:pos x="246" y="694"/>
                      </a:cxn>
                      <a:cxn ang="0">
                        <a:pos x="0" y="0"/>
                      </a:cxn>
                      <a:cxn ang="0">
                        <a:pos x="104" y="694"/>
                      </a:cxn>
                      <a:cxn ang="0">
                        <a:pos x="246" y="694"/>
                      </a:cxn>
                    </a:cxnLst>
                    <a:rect l="0" t="0" r="r" b="b"/>
                    <a:pathLst>
                      <a:path w="246" h="694">
                        <a:moveTo>
                          <a:pt x="246" y="694"/>
                        </a:moveTo>
                        <a:lnTo>
                          <a:pt x="0" y="0"/>
                        </a:lnTo>
                        <a:lnTo>
                          <a:pt x="104" y="694"/>
                        </a:lnTo>
                        <a:lnTo>
                          <a:pt x="246" y="694"/>
                        </a:lnTo>
                        <a:close/>
                      </a:path>
                    </a:pathLst>
                  </a:custGeom>
                  <a:grpFill/>
                  <a:ln w="9525">
                    <a:noFill/>
                    <a:round/>
                    <a:headEnd/>
                    <a:tailEnd/>
                  </a:ln>
                </p:spPr>
                <p:txBody>
                  <a:bodyPr wrap="square" lIns="91440" tIns="45720" rIns="91440" bIns="45720" anchor="ctr">
                    <a:normAutofit/>
                  </a:bodyPr>
                  <a:lstStyle/>
                  <a:p>
                    <a:pPr algn="ctr"/>
                    <a:endParaRPr/>
                  </a:p>
                </p:txBody>
              </p:sp>
              <p:sp>
                <p:nvSpPr>
                  <p:cNvPr id="148" name="iṣľíḋê">
                    <a:extLst>
                      <a:ext uri="{FF2B5EF4-FFF2-40B4-BE49-F238E27FC236}">
                        <a16:creationId xmlns:a16="http://schemas.microsoft.com/office/drawing/2014/main" id="{90B3A977-8CDD-467F-A091-085088394873}"/>
                      </a:ext>
                    </a:extLst>
                  </p:cNvPr>
                  <p:cNvSpPr/>
                  <p:nvPr/>
                </p:nvSpPr>
                <p:spPr bwMode="auto">
                  <a:xfrm>
                    <a:off x="4330700" y="2797175"/>
                    <a:ext cx="161925" cy="225425"/>
                  </a:xfrm>
                  <a:custGeom>
                    <a:avLst/>
                    <a:gdLst/>
                    <a:ahLst/>
                    <a:cxnLst>
                      <a:cxn ang="0">
                        <a:pos x="28" y="0"/>
                      </a:cxn>
                      <a:cxn ang="0">
                        <a:pos x="0" y="55"/>
                      </a:cxn>
                      <a:cxn ang="0">
                        <a:pos x="19" y="34"/>
                      </a:cxn>
                      <a:cxn ang="0">
                        <a:pos x="19" y="50"/>
                      </a:cxn>
                      <a:cxn ang="0">
                        <a:pos x="26" y="39"/>
                      </a:cxn>
                      <a:cxn ang="0">
                        <a:pos x="31" y="61"/>
                      </a:cxn>
                      <a:cxn ang="0">
                        <a:pos x="32" y="46"/>
                      </a:cxn>
                      <a:cxn ang="0">
                        <a:pos x="44" y="58"/>
                      </a:cxn>
                      <a:cxn ang="0">
                        <a:pos x="42" y="40"/>
                      </a:cxn>
                      <a:cxn ang="0">
                        <a:pos x="28" y="0"/>
                      </a:cxn>
                    </a:cxnLst>
                    <a:rect l="0" t="0" r="r" b="b"/>
                    <a:pathLst>
                      <a:path w="44" h="61">
                        <a:moveTo>
                          <a:pt x="28" y="0"/>
                        </a:moveTo>
                        <a:cubicBezTo>
                          <a:pt x="27" y="3"/>
                          <a:pt x="0" y="55"/>
                          <a:pt x="0" y="55"/>
                        </a:cubicBezTo>
                        <a:cubicBezTo>
                          <a:pt x="19" y="34"/>
                          <a:pt x="19" y="34"/>
                          <a:pt x="19" y="34"/>
                        </a:cubicBezTo>
                        <a:cubicBezTo>
                          <a:pt x="19" y="34"/>
                          <a:pt x="19" y="52"/>
                          <a:pt x="19" y="50"/>
                        </a:cubicBezTo>
                        <a:cubicBezTo>
                          <a:pt x="20" y="49"/>
                          <a:pt x="26" y="37"/>
                          <a:pt x="26" y="39"/>
                        </a:cubicBezTo>
                        <a:cubicBezTo>
                          <a:pt x="26" y="40"/>
                          <a:pt x="31" y="61"/>
                          <a:pt x="31" y="61"/>
                        </a:cubicBezTo>
                        <a:cubicBezTo>
                          <a:pt x="31" y="61"/>
                          <a:pt x="31" y="45"/>
                          <a:pt x="32" y="46"/>
                        </a:cubicBezTo>
                        <a:cubicBezTo>
                          <a:pt x="34" y="47"/>
                          <a:pt x="44" y="58"/>
                          <a:pt x="44" y="58"/>
                        </a:cubicBezTo>
                        <a:cubicBezTo>
                          <a:pt x="42" y="40"/>
                          <a:pt x="42" y="40"/>
                          <a:pt x="42" y="40"/>
                        </a:cubicBezTo>
                        <a:lnTo>
                          <a:pt x="28" y="0"/>
                        </a:lnTo>
                        <a:close/>
                      </a:path>
                    </a:pathLst>
                  </a:custGeom>
                  <a:grpFill/>
                  <a:ln w="9525">
                    <a:noFill/>
                    <a:round/>
                    <a:headEnd/>
                    <a:tailEnd/>
                  </a:ln>
                </p:spPr>
                <p:txBody>
                  <a:bodyPr wrap="square" lIns="91440" tIns="45720" rIns="91440" bIns="45720" anchor="ctr">
                    <a:normAutofit/>
                  </a:bodyPr>
                  <a:lstStyle/>
                  <a:p>
                    <a:pPr algn="ctr"/>
                    <a:endParaRPr/>
                  </a:p>
                </p:txBody>
              </p:sp>
              <p:sp>
                <p:nvSpPr>
                  <p:cNvPr id="149" name="ïslîďé">
                    <a:extLst>
                      <a:ext uri="{FF2B5EF4-FFF2-40B4-BE49-F238E27FC236}">
                        <a16:creationId xmlns:a16="http://schemas.microsoft.com/office/drawing/2014/main" id="{422CFE28-8EE4-4405-8BB6-40CF3CFE898A}"/>
                      </a:ext>
                    </a:extLst>
                  </p:cNvPr>
                  <p:cNvSpPr/>
                  <p:nvPr/>
                </p:nvSpPr>
                <p:spPr bwMode="auto">
                  <a:xfrm>
                    <a:off x="4978400" y="3414713"/>
                    <a:ext cx="371475" cy="495300"/>
                  </a:xfrm>
                  <a:custGeom>
                    <a:avLst/>
                    <a:gdLst/>
                    <a:ahLst/>
                    <a:cxnLst>
                      <a:cxn ang="0">
                        <a:pos x="101" y="134"/>
                      </a:cxn>
                      <a:cxn ang="0">
                        <a:pos x="0" y="0"/>
                      </a:cxn>
                      <a:cxn ang="0">
                        <a:pos x="47" y="134"/>
                      </a:cxn>
                      <a:cxn ang="0">
                        <a:pos x="101" y="134"/>
                      </a:cxn>
                    </a:cxnLst>
                    <a:rect l="0" t="0" r="r" b="b"/>
                    <a:pathLst>
                      <a:path w="101" h="134">
                        <a:moveTo>
                          <a:pt x="101" y="134"/>
                        </a:moveTo>
                        <a:cubicBezTo>
                          <a:pt x="75" y="99"/>
                          <a:pt x="11" y="15"/>
                          <a:pt x="0" y="0"/>
                        </a:cubicBezTo>
                        <a:cubicBezTo>
                          <a:pt x="47" y="134"/>
                          <a:pt x="47" y="134"/>
                          <a:pt x="47" y="134"/>
                        </a:cubicBezTo>
                        <a:lnTo>
                          <a:pt x="101" y="134"/>
                        </a:lnTo>
                        <a:close/>
                      </a:path>
                    </a:pathLst>
                  </a:custGeom>
                  <a:grpFill/>
                  <a:ln w="9525">
                    <a:noFill/>
                    <a:round/>
                    <a:headEnd/>
                    <a:tailEnd/>
                  </a:ln>
                </p:spPr>
                <p:txBody>
                  <a:bodyPr wrap="square" lIns="91440" tIns="45720" rIns="91440" bIns="45720" anchor="ctr">
                    <a:normAutofit/>
                  </a:bodyPr>
                  <a:lstStyle/>
                  <a:p>
                    <a:pPr algn="ctr"/>
                    <a:endParaRPr/>
                  </a:p>
                </p:txBody>
              </p:sp>
              <p:sp>
                <p:nvSpPr>
                  <p:cNvPr id="150" name="íṣḻiḋé">
                    <a:extLst>
                      <a:ext uri="{FF2B5EF4-FFF2-40B4-BE49-F238E27FC236}">
                        <a16:creationId xmlns:a16="http://schemas.microsoft.com/office/drawing/2014/main" id="{C62F820B-7348-4556-BD7F-C9F37A6554CC}"/>
                      </a:ext>
                    </a:extLst>
                  </p:cNvPr>
                  <p:cNvSpPr/>
                  <p:nvPr/>
                </p:nvSpPr>
                <p:spPr bwMode="auto">
                  <a:xfrm>
                    <a:off x="4816475" y="3408363"/>
                    <a:ext cx="223838" cy="166688"/>
                  </a:xfrm>
                  <a:custGeom>
                    <a:avLst/>
                    <a:gdLst/>
                    <a:ahLst/>
                    <a:cxnLst>
                      <a:cxn ang="0">
                        <a:pos x="42" y="0"/>
                      </a:cxn>
                      <a:cxn ang="0">
                        <a:pos x="0" y="20"/>
                      </a:cxn>
                      <a:cxn ang="0">
                        <a:pos x="26" y="15"/>
                      </a:cxn>
                      <a:cxn ang="0">
                        <a:pos x="24" y="26"/>
                      </a:cxn>
                      <a:cxn ang="0">
                        <a:pos x="36" y="17"/>
                      </a:cxn>
                      <a:cxn ang="0">
                        <a:pos x="37" y="28"/>
                      </a:cxn>
                      <a:cxn ang="0">
                        <a:pos x="44" y="20"/>
                      </a:cxn>
                      <a:cxn ang="0">
                        <a:pos x="54" y="45"/>
                      </a:cxn>
                      <a:cxn ang="0">
                        <a:pos x="53" y="23"/>
                      </a:cxn>
                      <a:cxn ang="0">
                        <a:pos x="61" y="31"/>
                      </a:cxn>
                      <a:cxn ang="0">
                        <a:pos x="54" y="14"/>
                      </a:cxn>
                      <a:cxn ang="0">
                        <a:pos x="42" y="0"/>
                      </a:cxn>
                    </a:cxnLst>
                    <a:rect l="0" t="0" r="r" b="b"/>
                    <a:pathLst>
                      <a:path w="61" h="45">
                        <a:moveTo>
                          <a:pt x="42" y="0"/>
                        </a:moveTo>
                        <a:cubicBezTo>
                          <a:pt x="42" y="1"/>
                          <a:pt x="0" y="20"/>
                          <a:pt x="0" y="20"/>
                        </a:cubicBezTo>
                        <a:cubicBezTo>
                          <a:pt x="26" y="15"/>
                          <a:pt x="26" y="15"/>
                          <a:pt x="26" y="15"/>
                        </a:cubicBezTo>
                        <a:cubicBezTo>
                          <a:pt x="26" y="15"/>
                          <a:pt x="22" y="26"/>
                          <a:pt x="24" y="26"/>
                        </a:cubicBezTo>
                        <a:cubicBezTo>
                          <a:pt x="26" y="25"/>
                          <a:pt x="36" y="17"/>
                          <a:pt x="36" y="17"/>
                        </a:cubicBezTo>
                        <a:cubicBezTo>
                          <a:pt x="37" y="28"/>
                          <a:pt x="37" y="28"/>
                          <a:pt x="37" y="28"/>
                        </a:cubicBezTo>
                        <a:cubicBezTo>
                          <a:pt x="44" y="20"/>
                          <a:pt x="44" y="20"/>
                          <a:pt x="44" y="20"/>
                        </a:cubicBezTo>
                        <a:cubicBezTo>
                          <a:pt x="54" y="45"/>
                          <a:pt x="54" y="45"/>
                          <a:pt x="54" y="45"/>
                        </a:cubicBezTo>
                        <a:cubicBezTo>
                          <a:pt x="53" y="23"/>
                          <a:pt x="53" y="23"/>
                          <a:pt x="53" y="23"/>
                        </a:cubicBezTo>
                        <a:cubicBezTo>
                          <a:pt x="61" y="31"/>
                          <a:pt x="61" y="31"/>
                          <a:pt x="61" y="31"/>
                        </a:cubicBezTo>
                        <a:cubicBezTo>
                          <a:pt x="54" y="14"/>
                          <a:pt x="54" y="14"/>
                          <a:pt x="54" y="14"/>
                        </a:cubicBezTo>
                        <a:lnTo>
                          <a:pt x="42" y="0"/>
                        </a:lnTo>
                        <a:close/>
                      </a:path>
                    </a:pathLst>
                  </a:custGeom>
                  <a:grpFill/>
                  <a:ln w="9525">
                    <a:noFill/>
                    <a:round/>
                    <a:headEnd/>
                    <a:tailEnd/>
                  </a:ln>
                </p:spPr>
                <p:txBody>
                  <a:bodyPr wrap="square" lIns="91440" tIns="45720" rIns="91440" bIns="45720" anchor="ctr">
                    <a:normAutofit fontScale="92500" lnSpcReduction="20000"/>
                  </a:bodyPr>
                  <a:lstStyle/>
                  <a:p>
                    <a:pPr algn="ctr"/>
                    <a:endParaRPr/>
                  </a:p>
                </p:txBody>
              </p:sp>
              <p:sp>
                <p:nvSpPr>
                  <p:cNvPr id="151" name="íṧliḑê">
                    <a:extLst>
                      <a:ext uri="{FF2B5EF4-FFF2-40B4-BE49-F238E27FC236}">
                        <a16:creationId xmlns:a16="http://schemas.microsoft.com/office/drawing/2014/main" id="{B9E23F5A-FFFD-49F8-8E48-9D2DCA9B8A94}"/>
                      </a:ext>
                    </a:extLst>
                  </p:cNvPr>
                  <p:cNvSpPr/>
                  <p:nvPr/>
                </p:nvSpPr>
                <p:spPr bwMode="auto">
                  <a:xfrm>
                    <a:off x="5360988" y="3644900"/>
                    <a:ext cx="17463" cy="265113"/>
                  </a:xfrm>
                  <a:prstGeom prst="rect">
                    <a:avLst/>
                  </a:prstGeom>
                  <a:grpFill/>
                  <a:ln w="9525">
                    <a:noFill/>
                    <a:miter lim="800000"/>
                    <a:headEnd/>
                    <a:tailEnd/>
                  </a:ln>
                </p:spPr>
                <p:txBody>
                  <a:bodyPr wrap="square" lIns="91440" tIns="45720" rIns="91440" bIns="45720" anchor="ctr">
                    <a:normAutofit/>
                  </a:bodyPr>
                  <a:lstStyle/>
                  <a:p>
                    <a:pPr algn="ctr"/>
                    <a:endParaRPr/>
                  </a:p>
                </p:txBody>
              </p:sp>
              <p:sp>
                <p:nvSpPr>
                  <p:cNvPr id="152" name="iṡļiḑê">
                    <a:extLst>
                      <a:ext uri="{FF2B5EF4-FFF2-40B4-BE49-F238E27FC236}">
                        <a16:creationId xmlns:a16="http://schemas.microsoft.com/office/drawing/2014/main" id="{A6DFF231-3FE7-451F-9BC8-2C38CA46626C}"/>
                      </a:ext>
                    </a:extLst>
                  </p:cNvPr>
                  <p:cNvSpPr/>
                  <p:nvPr/>
                </p:nvSpPr>
                <p:spPr bwMode="auto">
                  <a:xfrm>
                    <a:off x="5260975" y="3452813"/>
                    <a:ext cx="214313" cy="214313"/>
                  </a:xfrm>
                  <a:prstGeom prst="ellipse">
                    <a:avLst/>
                  </a:prstGeom>
                  <a:grpFill/>
                  <a:ln w="9525">
                    <a:noFill/>
                    <a:round/>
                    <a:headEnd/>
                    <a:tailEnd/>
                  </a:ln>
                </p:spPr>
                <p:txBody>
                  <a:bodyPr wrap="square" lIns="91440" tIns="45720" rIns="91440" bIns="45720" anchor="ctr">
                    <a:normAutofit fontScale="77500" lnSpcReduction="20000"/>
                  </a:bodyPr>
                  <a:lstStyle/>
                  <a:p>
                    <a:pPr algn="ctr"/>
                    <a:endParaRPr/>
                  </a:p>
                </p:txBody>
              </p:sp>
              <p:sp>
                <p:nvSpPr>
                  <p:cNvPr id="153" name="ïşľidê">
                    <a:extLst>
                      <a:ext uri="{FF2B5EF4-FFF2-40B4-BE49-F238E27FC236}">
                        <a16:creationId xmlns:a16="http://schemas.microsoft.com/office/drawing/2014/main" id="{9C75FB1F-DDCC-4148-9DF1-8800D334FAAB}"/>
                      </a:ext>
                    </a:extLst>
                  </p:cNvPr>
                  <p:cNvSpPr/>
                  <p:nvPr/>
                </p:nvSpPr>
                <p:spPr bwMode="auto">
                  <a:xfrm>
                    <a:off x="5260975" y="3452813"/>
                    <a:ext cx="103188" cy="214313"/>
                  </a:xfrm>
                  <a:custGeom>
                    <a:avLst/>
                    <a:gdLst/>
                    <a:ahLst/>
                    <a:cxnLst>
                      <a:cxn ang="0">
                        <a:pos x="28" y="0"/>
                      </a:cxn>
                      <a:cxn ang="0">
                        <a:pos x="0" y="29"/>
                      </a:cxn>
                      <a:cxn ang="0">
                        <a:pos x="28" y="58"/>
                      </a:cxn>
                      <a:cxn ang="0">
                        <a:pos x="28" y="0"/>
                      </a:cxn>
                    </a:cxnLst>
                    <a:rect l="0" t="0" r="r" b="b"/>
                    <a:pathLst>
                      <a:path w="28" h="58">
                        <a:moveTo>
                          <a:pt x="28" y="0"/>
                        </a:moveTo>
                        <a:cubicBezTo>
                          <a:pt x="13" y="0"/>
                          <a:pt x="0" y="13"/>
                          <a:pt x="0" y="29"/>
                        </a:cubicBezTo>
                        <a:cubicBezTo>
                          <a:pt x="0" y="45"/>
                          <a:pt x="13" y="58"/>
                          <a:pt x="28" y="58"/>
                        </a:cubicBezTo>
                        <a:lnTo>
                          <a:pt x="28" y="0"/>
                        </a:lnTo>
                        <a:close/>
                      </a:path>
                    </a:pathLst>
                  </a:custGeom>
                  <a:grpFill/>
                  <a:ln w="9525">
                    <a:noFill/>
                    <a:round/>
                    <a:headEnd/>
                    <a:tailEnd/>
                  </a:ln>
                </p:spPr>
                <p:txBody>
                  <a:bodyPr wrap="square" lIns="91440" tIns="45720" rIns="91440" bIns="45720" anchor="ctr">
                    <a:normAutofit/>
                  </a:bodyPr>
                  <a:lstStyle/>
                  <a:p>
                    <a:pPr algn="ctr"/>
                    <a:endParaRPr/>
                  </a:p>
                </p:txBody>
              </p:sp>
              <p:sp>
                <p:nvSpPr>
                  <p:cNvPr id="154" name="íşļîḓe">
                    <a:extLst>
                      <a:ext uri="{FF2B5EF4-FFF2-40B4-BE49-F238E27FC236}">
                        <a16:creationId xmlns:a16="http://schemas.microsoft.com/office/drawing/2014/main" id="{5A83AB58-657B-443F-9C30-7D554E376D3C}"/>
                      </a:ext>
                    </a:extLst>
                  </p:cNvPr>
                  <p:cNvSpPr/>
                  <p:nvPr/>
                </p:nvSpPr>
                <p:spPr bwMode="auto">
                  <a:xfrm>
                    <a:off x="1885950" y="3629025"/>
                    <a:ext cx="25400" cy="280988"/>
                  </a:xfrm>
                  <a:prstGeom prst="rect">
                    <a:avLst/>
                  </a:prstGeom>
                  <a:grpFill/>
                  <a:ln w="9525">
                    <a:noFill/>
                    <a:miter lim="800000"/>
                    <a:headEnd/>
                    <a:tailEnd/>
                  </a:ln>
                </p:spPr>
                <p:txBody>
                  <a:bodyPr wrap="square" lIns="91440" tIns="45720" rIns="91440" bIns="45720" anchor="ctr">
                    <a:normAutofit/>
                  </a:bodyPr>
                  <a:lstStyle/>
                  <a:p>
                    <a:pPr algn="ctr"/>
                    <a:endParaRPr/>
                  </a:p>
                </p:txBody>
              </p:sp>
              <p:sp>
                <p:nvSpPr>
                  <p:cNvPr id="155" name="iSlidé">
                    <a:extLst>
                      <a:ext uri="{FF2B5EF4-FFF2-40B4-BE49-F238E27FC236}">
                        <a16:creationId xmlns:a16="http://schemas.microsoft.com/office/drawing/2014/main" id="{24740CC6-068E-49ED-8740-F02B99CDDDC4}"/>
                      </a:ext>
                    </a:extLst>
                  </p:cNvPr>
                  <p:cNvSpPr/>
                  <p:nvPr/>
                </p:nvSpPr>
                <p:spPr bwMode="auto">
                  <a:xfrm>
                    <a:off x="1787525" y="3160713"/>
                    <a:ext cx="249238" cy="495300"/>
                  </a:xfrm>
                  <a:custGeom>
                    <a:avLst/>
                    <a:gdLst/>
                    <a:ahLst/>
                    <a:cxnLst>
                      <a:cxn ang="0">
                        <a:pos x="0" y="312"/>
                      </a:cxn>
                      <a:cxn ang="0">
                        <a:pos x="157" y="312"/>
                      </a:cxn>
                      <a:cxn ang="0">
                        <a:pos x="69" y="0"/>
                      </a:cxn>
                      <a:cxn ang="0">
                        <a:pos x="0" y="312"/>
                      </a:cxn>
                    </a:cxnLst>
                    <a:rect l="0" t="0" r="r" b="b"/>
                    <a:pathLst>
                      <a:path w="157" h="312">
                        <a:moveTo>
                          <a:pt x="0" y="312"/>
                        </a:moveTo>
                        <a:lnTo>
                          <a:pt x="157" y="312"/>
                        </a:lnTo>
                        <a:lnTo>
                          <a:pt x="69" y="0"/>
                        </a:lnTo>
                        <a:lnTo>
                          <a:pt x="0" y="312"/>
                        </a:lnTo>
                        <a:close/>
                      </a:path>
                    </a:pathLst>
                  </a:custGeom>
                  <a:grpFill/>
                  <a:ln w="9525">
                    <a:noFill/>
                    <a:round/>
                    <a:headEnd/>
                    <a:tailEnd/>
                  </a:ln>
                </p:spPr>
                <p:txBody>
                  <a:bodyPr wrap="square" lIns="91440" tIns="45720" rIns="91440" bIns="45720" anchor="ctr">
                    <a:normAutofit/>
                  </a:bodyPr>
                  <a:lstStyle/>
                  <a:p>
                    <a:pPr algn="ctr"/>
                    <a:endParaRPr/>
                  </a:p>
                </p:txBody>
              </p:sp>
              <p:sp>
                <p:nvSpPr>
                  <p:cNvPr id="156" name="ï$ľîḓé">
                    <a:extLst>
                      <a:ext uri="{FF2B5EF4-FFF2-40B4-BE49-F238E27FC236}">
                        <a16:creationId xmlns:a16="http://schemas.microsoft.com/office/drawing/2014/main" id="{2D70B304-5631-4C72-BA8E-113D12583D4A}"/>
                      </a:ext>
                    </a:extLst>
                  </p:cNvPr>
                  <p:cNvSpPr/>
                  <p:nvPr/>
                </p:nvSpPr>
                <p:spPr bwMode="auto">
                  <a:xfrm>
                    <a:off x="1897063" y="3160713"/>
                    <a:ext cx="139700" cy="495300"/>
                  </a:xfrm>
                  <a:custGeom>
                    <a:avLst/>
                    <a:gdLst/>
                    <a:ahLst/>
                    <a:cxnLst>
                      <a:cxn ang="0">
                        <a:pos x="0" y="0"/>
                      </a:cxn>
                      <a:cxn ang="0">
                        <a:pos x="0" y="312"/>
                      </a:cxn>
                      <a:cxn ang="0">
                        <a:pos x="88" y="312"/>
                      </a:cxn>
                      <a:cxn ang="0">
                        <a:pos x="0" y="0"/>
                      </a:cxn>
                    </a:cxnLst>
                    <a:rect l="0" t="0" r="r" b="b"/>
                    <a:pathLst>
                      <a:path w="88" h="312">
                        <a:moveTo>
                          <a:pt x="0" y="0"/>
                        </a:moveTo>
                        <a:lnTo>
                          <a:pt x="0" y="312"/>
                        </a:lnTo>
                        <a:lnTo>
                          <a:pt x="88" y="312"/>
                        </a:lnTo>
                        <a:lnTo>
                          <a:pt x="0" y="0"/>
                        </a:lnTo>
                        <a:close/>
                      </a:path>
                    </a:pathLst>
                  </a:custGeom>
                  <a:grpFill/>
                  <a:ln w="9525">
                    <a:noFill/>
                    <a:round/>
                    <a:headEnd/>
                    <a:tailEnd/>
                  </a:ln>
                </p:spPr>
                <p:txBody>
                  <a:bodyPr wrap="square" lIns="91440" tIns="45720" rIns="91440" bIns="45720" anchor="ctr">
                    <a:normAutofit/>
                  </a:bodyPr>
                  <a:lstStyle/>
                  <a:p>
                    <a:pPr algn="ctr"/>
                    <a:endParaRPr/>
                  </a:p>
                </p:txBody>
              </p:sp>
              <p:sp>
                <p:nvSpPr>
                  <p:cNvPr id="157" name="îš1îḋê">
                    <a:extLst>
                      <a:ext uri="{FF2B5EF4-FFF2-40B4-BE49-F238E27FC236}">
                        <a16:creationId xmlns:a16="http://schemas.microsoft.com/office/drawing/2014/main" id="{C6E13F12-EE9E-483B-AAF9-2A112648843E}"/>
                      </a:ext>
                    </a:extLst>
                  </p:cNvPr>
                  <p:cNvSpPr/>
                  <p:nvPr/>
                </p:nvSpPr>
                <p:spPr bwMode="auto">
                  <a:xfrm>
                    <a:off x="2147888" y="3629025"/>
                    <a:ext cx="25400" cy="280988"/>
                  </a:xfrm>
                  <a:prstGeom prst="rect">
                    <a:avLst/>
                  </a:prstGeom>
                  <a:grpFill/>
                  <a:ln w="9525">
                    <a:noFill/>
                    <a:miter lim="800000"/>
                    <a:headEnd/>
                    <a:tailEnd/>
                  </a:ln>
                </p:spPr>
                <p:txBody>
                  <a:bodyPr wrap="square" lIns="91440" tIns="45720" rIns="91440" bIns="45720" anchor="ctr">
                    <a:normAutofit/>
                  </a:bodyPr>
                  <a:lstStyle/>
                  <a:p>
                    <a:pPr algn="ctr"/>
                    <a:endParaRPr/>
                  </a:p>
                </p:txBody>
              </p:sp>
              <p:sp>
                <p:nvSpPr>
                  <p:cNvPr id="158" name="iṧľíḑê">
                    <a:extLst>
                      <a:ext uri="{FF2B5EF4-FFF2-40B4-BE49-F238E27FC236}">
                        <a16:creationId xmlns:a16="http://schemas.microsoft.com/office/drawing/2014/main" id="{B1A9B750-DB12-4E74-A985-5A5E71E8D3A9}"/>
                      </a:ext>
                    </a:extLst>
                  </p:cNvPr>
                  <p:cNvSpPr/>
                  <p:nvPr/>
                </p:nvSpPr>
                <p:spPr bwMode="auto">
                  <a:xfrm>
                    <a:off x="2047875" y="3163888"/>
                    <a:ext cx="250825" cy="495300"/>
                  </a:xfrm>
                  <a:custGeom>
                    <a:avLst/>
                    <a:gdLst/>
                    <a:ahLst/>
                    <a:cxnLst>
                      <a:cxn ang="0">
                        <a:pos x="0" y="312"/>
                      </a:cxn>
                      <a:cxn ang="0">
                        <a:pos x="158" y="312"/>
                      </a:cxn>
                      <a:cxn ang="0">
                        <a:pos x="70" y="0"/>
                      </a:cxn>
                      <a:cxn ang="0">
                        <a:pos x="0" y="312"/>
                      </a:cxn>
                    </a:cxnLst>
                    <a:rect l="0" t="0" r="r" b="b"/>
                    <a:pathLst>
                      <a:path w="158" h="312">
                        <a:moveTo>
                          <a:pt x="0" y="312"/>
                        </a:moveTo>
                        <a:lnTo>
                          <a:pt x="158" y="312"/>
                        </a:lnTo>
                        <a:lnTo>
                          <a:pt x="70" y="0"/>
                        </a:lnTo>
                        <a:lnTo>
                          <a:pt x="0" y="312"/>
                        </a:lnTo>
                        <a:close/>
                      </a:path>
                    </a:pathLst>
                  </a:custGeom>
                  <a:grpFill/>
                  <a:ln w="9525">
                    <a:noFill/>
                    <a:round/>
                    <a:headEnd/>
                    <a:tailEnd/>
                  </a:ln>
                </p:spPr>
                <p:txBody>
                  <a:bodyPr wrap="square" lIns="91440" tIns="45720" rIns="91440" bIns="45720" anchor="ctr">
                    <a:normAutofit/>
                  </a:bodyPr>
                  <a:lstStyle/>
                  <a:p>
                    <a:pPr algn="ctr"/>
                    <a:endParaRPr/>
                  </a:p>
                </p:txBody>
              </p:sp>
              <p:sp>
                <p:nvSpPr>
                  <p:cNvPr id="159" name="íṩľiḓè">
                    <a:extLst>
                      <a:ext uri="{FF2B5EF4-FFF2-40B4-BE49-F238E27FC236}">
                        <a16:creationId xmlns:a16="http://schemas.microsoft.com/office/drawing/2014/main" id="{5880CD0B-D9FA-4744-B160-A754B1B09CD1}"/>
                      </a:ext>
                    </a:extLst>
                  </p:cNvPr>
                  <p:cNvSpPr/>
                  <p:nvPr/>
                </p:nvSpPr>
                <p:spPr bwMode="auto">
                  <a:xfrm>
                    <a:off x="2159000" y="3163888"/>
                    <a:ext cx="139700" cy="495300"/>
                  </a:xfrm>
                  <a:custGeom>
                    <a:avLst/>
                    <a:gdLst/>
                    <a:ahLst/>
                    <a:cxnLst>
                      <a:cxn ang="0">
                        <a:pos x="0" y="0"/>
                      </a:cxn>
                      <a:cxn ang="0">
                        <a:pos x="0" y="312"/>
                      </a:cxn>
                      <a:cxn ang="0">
                        <a:pos x="88" y="312"/>
                      </a:cxn>
                      <a:cxn ang="0">
                        <a:pos x="0" y="0"/>
                      </a:cxn>
                    </a:cxnLst>
                    <a:rect l="0" t="0" r="r" b="b"/>
                    <a:pathLst>
                      <a:path w="88" h="312">
                        <a:moveTo>
                          <a:pt x="0" y="0"/>
                        </a:moveTo>
                        <a:lnTo>
                          <a:pt x="0" y="312"/>
                        </a:lnTo>
                        <a:lnTo>
                          <a:pt x="88" y="312"/>
                        </a:lnTo>
                        <a:lnTo>
                          <a:pt x="0" y="0"/>
                        </a:lnTo>
                        <a:close/>
                      </a:path>
                    </a:pathLst>
                  </a:custGeom>
                  <a:grpFill/>
                  <a:ln w="9525">
                    <a:noFill/>
                    <a:round/>
                    <a:headEnd/>
                    <a:tailEnd/>
                  </a:ln>
                </p:spPr>
                <p:txBody>
                  <a:bodyPr wrap="square" lIns="91440" tIns="45720" rIns="91440" bIns="45720" anchor="ctr">
                    <a:normAutofit/>
                  </a:bodyPr>
                  <a:lstStyle/>
                  <a:p>
                    <a:pPr algn="ctr"/>
                    <a:endParaRPr/>
                  </a:p>
                </p:txBody>
              </p:sp>
              <p:sp>
                <p:nvSpPr>
                  <p:cNvPr id="160" name="iš1idé">
                    <a:extLst>
                      <a:ext uri="{FF2B5EF4-FFF2-40B4-BE49-F238E27FC236}">
                        <a16:creationId xmlns:a16="http://schemas.microsoft.com/office/drawing/2014/main" id="{31BE9D3D-DDD6-4933-B70D-623056CFD554}"/>
                      </a:ext>
                    </a:extLst>
                  </p:cNvPr>
                  <p:cNvSpPr/>
                  <p:nvPr/>
                </p:nvSpPr>
                <p:spPr bwMode="auto">
                  <a:xfrm>
                    <a:off x="3584575" y="3644900"/>
                    <a:ext cx="22225" cy="265113"/>
                  </a:xfrm>
                  <a:prstGeom prst="rect">
                    <a:avLst/>
                  </a:prstGeom>
                  <a:grpFill/>
                  <a:ln w="9525">
                    <a:noFill/>
                    <a:miter lim="800000"/>
                    <a:headEnd/>
                    <a:tailEnd/>
                  </a:ln>
                </p:spPr>
                <p:txBody>
                  <a:bodyPr wrap="square" lIns="91440" tIns="45720" rIns="91440" bIns="45720" anchor="ctr">
                    <a:normAutofit/>
                  </a:bodyPr>
                  <a:lstStyle/>
                  <a:p>
                    <a:pPr algn="ctr"/>
                    <a:endParaRPr/>
                  </a:p>
                </p:txBody>
              </p:sp>
              <p:sp>
                <p:nvSpPr>
                  <p:cNvPr id="161" name="îslïḋè">
                    <a:extLst>
                      <a:ext uri="{FF2B5EF4-FFF2-40B4-BE49-F238E27FC236}">
                        <a16:creationId xmlns:a16="http://schemas.microsoft.com/office/drawing/2014/main" id="{139C0F3D-96B2-4653-93AC-9464417EB279}"/>
                      </a:ext>
                    </a:extLst>
                  </p:cNvPr>
                  <p:cNvSpPr/>
                  <p:nvPr/>
                </p:nvSpPr>
                <p:spPr bwMode="auto">
                  <a:xfrm>
                    <a:off x="3486150" y="3452813"/>
                    <a:ext cx="212725" cy="214313"/>
                  </a:xfrm>
                  <a:prstGeom prst="ellipse">
                    <a:avLst/>
                  </a:prstGeom>
                  <a:grpFill/>
                  <a:ln w="9525">
                    <a:noFill/>
                    <a:round/>
                    <a:headEnd/>
                    <a:tailEnd/>
                  </a:ln>
                </p:spPr>
                <p:txBody>
                  <a:bodyPr wrap="square" lIns="91440" tIns="45720" rIns="91440" bIns="45720" anchor="ctr">
                    <a:normAutofit fontScale="77500" lnSpcReduction="20000"/>
                  </a:bodyPr>
                  <a:lstStyle/>
                  <a:p>
                    <a:pPr algn="ctr"/>
                    <a:endParaRPr/>
                  </a:p>
                </p:txBody>
              </p:sp>
              <p:sp>
                <p:nvSpPr>
                  <p:cNvPr id="162" name="íślîḍè">
                    <a:extLst>
                      <a:ext uri="{FF2B5EF4-FFF2-40B4-BE49-F238E27FC236}">
                        <a16:creationId xmlns:a16="http://schemas.microsoft.com/office/drawing/2014/main" id="{25FF0F11-AFC6-4059-849B-971CD56D463B}"/>
                      </a:ext>
                    </a:extLst>
                  </p:cNvPr>
                  <p:cNvSpPr/>
                  <p:nvPr/>
                </p:nvSpPr>
                <p:spPr bwMode="auto">
                  <a:xfrm>
                    <a:off x="4367213" y="3644900"/>
                    <a:ext cx="19050" cy="265113"/>
                  </a:xfrm>
                  <a:prstGeom prst="rect">
                    <a:avLst/>
                  </a:prstGeom>
                  <a:grpFill/>
                  <a:ln w="9525">
                    <a:noFill/>
                    <a:miter lim="800000"/>
                    <a:headEnd/>
                    <a:tailEnd/>
                  </a:ln>
                </p:spPr>
                <p:txBody>
                  <a:bodyPr wrap="square" lIns="91440" tIns="45720" rIns="91440" bIns="45720" anchor="ctr">
                    <a:normAutofit/>
                  </a:bodyPr>
                  <a:lstStyle/>
                  <a:p>
                    <a:pPr algn="ctr"/>
                    <a:endParaRPr/>
                  </a:p>
                </p:txBody>
              </p:sp>
              <p:sp>
                <p:nvSpPr>
                  <p:cNvPr id="163" name="ïṧļïḍê">
                    <a:extLst>
                      <a:ext uri="{FF2B5EF4-FFF2-40B4-BE49-F238E27FC236}">
                        <a16:creationId xmlns:a16="http://schemas.microsoft.com/office/drawing/2014/main" id="{9996F5D0-EF0B-49FA-AE3A-182D7CC2B86A}"/>
                      </a:ext>
                    </a:extLst>
                  </p:cNvPr>
                  <p:cNvSpPr/>
                  <p:nvPr/>
                </p:nvSpPr>
                <p:spPr bwMode="auto">
                  <a:xfrm>
                    <a:off x="4268788" y="3452813"/>
                    <a:ext cx="212725" cy="214313"/>
                  </a:xfrm>
                  <a:prstGeom prst="ellipse">
                    <a:avLst/>
                  </a:prstGeom>
                  <a:grpFill/>
                  <a:ln w="9525">
                    <a:noFill/>
                    <a:round/>
                    <a:headEnd/>
                    <a:tailEnd/>
                  </a:ln>
                </p:spPr>
                <p:txBody>
                  <a:bodyPr wrap="square" lIns="91440" tIns="45720" rIns="91440" bIns="45720" anchor="ctr">
                    <a:normAutofit fontScale="77500" lnSpcReduction="20000"/>
                  </a:bodyPr>
                  <a:lstStyle/>
                  <a:p>
                    <a:pPr algn="ctr"/>
                    <a:endParaRPr/>
                  </a:p>
                </p:txBody>
              </p:sp>
              <p:sp>
                <p:nvSpPr>
                  <p:cNvPr id="164" name="îṣľíḓé">
                    <a:extLst>
                      <a:ext uri="{FF2B5EF4-FFF2-40B4-BE49-F238E27FC236}">
                        <a16:creationId xmlns:a16="http://schemas.microsoft.com/office/drawing/2014/main" id="{EA044769-97A4-4D1C-91B8-FCABA274E4BA}"/>
                      </a:ext>
                    </a:extLst>
                  </p:cNvPr>
                  <p:cNvSpPr/>
                  <p:nvPr/>
                </p:nvSpPr>
                <p:spPr bwMode="auto">
                  <a:xfrm>
                    <a:off x="3963988" y="3644900"/>
                    <a:ext cx="17463" cy="265113"/>
                  </a:xfrm>
                  <a:prstGeom prst="rect">
                    <a:avLst/>
                  </a:prstGeom>
                  <a:grpFill/>
                  <a:ln w="9525">
                    <a:noFill/>
                    <a:miter lim="800000"/>
                    <a:headEnd/>
                    <a:tailEnd/>
                  </a:ln>
                </p:spPr>
                <p:txBody>
                  <a:bodyPr wrap="square" lIns="91440" tIns="45720" rIns="91440" bIns="45720" anchor="ctr">
                    <a:normAutofit/>
                  </a:bodyPr>
                  <a:lstStyle/>
                  <a:p>
                    <a:pPr algn="ctr"/>
                    <a:endParaRPr/>
                  </a:p>
                </p:txBody>
              </p:sp>
              <p:sp>
                <p:nvSpPr>
                  <p:cNvPr id="165" name="íŝļiḑê">
                    <a:extLst>
                      <a:ext uri="{FF2B5EF4-FFF2-40B4-BE49-F238E27FC236}">
                        <a16:creationId xmlns:a16="http://schemas.microsoft.com/office/drawing/2014/main" id="{09545427-D24F-41B5-A20A-596AC0553CF1}"/>
                      </a:ext>
                    </a:extLst>
                  </p:cNvPr>
                  <p:cNvSpPr/>
                  <p:nvPr/>
                </p:nvSpPr>
                <p:spPr bwMode="auto">
                  <a:xfrm>
                    <a:off x="3863975" y="3452813"/>
                    <a:ext cx="214313" cy="214313"/>
                  </a:xfrm>
                  <a:prstGeom prst="ellipse">
                    <a:avLst/>
                  </a:prstGeom>
                  <a:grpFill/>
                  <a:ln w="9525">
                    <a:noFill/>
                    <a:round/>
                    <a:headEnd/>
                    <a:tailEnd/>
                  </a:ln>
                </p:spPr>
                <p:txBody>
                  <a:bodyPr wrap="square" lIns="91440" tIns="45720" rIns="91440" bIns="45720" anchor="ctr">
                    <a:normAutofit fontScale="77500" lnSpcReduction="20000"/>
                  </a:bodyPr>
                  <a:lstStyle/>
                  <a:p>
                    <a:pPr algn="ctr"/>
                    <a:endParaRPr/>
                  </a:p>
                </p:txBody>
              </p:sp>
              <p:sp>
                <p:nvSpPr>
                  <p:cNvPr id="166" name="îṩḷíde">
                    <a:extLst>
                      <a:ext uri="{FF2B5EF4-FFF2-40B4-BE49-F238E27FC236}">
                        <a16:creationId xmlns:a16="http://schemas.microsoft.com/office/drawing/2014/main" id="{CD6FABDE-8EEA-4BA2-A98B-4D0FF2E976F5}"/>
                      </a:ext>
                    </a:extLst>
                  </p:cNvPr>
                  <p:cNvSpPr/>
                  <p:nvPr/>
                </p:nvSpPr>
                <p:spPr bwMode="auto">
                  <a:xfrm>
                    <a:off x="2279650" y="3748088"/>
                    <a:ext cx="863600" cy="161925"/>
                  </a:xfrm>
                  <a:prstGeom prst="rect">
                    <a:avLst/>
                  </a:prstGeom>
                  <a:grpFill/>
                  <a:ln w="9525">
                    <a:noFill/>
                    <a:miter lim="800000"/>
                    <a:headEnd/>
                    <a:tailEnd/>
                  </a:ln>
                </p:spPr>
                <p:txBody>
                  <a:bodyPr wrap="square" lIns="91440" tIns="45720" rIns="91440" bIns="45720" anchor="ctr">
                    <a:normAutofit fontScale="85000" lnSpcReduction="20000"/>
                  </a:bodyPr>
                  <a:lstStyle/>
                  <a:p>
                    <a:pPr algn="ctr"/>
                    <a:endParaRPr/>
                  </a:p>
                </p:txBody>
              </p:sp>
              <p:sp>
                <p:nvSpPr>
                  <p:cNvPr id="167" name="îśļidè">
                    <a:extLst>
                      <a:ext uri="{FF2B5EF4-FFF2-40B4-BE49-F238E27FC236}">
                        <a16:creationId xmlns:a16="http://schemas.microsoft.com/office/drawing/2014/main" id="{5AFE4145-E34F-459D-8C6B-DB0105A344D2}"/>
                      </a:ext>
                    </a:extLst>
                  </p:cNvPr>
                  <p:cNvSpPr/>
                  <p:nvPr/>
                </p:nvSpPr>
                <p:spPr bwMode="auto">
                  <a:xfrm>
                    <a:off x="2139950" y="3238500"/>
                    <a:ext cx="1158875" cy="509588"/>
                  </a:xfrm>
                  <a:custGeom>
                    <a:avLst/>
                    <a:gdLst/>
                    <a:ahLst/>
                    <a:cxnLst>
                      <a:cxn ang="0">
                        <a:pos x="730" y="321"/>
                      </a:cxn>
                      <a:cxn ang="0">
                        <a:pos x="0" y="321"/>
                      </a:cxn>
                      <a:cxn ang="0">
                        <a:pos x="357" y="0"/>
                      </a:cxn>
                      <a:cxn ang="0">
                        <a:pos x="730" y="321"/>
                      </a:cxn>
                    </a:cxnLst>
                    <a:rect l="0" t="0" r="r" b="b"/>
                    <a:pathLst>
                      <a:path w="730" h="321">
                        <a:moveTo>
                          <a:pt x="730" y="321"/>
                        </a:moveTo>
                        <a:lnTo>
                          <a:pt x="0" y="321"/>
                        </a:lnTo>
                        <a:lnTo>
                          <a:pt x="357" y="0"/>
                        </a:lnTo>
                        <a:lnTo>
                          <a:pt x="730" y="321"/>
                        </a:lnTo>
                        <a:close/>
                      </a:path>
                    </a:pathLst>
                  </a:custGeom>
                  <a:grpFill/>
                  <a:ln w="9525">
                    <a:noFill/>
                    <a:round/>
                    <a:headEnd/>
                    <a:tailEnd/>
                  </a:ln>
                </p:spPr>
                <p:txBody>
                  <a:bodyPr wrap="square" lIns="91440" tIns="45720" rIns="91440" bIns="45720" anchor="ctr">
                    <a:normAutofit/>
                  </a:bodyPr>
                  <a:lstStyle/>
                  <a:p>
                    <a:pPr algn="ctr"/>
                    <a:endParaRPr/>
                  </a:p>
                </p:txBody>
              </p:sp>
              <p:sp>
                <p:nvSpPr>
                  <p:cNvPr id="168" name="îṥ1iḍê">
                    <a:extLst>
                      <a:ext uri="{FF2B5EF4-FFF2-40B4-BE49-F238E27FC236}">
                        <a16:creationId xmlns:a16="http://schemas.microsoft.com/office/drawing/2014/main" id="{D37A7FF0-1ADF-48AE-8D1C-52C164E955CF}"/>
                      </a:ext>
                    </a:extLst>
                  </p:cNvPr>
                  <p:cNvSpPr/>
                  <p:nvPr/>
                </p:nvSpPr>
                <p:spPr bwMode="auto">
                  <a:xfrm>
                    <a:off x="3228975" y="3803650"/>
                    <a:ext cx="14288" cy="106363"/>
                  </a:xfrm>
                  <a:prstGeom prst="rect">
                    <a:avLst/>
                  </a:prstGeom>
                  <a:grpFill/>
                  <a:ln w="9525">
                    <a:noFill/>
                    <a:miter lim="800000"/>
                    <a:headEnd/>
                    <a:tailEnd/>
                  </a:ln>
                </p:spPr>
                <p:txBody>
                  <a:bodyPr wrap="square" lIns="91440" tIns="45720" rIns="91440" bIns="45720" anchor="ctr">
                    <a:normAutofit fontScale="40000" lnSpcReduction="20000"/>
                  </a:bodyPr>
                  <a:lstStyle/>
                  <a:p>
                    <a:pPr algn="ctr"/>
                    <a:endParaRPr/>
                  </a:p>
                </p:txBody>
              </p:sp>
              <p:sp>
                <p:nvSpPr>
                  <p:cNvPr id="169" name="ïśľiḑé">
                    <a:extLst>
                      <a:ext uri="{FF2B5EF4-FFF2-40B4-BE49-F238E27FC236}">
                        <a16:creationId xmlns:a16="http://schemas.microsoft.com/office/drawing/2014/main" id="{3B033928-23EB-4AE6-B4A0-A62BF529FD46}"/>
                      </a:ext>
                    </a:extLst>
                  </p:cNvPr>
                  <p:cNvSpPr/>
                  <p:nvPr/>
                </p:nvSpPr>
                <p:spPr bwMode="auto">
                  <a:xfrm>
                    <a:off x="3143250" y="3825875"/>
                    <a:ext cx="1430338" cy="19050"/>
                  </a:xfrm>
                  <a:prstGeom prst="rect">
                    <a:avLst/>
                  </a:prstGeom>
                  <a:grpFill/>
                  <a:ln w="9525">
                    <a:noFill/>
                    <a:miter lim="800000"/>
                    <a:headEnd/>
                    <a:tailEnd/>
                  </a:ln>
                </p:spPr>
                <p:txBody>
                  <a:bodyPr wrap="square" lIns="91440" tIns="45720" rIns="91440" bIns="45720" anchor="ctr">
                    <a:normAutofit fontScale="25000" lnSpcReduction="20000"/>
                  </a:bodyPr>
                  <a:lstStyle/>
                  <a:p>
                    <a:pPr algn="ctr"/>
                    <a:endParaRPr/>
                  </a:p>
                </p:txBody>
              </p:sp>
              <p:sp>
                <p:nvSpPr>
                  <p:cNvPr id="170" name="isľîḑé">
                    <a:extLst>
                      <a:ext uri="{FF2B5EF4-FFF2-40B4-BE49-F238E27FC236}">
                        <a16:creationId xmlns:a16="http://schemas.microsoft.com/office/drawing/2014/main" id="{785FF44B-B19B-4716-BDD8-4A3FF512F504}"/>
                      </a:ext>
                    </a:extLst>
                  </p:cNvPr>
                  <p:cNvSpPr/>
                  <p:nvPr/>
                </p:nvSpPr>
                <p:spPr bwMode="auto">
                  <a:xfrm>
                    <a:off x="3143250" y="3867150"/>
                    <a:ext cx="1430338" cy="14288"/>
                  </a:xfrm>
                  <a:prstGeom prst="rect">
                    <a:avLst/>
                  </a:prstGeom>
                  <a:grpFill/>
                  <a:ln w="9525">
                    <a:noFill/>
                    <a:miter lim="800000"/>
                    <a:headEnd/>
                    <a:tailEnd/>
                  </a:ln>
                </p:spPr>
                <p:txBody>
                  <a:bodyPr wrap="square" lIns="91440" tIns="45720" rIns="91440" bIns="45720" anchor="ctr">
                    <a:normAutofit fontScale="25000" lnSpcReduction="20000"/>
                  </a:bodyPr>
                  <a:lstStyle/>
                  <a:p>
                    <a:pPr algn="ctr"/>
                    <a:endParaRPr/>
                  </a:p>
                </p:txBody>
              </p:sp>
              <p:sp>
                <p:nvSpPr>
                  <p:cNvPr id="171" name="ïśḷídê">
                    <a:extLst>
                      <a:ext uri="{FF2B5EF4-FFF2-40B4-BE49-F238E27FC236}">
                        <a16:creationId xmlns:a16="http://schemas.microsoft.com/office/drawing/2014/main" id="{04941AC7-D8BB-4647-8F57-CB9F994D28E3}"/>
                      </a:ext>
                    </a:extLst>
                  </p:cNvPr>
                  <p:cNvSpPr/>
                  <p:nvPr/>
                </p:nvSpPr>
                <p:spPr bwMode="auto">
                  <a:xfrm>
                    <a:off x="3143250" y="3903663"/>
                    <a:ext cx="1430338" cy="6350"/>
                  </a:xfrm>
                  <a:prstGeom prst="rect">
                    <a:avLst/>
                  </a:prstGeom>
                  <a:grpFill/>
                  <a:ln w="9525">
                    <a:noFill/>
                    <a:miter lim="800000"/>
                    <a:headEnd/>
                    <a:tailEnd/>
                  </a:ln>
                </p:spPr>
                <p:txBody>
                  <a:bodyPr wrap="square" lIns="91440" tIns="45720" rIns="91440" bIns="45720" anchor="ctr">
                    <a:normAutofit fontScale="25000" lnSpcReduction="20000"/>
                  </a:bodyPr>
                  <a:lstStyle/>
                  <a:p>
                    <a:pPr algn="ctr"/>
                    <a:endParaRPr/>
                  </a:p>
                </p:txBody>
              </p:sp>
              <p:sp>
                <p:nvSpPr>
                  <p:cNvPr id="172" name="îśḷíḋe">
                    <a:extLst>
                      <a:ext uri="{FF2B5EF4-FFF2-40B4-BE49-F238E27FC236}">
                        <a16:creationId xmlns:a16="http://schemas.microsoft.com/office/drawing/2014/main" id="{17B9371B-C26D-4CEF-9220-7E4F78BD9DF4}"/>
                      </a:ext>
                    </a:extLst>
                  </p:cNvPr>
                  <p:cNvSpPr/>
                  <p:nvPr/>
                </p:nvSpPr>
                <p:spPr bwMode="auto">
                  <a:xfrm>
                    <a:off x="3338513" y="3803650"/>
                    <a:ext cx="14288" cy="106363"/>
                  </a:xfrm>
                  <a:prstGeom prst="rect">
                    <a:avLst/>
                  </a:prstGeom>
                  <a:grpFill/>
                  <a:ln w="9525">
                    <a:noFill/>
                    <a:miter lim="800000"/>
                    <a:headEnd/>
                    <a:tailEnd/>
                  </a:ln>
                </p:spPr>
                <p:txBody>
                  <a:bodyPr wrap="square" lIns="91440" tIns="45720" rIns="91440" bIns="45720" anchor="ctr">
                    <a:normAutofit fontScale="40000" lnSpcReduction="20000"/>
                  </a:bodyPr>
                  <a:lstStyle/>
                  <a:p>
                    <a:pPr algn="ctr"/>
                    <a:endParaRPr/>
                  </a:p>
                </p:txBody>
              </p:sp>
              <p:sp>
                <p:nvSpPr>
                  <p:cNvPr id="173" name="íṥļiḑe">
                    <a:extLst>
                      <a:ext uri="{FF2B5EF4-FFF2-40B4-BE49-F238E27FC236}">
                        <a16:creationId xmlns:a16="http://schemas.microsoft.com/office/drawing/2014/main" id="{BED84888-B8D4-45A3-959A-F065FE481E4F}"/>
                      </a:ext>
                    </a:extLst>
                  </p:cNvPr>
                  <p:cNvSpPr/>
                  <p:nvPr/>
                </p:nvSpPr>
                <p:spPr bwMode="auto">
                  <a:xfrm>
                    <a:off x="3455988" y="3803650"/>
                    <a:ext cx="14288" cy="106363"/>
                  </a:xfrm>
                  <a:prstGeom prst="rect">
                    <a:avLst/>
                  </a:prstGeom>
                  <a:grpFill/>
                  <a:ln w="9525">
                    <a:noFill/>
                    <a:miter lim="800000"/>
                    <a:headEnd/>
                    <a:tailEnd/>
                  </a:ln>
                </p:spPr>
                <p:txBody>
                  <a:bodyPr wrap="square" lIns="91440" tIns="45720" rIns="91440" bIns="45720" anchor="ctr">
                    <a:normAutofit fontScale="40000" lnSpcReduction="20000"/>
                  </a:bodyPr>
                  <a:lstStyle/>
                  <a:p>
                    <a:pPr algn="ctr"/>
                    <a:endParaRPr/>
                  </a:p>
                </p:txBody>
              </p:sp>
              <p:sp>
                <p:nvSpPr>
                  <p:cNvPr id="174" name="îslîḋe">
                    <a:extLst>
                      <a:ext uri="{FF2B5EF4-FFF2-40B4-BE49-F238E27FC236}">
                        <a16:creationId xmlns:a16="http://schemas.microsoft.com/office/drawing/2014/main" id="{7D178F98-C74E-489F-890F-4ABAA97C2EA3}"/>
                      </a:ext>
                    </a:extLst>
                  </p:cNvPr>
                  <p:cNvSpPr/>
                  <p:nvPr/>
                </p:nvSpPr>
                <p:spPr bwMode="auto">
                  <a:xfrm>
                    <a:off x="3567113" y="3803650"/>
                    <a:ext cx="17463" cy="106363"/>
                  </a:xfrm>
                  <a:prstGeom prst="rect">
                    <a:avLst/>
                  </a:prstGeom>
                  <a:grpFill/>
                  <a:ln w="9525">
                    <a:noFill/>
                    <a:miter lim="800000"/>
                    <a:headEnd/>
                    <a:tailEnd/>
                  </a:ln>
                </p:spPr>
                <p:txBody>
                  <a:bodyPr wrap="square" lIns="91440" tIns="45720" rIns="91440" bIns="45720" anchor="ctr">
                    <a:normAutofit fontScale="40000" lnSpcReduction="20000"/>
                  </a:bodyPr>
                  <a:lstStyle/>
                  <a:p>
                    <a:pPr algn="ctr"/>
                    <a:endParaRPr/>
                  </a:p>
                </p:txBody>
              </p:sp>
              <p:sp>
                <p:nvSpPr>
                  <p:cNvPr id="175" name="íṡḻiḍê">
                    <a:extLst>
                      <a:ext uri="{FF2B5EF4-FFF2-40B4-BE49-F238E27FC236}">
                        <a16:creationId xmlns:a16="http://schemas.microsoft.com/office/drawing/2014/main" id="{7965F035-97C2-4586-BD30-54FF43E05941}"/>
                      </a:ext>
                    </a:extLst>
                  </p:cNvPr>
                  <p:cNvSpPr/>
                  <p:nvPr/>
                </p:nvSpPr>
                <p:spPr bwMode="auto">
                  <a:xfrm>
                    <a:off x="3709988" y="3803650"/>
                    <a:ext cx="17463" cy="106363"/>
                  </a:xfrm>
                  <a:prstGeom prst="rect">
                    <a:avLst/>
                  </a:prstGeom>
                  <a:grpFill/>
                  <a:ln w="9525">
                    <a:noFill/>
                    <a:miter lim="800000"/>
                    <a:headEnd/>
                    <a:tailEnd/>
                  </a:ln>
                </p:spPr>
                <p:txBody>
                  <a:bodyPr wrap="square" lIns="91440" tIns="45720" rIns="91440" bIns="45720" anchor="ctr">
                    <a:normAutofit fontScale="40000" lnSpcReduction="20000"/>
                  </a:bodyPr>
                  <a:lstStyle/>
                  <a:p>
                    <a:pPr algn="ctr"/>
                    <a:endParaRPr/>
                  </a:p>
                </p:txBody>
              </p:sp>
              <p:sp>
                <p:nvSpPr>
                  <p:cNvPr id="176" name="ïşḷidê">
                    <a:extLst>
                      <a:ext uri="{FF2B5EF4-FFF2-40B4-BE49-F238E27FC236}">
                        <a16:creationId xmlns:a16="http://schemas.microsoft.com/office/drawing/2014/main" id="{9374F1BB-A68E-4364-B7F3-E2627C5681E2}"/>
                      </a:ext>
                    </a:extLst>
                  </p:cNvPr>
                  <p:cNvSpPr/>
                  <p:nvPr/>
                </p:nvSpPr>
                <p:spPr bwMode="auto">
                  <a:xfrm>
                    <a:off x="3824288" y="3803650"/>
                    <a:ext cx="14288" cy="106363"/>
                  </a:xfrm>
                  <a:prstGeom prst="rect">
                    <a:avLst/>
                  </a:prstGeom>
                  <a:grpFill/>
                  <a:ln w="9525">
                    <a:noFill/>
                    <a:miter lim="800000"/>
                    <a:headEnd/>
                    <a:tailEnd/>
                  </a:ln>
                </p:spPr>
                <p:txBody>
                  <a:bodyPr wrap="square" lIns="91440" tIns="45720" rIns="91440" bIns="45720" anchor="ctr">
                    <a:normAutofit fontScale="40000" lnSpcReduction="20000"/>
                  </a:bodyPr>
                  <a:lstStyle/>
                  <a:p>
                    <a:pPr algn="ctr"/>
                    <a:endParaRPr/>
                  </a:p>
                </p:txBody>
              </p:sp>
              <p:sp>
                <p:nvSpPr>
                  <p:cNvPr id="177" name="î$ľiḑe">
                    <a:extLst>
                      <a:ext uri="{FF2B5EF4-FFF2-40B4-BE49-F238E27FC236}">
                        <a16:creationId xmlns:a16="http://schemas.microsoft.com/office/drawing/2014/main" id="{7D782AB2-5988-4FEF-8B48-895EC720CE7E}"/>
                      </a:ext>
                    </a:extLst>
                  </p:cNvPr>
                  <p:cNvSpPr/>
                  <p:nvPr/>
                </p:nvSpPr>
                <p:spPr bwMode="auto">
                  <a:xfrm>
                    <a:off x="3911600" y="3803650"/>
                    <a:ext cx="19050" cy="106363"/>
                  </a:xfrm>
                  <a:prstGeom prst="rect">
                    <a:avLst/>
                  </a:prstGeom>
                  <a:grpFill/>
                  <a:ln w="9525">
                    <a:noFill/>
                    <a:miter lim="800000"/>
                    <a:headEnd/>
                    <a:tailEnd/>
                  </a:ln>
                </p:spPr>
                <p:txBody>
                  <a:bodyPr wrap="square" lIns="91440" tIns="45720" rIns="91440" bIns="45720" anchor="ctr">
                    <a:normAutofit fontScale="40000" lnSpcReduction="20000"/>
                  </a:bodyPr>
                  <a:lstStyle/>
                  <a:p>
                    <a:pPr algn="ctr"/>
                    <a:endParaRPr/>
                  </a:p>
                </p:txBody>
              </p:sp>
              <p:sp>
                <p:nvSpPr>
                  <p:cNvPr id="178" name="iṡ1íďê">
                    <a:extLst>
                      <a:ext uri="{FF2B5EF4-FFF2-40B4-BE49-F238E27FC236}">
                        <a16:creationId xmlns:a16="http://schemas.microsoft.com/office/drawing/2014/main" id="{D5802D59-9CD6-4B84-9430-7FCC0BDD870A}"/>
                      </a:ext>
                    </a:extLst>
                  </p:cNvPr>
                  <p:cNvSpPr/>
                  <p:nvPr/>
                </p:nvSpPr>
                <p:spPr bwMode="auto">
                  <a:xfrm>
                    <a:off x="4022725" y="3803650"/>
                    <a:ext cx="17463" cy="106363"/>
                  </a:xfrm>
                  <a:prstGeom prst="rect">
                    <a:avLst/>
                  </a:prstGeom>
                  <a:grpFill/>
                  <a:ln w="9525">
                    <a:noFill/>
                    <a:miter lim="800000"/>
                    <a:headEnd/>
                    <a:tailEnd/>
                  </a:ln>
                </p:spPr>
                <p:txBody>
                  <a:bodyPr wrap="square" lIns="91440" tIns="45720" rIns="91440" bIns="45720" anchor="ctr">
                    <a:normAutofit fontScale="40000" lnSpcReduction="20000"/>
                  </a:bodyPr>
                  <a:lstStyle/>
                  <a:p>
                    <a:pPr algn="ctr"/>
                    <a:endParaRPr/>
                  </a:p>
                </p:txBody>
              </p:sp>
              <p:sp>
                <p:nvSpPr>
                  <p:cNvPr id="179" name="işľiďé">
                    <a:extLst>
                      <a:ext uri="{FF2B5EF4-FFF2-40B4-BE49-F238E27FC236}">
                        <a16:creationId xmlns:a16="http://schemas.microsoft.com/office/drawing/2014/main" id="{B21B213E-869C-45E1-BE81-049686AF10A7}"/>
                      </a:ext>
                    </a:extLst>
                  </p:cNvPr>
                  <p:cNvSpPr/>
                  <p:nvPr/>
                </p:nvSpPr>
                <p:spPr bwMode="auto">
                  <a:xfrm>
                    <a:off x="4106863" y="3803650"/>
                    <a:ext cx="14288" cy="106363"/>
                  </a:xfrm>
                  <a:prstGeom prst="rect">
                    <a:avLst/>
                  </a:prstGeom>
                  <a:grpFill/>
                  <a:ln w="9525">
                    <a:noFill/>
                    <a:miter lim="800000"/>
                    <a:headEnd/>
                    <a:tailEnd/>
                  </a:ln>
                </p:spPr>
                <p:txBody>
                  <a:bodyPr wrap="square" lIns="91440" tIns="45720" rIns="91440" bIns="45720" anchor="ctr">
                    <a:normAutofit fontScale="40000" lnSpcReduction="20000"/>
                  </a:bodyPr>
                  <a:lstStyle/>
                  <a:p>
                    <a:pPr algn="ctr"/>
                    <a:endParaRPr/>
                  </a:p>
                </p:txBody>
              </p:sp>
              <p:sp>
                <p:nvSpPr>
                  <p:cNvPr id="180" name="iśḻídé">
                    <a:extLst>
                      <a:ext uri="{FF2B5EF4-FFF2-40B4-BE49-F238E27FC236}">
                        <a16:creationId xmlns:a16="http://schemas.microsoft.com/office/drawing/2014/main" id="{F1EABE72-00A8-4389-BACD-10680614C024}"/>
                      </a:ext>
                    </a:extLst>
                  </p:cNvPr>
                  <p:cNvSpPr/>
                  <p:nvPr/>
                </p:nvSpPr>
                <p:spPr bwMode="auto">
                  <a:xfrm>
                    <a:off x="4217988" y="3803650"/>
                    <a:ext cx="17463" cy="106363"/>
                  </a:xfrm>
                  <a:prstGeom prst="rect">
                    <a:avLst/>
                  </a:prstGeom>
                  <a:grpFill/>
                  <a:ln w="9525">
                    <a:noFill/>
                    <a:miter lim="800000"/>
                    <a:headEnd/>
                    <a:tailEnd/>
                  </a:ln>
                </p:spPr>
                <p:txBody>
                  <a:bodyPr wrap="square" lIns="91440" tIns="45720" rIns="91440" bIns="45720" anchor="ctr">
                    <a:normAutofit fontScale="40000" lnSpcReduction="20000"/>
                  </a:bodyPr>
                  <a:lstStyle/>
                  <a:p>
                    <a:pPr algn="ctr"/>
                    <a:endParaRPr/>
                  </a:p>
                </p:txBody>
              </p:sp>
              <p:sp>
                <p:nvSpPr>
                  <p:cNvPr id="181" name="ïṩḻïḑè">
                    <a:extLst>
                      <a:ext uri="{FF2B5EF4-FFF2-40B4-BE49-F238E27FC236}">
                        <a16:creationId xmlns:a16="http://schemas.microsoft.com/office/drawing/2014/main" id="{F198B303-F961-4EBF-B8D9-3ACA24198536}"/>
                      </a:ext>
                    </a:extLst>
                  </p:cNvPr>
                  <p:cNvSpPr/>
                  <p:nvPr/>
                </p:nvSpPr>
                <p:spPr bwMode="auto">
                  <a:xfrm>
                    <a:off x="4316413" y="3803650"/>
                    <a:ext cx="19050" cy="106363"/>
                  </a:xfrm>
                  <a:prstGeom prst="rect">
                    <a:avLst/>
                  </a:prstGeom>
                  <a:grpFill/>
                  <a:ln w="9525">
                    <a:noFill/>
                    <a:miter lim="800000"/>
                    <a:headEnd/>
                    <a:tailEnd/>
                  </a:ln>
                </p:spPr>
                <p:txBody>
                  <a:bodyPr wrap="square" lIns="91440" tIns="45720" rIns="91440" bIns="45720" anchor="ctr">
                    <a:normAutofit fontScale="40000" lnSpcReduction="20000"/>
                  </a:bodyPr>
                  <a:lstStyle/>
                  <a:p>
                    <a:pPr algn="ctr"/>
                    <a:endParaRPr/>
                  </a:p>
                </p:txBody>
              </p:sp>
              <p:sp>
                <p:nvSpPr>
                  <p:cNvPr id="182" name="í$ľïḑè">
                    <a:extLst>
                      <a:ext uri="{FF2B5EF4-FFF2-40B4-BE49-F238E27FC236}">
                        <a16:creationId xmlns:a16="http://schemas.microsoft.com/office/drawing/2014/main" id="{5CFF2D0A-D617-4CF6-A2DF-10A39F2B72DE}"/>
                      </a:ext>
                    </a:extLst>
                  </p:cNvPr>
                  <p:cNvSpPr/>
                  <p:nvPr/>
                </p:nvSpPr>
                <p:spPr bwMode="auto">
                  <a:xfrm>
                    <a:off x="4430713" y="3803650"/>
                    <a:ext cx="14288" cy="106363"/>
                  </a:xfrm>
                  <a:prstGeom prst="rect">
                    <a:avLst/>
                  </a:prstGeom>
                  <a:grpFill/>
                  <a:ln w="9525">
                    <a:noFill/>
                    <a:miter lim="800000"/>
                    <a:headEnd/>
                    <a:tailEnd/>
                  </a:ln>
                </p:spPr>
                <p:txBody>
                  <a:bodyPr wrap="square" lIns="91440" tIns="45720" rIns="91440" bIns="45720" anchor="ctr">
                    <a:normAutofit fontScale="40000" lnSpcReduction="20000"/>
                  </a:bodyPr>
                  <a:lstStyle/>
                  <a:p>
                    <a:pPr algn="ctr"/>
                    <a:endParaRPr/>
                  </a:p>
                </p:txBody>
              </p:sp>
              <p:sp>
                <p:nvSpPr>
                  <p:cNvPr id="183" name="ïṩľiḍê">
                    <a:extLst>
                      <a:ext uri="{FF2B5EF4-FFF2-40B4-BE49-F238E27FC236}">
                        <a16:creationId xmlns:a16="http://schemas.microsoft.com/office/drawing/2014/main" id="{34C331C6-FC89-4786-8860-8A5DB31FB310}"/>
                      </a:ext>
                    </a:extLst>
                  </p:cNvPr>
                  <p:cNvSpPr/>
                  <p:nvPr/>
                </p:nvSpPr>
                <p:spPr bwMode="auto">
                  <a:xfrm>
                    <a:off x="4545013" y="3803650"/>
                    <a:ext cx="17463" cy="106363"/>
                  </a:xfrm>
                  <a:prstGeom prst="rect">
                    <a:avLst/>
                  </a:prstGeom>
                  <a:grpFill/>
                  <a:ln w="9525">
                    <a:noFill/>
                    <a:miter lim="800000"/>
                    <a:headEnd/>
                    <a:tailEnd/>
                  </a:ln>
                </p:spPr>
                <p:txBody>
                  <a:bodyPr wrap="square" lIns="91440" tIns="45720" rIns="91440" bIns="45720" anchor="ctr">
                    <a:normAutofit fontScale="40000" lnSpcReduction="20000"/>
                  </a:bodyPr>
                  <a:lstStyle/>
                  <a:p>
                    <a:pPr algn="ctr"/>
                    <a:endParaRPr/>
                  </a:p>
                </p:txBody>
              </p:sp>
              <p:sp>
                <p:nvSpPr>
                  <p:cNvPr id="184" name="iSľidè">
                    <a:extLst>
                      <a:ext uri="{FF2B5EF4-FFF2-40B4-BE49-F238E27FC236}">
                        <a16:creationId xmlns:a16="http://schemas.microsoft.com/office/drawing/2014/main" id="{29BCBF84-56DE-4DF2-A3AC-C3875B9F1D49}"/>
                      </a:ext>
                    </a:extLst>
                  </p:cNvPr>
                  <p:cNvSpPr/>
                  <p:nvPr/>
                </p:nvSpPr>
                <p:spPr bwMode="auto">
                  <a:xfrm>
                    <a:off x="2312988" y="3789363"/>
                    <a:ext cx="146050" cy="61913"/>
                  </a:xfrm>
                  <a:prstGeom prst="rect">
                    <a:avLst/>
                  </a:prstGeom>
                  <a:grpFill/>
                  <a:ln w="9525">
                    <a:noFill/>
                    <a:miter lim="800000"/>
                    <a:headEnd/>
                    <a:tailEnd/>
                  </a:ln>
                </p:spPr>
                <p:txBody>
                  <a:bodyPr wrap="square" lIns="91440" tIns="45720" rIns="91440" bIns="45720" anchor="ctr">
                    <a:normAutofit fontScale="25000" lnSpcReduction="20000"/>
                  </a:bodyPr>
                  <a:lstStyle/>
                  <a:p>
                    <a:pPr algn="ctr"/>
                    <a:endParaRPr/>
                  </a:p>
                </p:txBody>
              </p:sp>
              <p:sp>
                <p:nvSpPr>
                  <p:cNvPr id="185" name="íṣḻiḓê">
                    <a:extLst>
                      <a:ext uri="{FF2B5EF4-FFF2-40B4-BE49-F238E27FC236}">
                        <a16:creationId xmlns:a16="http://schemas.microsoft.com/office/drawing/2014/main" id="{4E65D51F-F01F-446D-96D2-8CDA3BE329D4}"/>
                      </a:ext>
                    </a:extLst>
                  </p:cNvPr>
                  <p:cNvSpPr/>
                  <p:nvPr/>
                </p:nvSpPr>
                <p:spPr bwMode="auto">
                  <a:xfrm>
                    <a:off x="2643188" y="3836988"/>
                    <a:ext cx="150813" cy="73025"/>
                  </a:xfrm>
                  <a:prstGeom prst="rect">
                    <a:avLst/>
                  </a:prstGeom>
                  <a:grpFill/>
                  <a:ln w="9525">
                    <a:noFill/>
                    <a:miter lim="800000"/>
                    <a:headEnd/>
                    <a:tailEnd/>
                  </a:ln>
                </p:spPr>
                <p:txBody>
                  <a:bodyPr wrap="square" lIns="91440" tIns="45720" rIns="91440" bIns="45720" anchor="ctr">
                    <a:normAutofit fontScale="25000" lnSpcReduction="20000"/>
                  </a:bodyPr>
                  <a:lstStyle/>
                  <a:p>
                    <a:pPr algn="ctr"/>
                    <a:endParaRPr/>
                  </a:p>
                </p:txBody>
              </p:sp>
              <p:sp>
                <p:nvSpPr>
                  <p:cNvPr id="186" name="ïslîḋe">
                    <a:extLst>
                      <a:ext uri="{FF2B5EF4-FFF2-40B4-BE49-F238E27FC236}">
                        <a16:creationId xmlns:a16="http://schemas.microsoft.com/office/drawing/2014/main" id="{9B8461B1-F9BC-42C1-A23E-C5B37580C31B}"/>
                      </a:ext>
                    </a:extLst>
                  </p:cNvPr>
                  <p:cNvSpPr/>
                  <p:nvPr/>
                </p:nvSpPr>
                <p:spPr bwMode="auto">
                  <a:xfrm>
                    <a:off x="2947988" y="3789363"/>
                    <a:ext cx="150813" cy="61913"/>
                  </a:xfrm>
                  <a:prstGeom prst="rect">
                    <a:avLst/>
                  </a:prstGeom>
                  <a:grpFill/>
                  <a:ln w="9525">
                    <a:noFill/>
                    <a:miter lim="800000"/>
                    <a:headEnd/>
                    <a:tailEnd/>
                  </a:ln>
                </p:spPr>
                <p:txBody>
                  <a:bodyPr wrap="square" lIns="91440" tIns="45720" rIns="91440" bIns="45720" anchor="ctr">
                    <a:normAutofit fontScale="25000" lnSpcReduction="20000"/>
                  </a:bodyPr>
                  <a:lstStyle/>
                  <a:p>
                    <a:pPr algn="ctr"/>
                    <a:endParaRPr/>
                  </a:p>
                </p:txBody>
              </p:sp>
              <p:sp>
                <p:nvSpPr>
                  <p:cNvPr id="187" name="iṡḷïdé">
                    <a:extLst>
                      <a:ext uri="{FF2B5EF4-FFF2-40B4-BE49-F238E27FC236}">
                        <a16:creationId xmlns:a16="http://schemas.microsoft.com/office/drawing/2014/main" id="{AB26B088-4A90-4DD6-89A0-8E12FACC28CB}"/>
                      </a:ext>
                    </a:extLst>
                  </p:cNvPr>
                  <p:cNvSpPr/>
                  <p:nvPr/>
                </p:nvSpPr>
                <p:spPr bwMode="auto">
                  <a:xfrm>
                    <a:off x="2720975" y="3252788"/>
                    <a:ext cx="577850" cy="495300"/>
                  </a:xfrm>
                  <a:custGeom>
                    <a:avLst/>
                    <a:gdLst/>
                    <a:ahLst/>
                    <a:cxnLst>
                      <a:cxn ang="0">
                        <a:pos x="0" y="0"/>
                      </a:cxn>
                      <a:cxn ang="0">
                        <a:pos x="181" y="312"/>
                      </a:cxn>
                      <a:cxn ang="0">
                        <a:pos x="364" y="312"/>
                      </a:cxn>
                      <a:cxn ang="0">
                        <a:pos x="0" y="0"/>
                      </a:cxn>
                    </a:cxnLst>
                    <a:rect l="0" t="0" r="r" b="b"/>
                    <a:pathLst>
                      <a:path w="364" h="312">
                        <a:moveTo>
                          <a:pt x="0" y="0"/>
                        </a:moveTo>
                        <a:lnTo>
                          <a:pt x="181" y="312"/>
                        </a:lnTo>
                        <a:lnTo>
                          <a:pt x="364" y="312"/>
                        </a:lnTo>
                        <a:lnTo>
                          <a:pt x="0" y="0"/>
                        </a:lnTo>
                        <a:close/>
                      </a:path>
                    </a:pathLst>
                  </a:custGeom>
                  <a:grpFill/>
                  <a:ln w="9525">
                    <a:noFill/>
                    <a:round/>
                    <a:headEnd/>
                    <a:tailEnd/>
                  </a:ln>
                </p:spPr>
                <p:txBody>
                  <a:bodyPr wrap="square" lIns="91440" tIns="45720" rIns="91440" bIns="45720" anchor="ctr">
                    <a:normAutofit/>
                  </a:bodyPr>
                  <a:lstStyle/>
                  <a:p>
                    <a:pPr algn="ctr"/>
                    <a:endParaRPr/>
                  </a:p>
                </p:txBody>
              </p:sp>
              <p:sp>
                <p:nvSpPr>
                  <p:cNvPr id="188" name="íśľiḍé">
                    <a:extLst>
                      <a:ext uri="{FF2B5EF4-FFF2-40B4-BE49-F238E27FC236}">
                        <a16:creationId xmlns:a16="http://schemas.microsoft.com/office/drawing/2014/main" id="{BDB3F29F-267A-44BE-B7D2-9DD0111873D7}"/>
                      </a:ext>
                    </a:extLst>
                  </p:cNvPr>
                  <p:cNvSpPr/>
                  <p:nvPr/>
                </p:nvSpPr>
                <p:spPr bwMode="auto">
                  <a:xfrm>
                    <a:off x="1100138" y="3784600"/>
                    <a:ext cx="388938" cy="100013"/>
                  </a:xfrm>
                  <a:custGeom>
                    <a:avLst/>
                    <a:gdLst/>
                    <a:ahLst/>
                    <a:cxnLst>
                      <a:cxn ang="0">
                        <a:pos x="0" y="26"/>
                      </a:cxn>
                      <a:cxn ang="0">
                        <a:pos x="2" y="19"/>
                      </a:cxn>
                      <a:cxn ang="0">
                        <a:pos x="15" y="17"/>
                      </a:cxn>
                      <a:cxn ang="0">
                        <a:pos x="15" y="16"/>
                      </a:cxn>
                      <a:cxn ang="0">
                        <a:pos x="63" y="8"/>
                      </a:cxn>
                      <a:cxn ang="0">
                        <a:pos x="103" y="2"/>
                      </a:cxn>
                      <a:cxn ang="0">
                        <a:pos x="50" y="22"/>
                      </a:cxn>
                      <a:cxn ang="0">
                        <a:pos x="0" y="26"/>
                      </a:cxn>
                    </a:cxnLst>
                    <a:rect l="0" t="0" r="r" b="b"/>
                    <a:pathLst>
                      <a:path w="106" h="27">
                        <a:moveTo>
                          <a:pt x="0" y="26"/>
                        </a:moveTo>
                        <a:cubicBezTo>
                          <a:pt x="2" y="19"/>
                          <a:pt x="2" y="19"/>
                          <a:pt x="2" y="19"/>
                        </a:cubicBezTo>
                        <a:cubicBezTo>
                          <a:pt x="15" y="17"/>
                          <a:pt x="15" y="17"/>
                          <a:pt x="15" y="17"/>
                        </a:cubicBezTo>
                        <a:cubicBezTo>
                          <a:pt x="15" y="16"/>
                          <a:pt x="15" y="16"/>
                          <a:pt x="15" y="16"/>
                        </a:cubicBezTo>
                        <a:cubicBezTo>
                          <a:pt x="15" y="16"/>
                          <a:pt x="53" y="10"/>
                          <a:pt x="63" y="8"/>
                        </a:cubicBezTo>
                        <a:cubicBezTo>
                          <a:pt x="73" y="5"/>
                          <a:pt x="100" y="0"/>
                          <a:pt x="103" y="2"/>
                        </a:cubicBezTo>
                        <a:cubicBezTo>
                          <a:pt x="106" y="5"/>
                          <a:pt x="78" y="20"/>
                          <a:pt x="50" y="22"/>
                        </a:cubicBezTo>
                        <a:cubicBezTo>
                          <a:pt x="22" y="25"/>
                          <a:pt x="1" y="27"/>
                          <a:pt x="0" y="26"/>
                        </a:cubicBezTo>
                        <a:close/>
                      </a:path>
                    </a:pathLst>
                  </a:custGeom>
                  <a:grpFill/>
                  <a:ln w="9525">
                    <a:noFill/>
                    <a:round/>
                    <a:headEnd/>
                    <a:tailEnd/>
                  </a:ln>
                </p:spPr>
                <p:txBody>
                  <a:bodyPr wrap="square" lIns="91440" tIns="45720" rIns="91440" bIns="45720" anchor="ctr">
                    <a:normAutofit fontScale="40000" lnSpcReduction="20000"/>
                  </a:bodyPr>
                  <a:lstStyle/>
                  <a:p>
                    <a:pPr algn="ctr"/>
                    <a:endParaRPr/>
                  </a:p>
                </p:txBody>
              </p:sp>
              <p:sp>
                <p:nvSpPr>
                  <p:cNvPr id="189" name="iSḻiḋe">
                    <a:extLst>
                      <a:ext uri="{FF2B5EF4-FFF2-40B4-BE49-F238E27FC236}">
                        <a16:creationId xmlns:a16="http://schemas.microsoft.com/office/drawing/2014/main" id="{A5F0A0A2-6D16-400F-A5EC-57595B661B03}"/>
                      </a:ext>
                    </a:extLst>
                  </p:cNvPr>
                  <p:cNvSpPr/>
                  <p:nvPr/>
                </p:nvSpPr>
                <p:spPr bwMode="auto">
                  <a:xfrm>
                    <a:off x="1100138" y="3792538"/>
                    <a:ext cx="381000" cy="139700"/>
                  </a:xfrm>
                  <a:custGeom>
                    <a:avLst/>
                    <a:gdLst/>
                    <a:ahLst/>
                    <a:cxnLst>
                      <a:cxn ang="0">
                        <a:pos x="0" y="24"/>
                      </a:cxn>
                      <a:cxn ang="0">
                        <a:pos x="3" y="30"/>
                      </a:cxn>
                      <a:cxn ang="0">
                        <a:pos x="4" y="29"/>
                      </a:cxn>
                      <a:cxn ang="0">
                        <a:pos x="5" y="34"/>
                      </a:cxn>
                      <a:cxn ang="0">
                        <a:pos x="93" y="22"/>
                      </a:cxn>
                      <a:cxn ang="0">
                        <a:pos x="103" y="0"/>
                      </a:cxn>
                      <a:cxn ang="0">
                        <a:pos x="0" y="24"/>
                      </a:cxn>
                    </a:cxnLst>
                    <a:rect l="0" t="0" r="r" b="b"/>
                    <a:pathLst>
                      <a:path w="104" h="38">
                        <a:moveTo>
                          <a:pt x="0" y="24"/>
                        </a:moveTo>
                        <a:cubicBezTo>
                          <a:pt x="3" y="30"/>
                          <a:pt x="3" y="30"/>
                          <a:pt x="3" y="30"/>
                        </a:cubicBezTo>
                        <a:cubicBezTo>
                          <a:pt x="4" y="29"/>
                          <a:pt x="4" y="29"/>
                          <a:pt x="4" y="29"/>
                        </a:cubicBezTo>
                        <a:cubicBezTo>
                          <a:pt x="5" y="34"/>
                          <a:pt x="5" y="34"/>
                          <a:pt x="5" y="34"/>
                        </a:cubicBezTo>
                        <a:cubicBezTo>
                          <a:pt x="5" y="34"/>
                          <a:pt x="60" y="38"/>
                          <a:pt x="93" y="22"/>
                        </a:cubicBezTo>
                        <a:cubicBezTo>
                          <a:pt x="93" y="22"/>
                          <a:pt x="104" y="10"/>
                          <a:pt x="103" y="0"/>
                        </a:cubicBezTo>
                        <a:cubicBezTo>
                          <a:pt x="103" y="0"/>
                          <a:pt x="92" y="20"/>
                          <a:pt x="0" y="24"/>
                        </a:cubicBezTo>
                        <a:close/>
                      </a:path>
                    </a:pathLst>
                  </a:custGeom>
                  <a:grpFill/>
                  <a:ln w="9525">
                    <a:noFill/>
                    <a:round/>
                    <a:headEnd/>
                    <a:tailEnd/>
                  </a:ln>
                </p:spPr>
                <p:txBody>
                  <a:bodyPr wrap="square" lIns="91440" tIns="45720" rIns="91440" bIns="45720" anchor="ctr">
                    <a:normAutofit fontScale="70000" lnSpcReduction="20000"/>
                  </a:bodyPr>
                  <a:lstStyle/>
                  <a:p>
                    <a:pPr algn="ctr"/>
                    <a:endParaRPr/>
                  </a:p>
                </p:txBody>
              </p:sp>
              <p:sp>
                <p:nvSpPr>
                  <p:cNvPr id="190" name="íšľíḍê">
                    <a:extLst>
                      <a:ext uri="{FF2B5EF4-FFF2-40B4-BE49-F238E27FC236}">
                        <a16:creationId xmlns:a16="http://schemas.microsoft.com/office/drawing/2014/main" id="{DD6422A3-9E61-486A-A880-A16E40F1D051}"/>
                      </a:ext>
                    </a:extLst>
                  </p:cNvPr>
                  <p:cNvSpPr/>
                  <p:nvPr/>
                </p:nvSpPr>
                <p:spPr bwMode="auto">
                  <a:xfrm>
                    <a:off x="1069975" y="3311525"/>
                    <a:ext cx="360363" cy="514350"/>
                  </a:xfrm>
                  <a:custGeom>
                    <a:avLst/>
                    <a:gdLst/>
                    <a:ahLst/>
                    <a:cxnLst>
                      <a:cxn ang="0">
                        <a:pos x="222" y="277"/>
                      </a:cxn>
                      <a:cxn ang="0">
                        <a:pos x="218" y="249"/>
                      </a:cxn>
                      <a:cxn ang="0">
                        <a:pos x="218" y="249"/>
                      </a:cxn>
                      <a:cxn ang="0">
                        <a:pos x="211" y="219"/>
                      </a:cxn>
                      <a:cxn ang="0">
                        <a:pos x="204" y="191"/>
                      </a:cxn>
                      <a:cxn ang="0">
                        <a:pos x="204" y="191"/>
                      </a:cxn>
                      <a:cxn ang="0">
                        <a:pos x="199" y="161"/>
                      </a:cxn>
                      <a:cxn ang="0">
                        <a:pos x="199" y="159"/>
                      </a:cxn>
                      <a:cxn ang="0">
                        <a:pos x="178" y="128"/>
                      </a:cxn>
                      <a:cxn ang="0">
                        <a:pos x="178" y="128"/>
                      </a:cxn>
                      <a:cxn ang="0">
                        <a:pos x="155" y="93"/>
                      </a:cxn>
                      <a:cxn ang="0">
                        <a:pos x="155" y="93"/>
                      </a:cxn>
                      <a:cxn ang="0">
                        <a:pos x="132" y="61"/>
                      </a:cxn>
                      <a:cxn ang="0">
                        <a:pos x="132" y="58"/>
                      </a:cxn>
                      <a:cxn ang="0">
                        <a:pos x="111" y="26"/>
                      </a:cxn>
                      <a:cxn ang="0">
                        <a:pos x="95" y="0"/>
                      </a:cxn>
                      <a:cxn ang="0">
                        <a:pos x="88" y="19"/>
                      </a:cxn>
                      <a:cxn ang="0">
                        <a:pos x="81" y="44"/>
                      </a:cxn>
                      <a:cxn ang="0">
                        <a:pos x="81" y="44"/>
                      </a:cxn>
                      <a:cxn ang="0">
                        <a:pos x="74" y="68"/>
                      </a:cxn>
                      <a:cxn ang="0">
                        <a:pos x="74" y="70"/>
                      </a:cxn>
                      <a:cxn ang="0">
                        <a:pos x="67" y="93"/>
                      </a:cxn>
                      <a:cxn ang="0">
                        <a:pos x="67" y="96"/>
                      </a:cxn>
                      <a:cxn ang="0">
                        <a:pos x="60" y="119"/>
                      </a:cxn>
                      <a:cxn ang="0">
                        <a:pos x="53" y="145"/>
                      </a:cxn>
                      <a:cxn ang="0">
                        <a:pos x="51" y="145"/>
                      </a:cxn>
                      <a:cxn ang="0">
                        <a:pos x="44" y="170"/>
                      </a:cxn>
                      <a:cxn ang="0">
                        <a:pos x="37" y="193"/>
                      </a:cxn>
                      <a:cxn ang="0">
                        <a:pos x="37" y="196"/>
                      </a:cxn>
                      <a:cxn ang="0">
                        <a:pos x="30" y="219"/>
                      </a:cxn>
                      <a:cxn ang="0">
                        <a:pos x="23" y="245"/>
                      </a:cxn>
                      <a:cxn ang="0">
                        <a:pos x="23" y="245"/>
                      </a:cxn>
                      <a:cxn ang="0">
                        <a:pos x="16" y="270"/>
                      </a:cxn>
                      <a:cxn ang="0">
                        <a:pos x="14" y="270"/>
                      </a:cxn>
                      <a:cxn ang="0">
                        <a:pos x="7" y="296"/>
                      </a:cxn>
                      <a:cxn ang="0">
                        <a:pos x="7" y="296"/>
                      </a:cxn>
                      <a:cxn ang="0">
                        <a:pos x="0" y="322"/>
                      </a:cxn>
                      <a:cxn ang="0">
                        <a:pos x="0" y="324"/>
                      </a:cxn>
                      <a:cxn ang="0">
                        <a:pos x="7" y="322"/>
                      </a:cxn>
                      <a:cxn ang="0">
                        <a:pos x="67" y="315"/>
                      </a:cxn>
                      <a:cxn ang="0">
                        <a:pos x="69" y="315"/>
                      </a:cxn>
                      <a:cxn ang="0">
                        <a:pos x="130" y="305"/>
                      </a:cxn>
                      <a:cxn ang="0">
                        <a:pos x="132" y="305"/>
                      </a:cxn>
                      <a:cxn ang="0">
                        <a:pos x="195" y="298"/>
                      </a:cxn>
                      <a:cxn ang="0">
                        <a:pos x="197" y="298"/>
                      </a:cxn>
                      <a:cxn ang="0">
                        <a:pos x="227" y="294"/>
                      </a:cxn>
                      <a:cxn ang="0">
                        <a:pos x="222" y="277"/>
                      </a:cxn>
                    </a:cxnLst>
                    <a:rect l="0" t="0" r="r" b="b"/>
                    <a:pathLst>
                      <a:path w="227" h="324">
                        <a:moveTo>
                          <a:pt x="222" y="277"/>
                        </a:moveTo>
                        <a:lnTo>
                          <a:pt x="218" y="249"/>
                        </a:lnTo>
                        <a:lnTo>
                          <a:pt x="218" y="249"/>
                        </a:lnTo>
                        <a:lnTo>
                          <a:pt x="211" y="219"/>
                        </a:lnTo>
                        <a:lnTo>
                          <a:pt x="204" y="191"/>
                        </a:lnTo>
                        <a:lnTo>
                          <a:pt x="204" y="191"/>
                        </a:lnTo>
                        <a:lnTo>
                          <a:pt x="199" y="161"/>
                        </a:lnTo>
                        <a:lnTo>
                          <a:pt x="199" y="159"/>
                        </a:lnTo>
                        <a:lnTo>
                          <a:pt x="178" y="128"/>
                        </a:lnTo>
                        <a:lnTo>
                          <a:pt x="178" y="128"/>
                        </a:lnTo>
                        <a:lnTo>
                          <a:pt x="155" y="93"/>
                        </a:lnTo>
                        <a:lnTo>
                          <a:pt x="155" y="93"/>
                        </a:lnTo>
                        <a:lnTo>
                          <a:pt x="132" y="61"/>
                        </a:lnTo>
                        <a:lnTo>
                          <a:pt x="132" y="58"/>
                        </a:lnTo>
                        <a:lnTo>
                          <a:pt x="111" y="26"/>
                        </a:lnTo>
                        <a:lnTo>
                          <a:pt x="95" y="0"/>
                        </a:lnTo>
                        <a:lnTo>
                          <a:pt x="88" y="19"/>
                        </a:lnTo>
                        <a:lnTo>
                          <a:pt x="81" y="44"/>
                        </a:lnTo>
                        <a:lnTo>
                          <a:pt x="81" y="44"/>
                        </a:lnTo>
                        <a:lnTo>
                          <a:pt x="74" y="68"/>
                        </a:lnTo>
                        <a:lnTo>
                          <a:pt x="74" y="70"/>
                        </a:lnTo>
                        <a:lnTo>
                          <a:pt x="67" y="93"/>
                        </a:lnTo>
                        <a:lnTo>
                          <a:pt x="67" y="96"/>
                        </a:lnTo>
                        <a:lnTo>
                          <a:pt x="60" y="119"/>
                        </a:lnTo>
                        <a:lnTo>
                          <a:pt x="53" y="145"/>
                        </a:lnTo>
                        <a:lnTo>
                          <a:pt x="51" y="145"/>
                        </a:lnTo>
                        <a:lnTo>
                          <a:pt x="44" y="170"/>
                        </a:lnTo>
                        <a:lnTo>
                          <a:pt x="37" y="193"/>
                        </a:lnTo>
                        <a:lnTo>
                          <a:pt x="37" y="196"/>
                        </a:lnTo>
                        <a:lnTo>
                          <a:pt x="30" y="219"/>
                        </a:lnTo>
                        <a:lnTo>
                          <a:pt x="23" y="245"/>
                        </a:lnTo>
                        <a:lnTo>
                          <a:pt x="23" y="245"/>
                        </a:lnTo>
                        <a:lnTo>
                          <a:pt x="16" y="270"/>
                        </a:lnTo>
                        <a:lnTo>
                          <a:pt x="14" y="270"/>
                        </a:lnTo>
                        <a:lnTo>
                          <a:pt x="7" y="296"/>
                        </a:lnTo>
                        <a:lnTo>
                          <a:pt x="7" y="296"/>
                        </a:lnTo>
                        <a:lnTo>
                          <a:pt x="0" y="322"/>
                        </a:lnTo>
                        <a:lnTo>
                          <a:pt x="0" y="324"/>
                        </a:lnTo>
                        <a:lnTo>
                          <a:pt x="7" y="322"/>
                        </a:lnTo>
                        <a:lnTo>
                          <a:pt x="67" y="315"/>
                        </a:lnTo>
                        <a:lnTo>
                          <a:pt x="69" y="315"/>
                        </a:lnTo>
                        <a:lnTo>
                          <a:pt x="130" y="305"/>
                        </a:lnTo>
                        <a:lnTo>
                          <a:pt x="132" y="305"/>
                        </a:lnTo>
                        <a:lnTo>
                          <a:pt x="195" y="298"/>
                        </a:lnTo>
                        <a:lnTo>
                          <a:pt x="197" y="298"/>
                        </a:lnTo>
                        <a:lnTo>
                          <a:pt x="227" y="294"/>
                        </a:lnTo>
                        <a:lnTo>
                          <a:pt x="222" y="277"/>
                        </a:lnTo>
                        <a:close/>
                      </a:path>
                    </a:pathLst>
                  </a:custGeom>
                  <a:grpFill/>
                  <a:ln w="9525">
                    <a:noFill/>
                    <a:round/>
                    <a:headEnd/>
                    <a:tailEnd/>
                  </a:ln>
                </p:spPr>
                <p:txBody>
                  <a:bodyPr wrap="square" lIns="91440" tIns="45720" rIns="91440" bIns="45720" anchor="ctr">
                    <a:normAutofit/>
                  </a:bodyPr>
                  <a:lstStyle/>
                  <a:p>
                    <a:pPr algn="ctr"/>
                    <a:endParaRPr/>
                  </a:p>
                </p:txBody>
              </p:sp>
              <p:sp>
                <p:nvSpPr>
                  <p:cNvPr id="191" name="í$ľîďè">
                    <a:extLst>
                      <a:ext uri="{FF2B5EF4-FFF2-40B4-BE49-F238E27FC236}">
                        <a16:creationId xmlns:a16="http://schemas.microsoft.com/office/drawing/2014/main" id="{364CDF5E-075D-4D2E-B07F-0C54344F1D6E}"/>
                      </a:ext>
                    </a:extLst>
                  </p:cNvPr>
                  <p:cNvSpPr/>
                  <p:nvPr/>
                </p:nvSpPr>
                <p:spPr bwMode="auto">
                  <a:xfrm>
                    <a:off x="1360488" y="3375025"/>
                    <a:ext cx="84138" cy="420688"/>
                  </a:xfrm>
                  <a:custGeom>
                    <a:avLst/>
                    <a:gdLst/>
                    <a:ahLst/>
                    <a:cxnLst>
                      <a:cxn ang="0">
                        <a:pos x="0" y="2"/>
                      </a:cxn>
                      <a:cxn ang="0">
                        <a:pos x="21" y="114"/>
                      </a:cxn>
                      <a:cxn ang="0">
                        <a:pos x="23" y="113"/>
                      </a:cxn>
                      <a:cxn ang="0">
                        <a:pos x="1" y="1"/>
                      </a:cxn>
                      <a:cxn ang="0">
                        <a:pos x="0" y="2"/>
                      </a:cxn>
                    </a:cxnLst>
                    <a:rect l="0" t="0" r="r" b="b"/>
                    <a:pathLst>
                      <a:path w="23" h="114">
                        <a:moveTo>
                          <a:pt x="0" y="2"/>
                        </a:moveTo>
                        <a:cubicBezTo>
                          <a:pt x="21" y="114"/>
                          <a:pt x="21" y="114"/>
                          <a:pt x="21" y="114"/>
                        </a:cubicBezTo>
                        <a:cubicBezTo>
                          <a:pt x="23" y="113"/>
                          <a:pt x="23" y="113"/>
                          <a:pt x="23" y="113"/>
                        </a:cubicBezTo>
                        <a:cubicBezTo>
                          <a:pt x="23" y="113"/>
                          <a:pt x="6" y="13"/>
                          <a:pt x="1" y="1"/>
                        </a:cubicBezTo>
                        <a:cubicBezTo>
                          <a:pt x="1" y="1"/>
                          <a:pt x="0" y="0"/>
                          <a:pt x="0" y="2"/>
                        </a:cubicBezTo>
                        <a:close/>
                      </a:path>
                    </a:pathLst>
                  </a:custGeom>
                  <a:grpFill/>
                  <a:ln w="9525">
                    <a:noFill/>
                    <a:round/>
                    <a:headEnd/>
                    <a:tailEnd/>
                  </a:ln>
                </p:spPr>
                <p:txBody>
                  <a:bodyPr wrap="square" lIns="91440" tIns="45720" rIns="91440" bIns="45720" anchor="ctr">
                    <a:normAutofit/>
                  </a:bodyPr>
                  <a:lstStyle/>
                  <a:p>
                    <a:pPr algn="ctr"/>
                    <a:endParaRPr/>
                  </a:p>
                </p:txBody>
              </p:sp>
              <p:sp>
                <p:nvSpPr>
                  <p:cNvPr id="192" name="iSlíde">
                    <a:extLst>
                      <a:ext uri="{FF2B5EF4-FFF2-40B4-BE49-F238E27FC236}">
                        <a16:creationId xmlns:a16="http://schemas.microsoft.com/office/drawing/2014/main" id="{A2BD7E28-D9A8-499A-9A44-595937F97F91}"/>
                      </a:ext>
                    </a:extLst>
                  </p:cNvPr>
                  <p:cNvSpPr/>
                  <p:nvPr/>
                </p:nvSpPr>
                <p:spPr bwMode="auto">
                  <a:xfrm>
                    <a:off x="1220788" y="3311525"/>
                    <a:ext cx="179388" cy="288925"/>
                  </a:xfrm>
                  <a:custGeom>
                    <a:avLst/>
                    <a:gdLst/>
                    <a:ahLst/>
                    <a:cxnLst>
                      <a:cxn ang="0">
                        <a:pos x="49" y="78"/>
                      </a:cxn>
                      <a:cxn ang="0">
                        <a:pos x="0" y="0"/>
                      </a:cxn>
                      <a:cxn ang="0">
                        <a:pos x="0" y="0"/>
                      </a:cxn>
                      <a:cxn ang="0">
                        <a:pos x="47" y="69"/>
                      </a:cxn>
                      <a:cxn ang="0">
                        <a:pos x="49" y="78"/>
                      </a:cxn>
                    </a:cxnLst>
                    <a:rect l="0" t="0" r="r" b="b"/>
                    <a:pathLst>
                      <a:path w="49" h="78">
                        <a:moveTo>
                          <a:pt x="49" y="78"/>
                        </a:moveTo>
                        <a:cubicBezTo>
                          <a:pt x="49" y="78"/>
                          <a:pt x="0" y="1"/>
                          <a:pt x="0" y="0"/>
                        </a:cubicBezTo>
                        <a:cubicBezTo>
                          <a:pt x="0" y="0"/>
                          <a:pt x="0" y="0"/>
                          <a:pt x="0" y="0"/>
                        </a:cubicBezTo>
                        <a:cubicBezTo>
                          <a:pt x="1" y="0"/>
                          <a:pt x="47" y="69"/>
                          <a:pt x="47" y="69"/>
                        </a:cubicBezTo>
                        <a:lnTo>
                          <a:pt x="49" y="78"/>
                        </a:lnTo>
                        <a:close/>
                      </a:path>
                    </a:pathLst>
                  </a:custGeom>
                  <a:grpFill/>
                  <a:ln w="9525">
                    <a:noFill/>
                    <a:round/>
                    <a:headEnd/>
                    <a:tailEnd/>
                  </a:ln>
                </p:spPr>
                <p:txBody>
                  <a:bodyPr wrap="square" lIns="91440" tIns="45720" rIns="91440" bIns="45720" anchor="ctr">
                    <a:normAutofit/>
                  </a:bodyPr>
                  <a:lstStyle/>
                  <a:p>
                    <a:pPr algn="ctr"/>
                    <a:endParaRPr/>
                  </a:p>
                </p:txBody>
              </p:sp>
              <p:sp>
                <p:nvSpPr>
                  <p:cNvPr id="193" name="iṡ1îḑê">
                    <a:extLst>
                      <a:ext uri="{FF2B5EF4-FFF2-40B4-BE49-F238E27FC236}">
                        <a16:creationId xmlns:a16="http://schemas.microsoft.com/office/drawing/2014/main" id="{CC8416E8-B671-4DBB-850D-448CBD19A7D4}"/>
                      </a:ext>
                    </a:extLst>
                  </p:cNvPr>
                  <p:cNvSpPr/>
                  <p:nvPr/>
                </p:nvSpPr>
                <p:spPr bwMode="auto">
                  <a:xfrm>
                    <a:off x="1058863" y="3778250"/>
                    <a:ext cx="374650" cy="55563"/>
                  </a:xfrm>
                  <a:custGeom>
                    <a:avLst/>
                    <a:gdLst/>
                    <a:ahLst/>
                    <a:cxnLst>
                      <a:cxn ang="0">
                        <a:pos x="102" y="1"/>
                      </a:cxn>
                      <a:cxn ang="0">
                        <a:pos x="1" y="14"/>
                      </a:cxn>
                      <a:cxn ang="0">
                        <a:pos x="1" y="13"/>
                      </a:cxn>
                      <a:cxn ang="0">
                        <a:pos x="102" y="0"/>
                      </a:cxn>
                      <a:cxn ang="0">
                        <a:pos x="102" y="1"/>
                      </a:cxn>
                    </a:cxnLst>
                    <a:rect l="0" t="0" r="r" b="b"/>
                    <a:pathLst>
                      <a:path w="102" h="15">
                        <a:moveTo>
                          <a:pt x="102" y="1"/>
                        </a:moveTo>
                        <a:cubicBezTo>
                          <a:pt x="102" y="1"/>
                          <a:pt x="2" y="15"/>
                          <a:pt x="1" y="14"/>
                        </a:cubicBezTo>
                        <a:cubicBezTo>
                          <a:pt x="0" y="14"/>
                          <a:pt x="0" y="13"/>
                          <a:pt x="1" y="13"/>
                        </a:cubicBezTo>
                        <a:cubicBezTo>
                          <a:pt x="2" y="13"/>
                          <a:pt x="102" y="0"/>
                          <a:pt x="102" y="0"/>
                        </a:cubicBezTo>
                        <a:lnTo>
                          <a:pt x="102" y="1"/>
                        </a:lnTo>
                        <a:close/>
                      </a:path>
                    </a:pathLst>
                  </a:custGeom>
                  <a:grpFill/>
                  <a:ln w="9525">
                    <a:noFill/>
                    <a:round/>
                    <a:headEnd/>
                    <a:tailEnd/>
                  </a:ln>
                </p:spPr>
                <p:txBody>
                  <a:bodyPr wrap="square" lIns="91440" tIns="45720" rIns="91440" bIns="45720" anchor="ctr">
                    <a:normAutofit fontScale="25000" lnSpcReduction="20000"/>
                  </a:bodyPr>
                  <a:lstStyle/>
                  <a:p>
                    <a:pPr algn="ctr"/>
                    <a:endParaRPr/>
                  </a:p>
                </p:txBody>
              </p:sp>
              <p:sp>
                <p:nvSpPr>
                  <p:cNvPr id="194" name="iṡlídê">
                    <a:extLst>
                      <a:ext uri="{FF2B5EF4-FFF2-40B4-BE49-F238E27FC236}">
                        <a16:creationId xmlns:a16="http://schemas.microsoft.com/office/drawing/2014/main" id="{7AA5A91F-17F3-4664-8DD8-4B8654584504}"/>
                      </a:ext>
                    </a:extLst>
                  </p:cNvPr>
                  <p:cNvSpPr/>
                  <p:nvPr/>
                </p:nvSpPr>
                <p:spPr bwMode="auto">
                  <a:xfrm>
                    <a:off x="323850" y="3792538"/>
                    <a:ext cx="304800" cy="63500"/>
                  </a:xfrm>
                  <a:custGeom>
                    <a:avLst/>
                    <a:gdLst/>
                    <a:ahLst/>
                    <a:cxnLst>
                      <a:cxn ang="0">
                        <a:pos x="0" y="16"/>
                      </a:cxn>
                      <a:cxn ang="0">
                        <a:pos x="1" y="11"/>
                      </a:cxn>
                      <a:cxn ang="0">
                        <a:pos x="12" y="10"/>
                      </a:cxn>
                      <a:cxn ang="0">
                        <a:pos x="11" y="9"/>
                      </a:cxn>
                      <a:cxn ang="0">
                        <a:pos x="49" y="5"/>
                      </a:cxn>
                      <a:cxn ang="0">
                        <a:pos x="81" y="2"/>
                      </a:cxn>
                      <a:cxn ang="0">
                        <a:pos x="39" y="15"/>
                      </a:cxn>
                      <a:cxn ang="0">
                        <a:pos x="0" y="16"/>
                      </a:cxn>
                    </a:cxnLst>
                    <a:rect l="0" t="0" r="r" b="b"/>
                    <a:pathLst>
                      <a:path w="83" h="17">
                        <a:moveTo>
                          <a:pt x="0" y="16"/>
                        </a:moveTo>
                        <a:cubicBezTo>
                          <a:pt x="1" y="11"/>
                          <a:pt x="1" y="11"/>
                          <a:pt x="1" y="11"/>
                        </a:cubicBezTo>
                        <a:cubicBezTo>
                          <a:pt x="12" y="10"/>
                          <a:pt x="12" y="10"/>
                          <a:pt x="12" y="10"/>
                        </a:cubicBezTo>
                        <a:cubicBezTo>
                          <a:pt x="11" y="9"/>
                          <a:pt x="11" y="9"/>
                          <a:pt x="11" y="9"/>
                        </a:cubicBezTo>
                        <a:cubicBezTo>
                          <a:pt x="11" y="9"/>
                          <a:pt x="42" y="6"/>
                          <a:pt x="49" y="5"/>
                        </a:cubicBezTo>
                        <a:cubicBezTo>
                          <a:pt x="57" y="3"/>
                          <a:pt x="79" y="0"/>
                          <a:pt x="81" y="2"/>
                        </a:cubicBezTo>
                        <a:cubicBezTo>
                          <a:pt x="83" y="4"/>
                          <a:pt x="61" y="14"/>
                          <a:pt x="39" y="15"/>
                        </a:cubicBezTo>
                        <a:cubicBezTo>
                          <a:pt x="17" y="16"/>
                          <a:pt x="0" y="17"/>
                          <a:pt x="0" y="16"/>
                        </a:cubicBezTo>
                        <a:close/>
                      </a:path>
                    </a:pathLst>
                  </a:custGeom>
                  <a:grpFill/>
                  <a:ln w="9525">
                    <a:noFill/>
                    <a:round/>
                    <a:headEnd/>
                    <a:tailEnd/>
                  </a:ln>
                </p:spPr>
                <p:txBody>
                  <a:bodyPr wrap="square" lIns="91440" tIns="45720" rIns="91440" bIns="45720" anchor="ctr">
                    <a:normAutofit fontScale="25000" lnSpcReduction="20000"/>
                  </a:bodyPr>
                  <a:lstStyle/>
                  <a:p>
                    <a:pPr algn="ctr"/>
                    <a:endParaRPr/>
                  </a:p>
                </p:txBody>
              </p:sp>
              <p:sp>
                <p:nvSpPr>
                  <p:cNvPr id="195" name="ïŝḷiḍè">
                    <a:extLst>
                      <a:ext uri="{FF2B5EF4-FFF2-40B4-BE49-F238E27FC236}">
                        <a16:creationId xmlns:a16="http://schemas.microsoft.com/office/drawing/2014/main" id="{67FD0268-326B-4EE0-B4C7-832643B4DD96}"/>
                      </a:ext>
                    </a:extLst>
                  </p:cNvPr>
                  <p:cNvSpPr/>
                  <p:nvPr/>
                </p:nvSpPr>
                <p:spPr bwMode="auto">
                  <a:xfrm>
                    <a:off x="323850" y="3800475"/>
                    <a:ext cx="296863" cy="103188"/>
                  </a:xfrm>
                  <a:custGeom>
                    <a:avLst/>
                    <a:gdLst/>
                    <a:ahLst/>
                    <a:cxnLst>
                      <a:cxn ang="0">
                        <a:pos x="0" y="14"/>
                      </a:cxn>
                      <a:cxn ang="0">
                        <a:pos x="2" y="19"/>
                      </a:cxn>
                      <a:cxn ang="0">
                        <a:pos x="3" y="18"/>
                      </a:cxn>
                      <a:cxn ang="0">
                        <a:pos x="4" y="23"/>
                      </a:cxn>
                      <a:cxn ang="0">
                        <a:pos x="72" y="16"/>
                      </a:cxn>
                      <a:cxn ang="0">
                        <a:pos x="81" y="0"/>
                      </a:cxn>
                      <a:cxn ang="0">
                        <a:pos x="0" y="14"/>
                      </a:cxn>
                    </a:cxnLst>
                    <a:rect l="0" t="0" r="r" b="b"/>
                    <a:pathLst>
                      <a:path w="81" h="28">
                        <a:moveTo>
                          <a:pt x="0" y="14"/>
                        </a:moveTo>
                        <a:cubicBezTo>
                          <a:pt x="2" y="19"/>
                          <a:pt x="2" y="19"/>
                          <a:pt x="2" y="19"/>
                        </a:cubicBezTo>
                        <a:cubicBezTo>
                          <a:pt x="3" y="18"/>
                          <a:pt x="3" y="18"/>
                          <a:pt x="3" y="18"/>
                        </a:cubicBezTo>
                        <a:cubicBezTo>
                          <a:pt x="4" y="23"/>
                          <a:pt x="4" y="23"/>
                          <a:pt x="4" y="23"/>
                        </a:cubicBezTo>
                        <a:cubicBezTo>
                          <a:pt x="4" y="23"/>
                          <a:pt x="46" y="28"/>
                          <a:pt x="72" y="16"/>
                        </a:cubicBezTo>
                        <a:cubicBezTo>
                          <a:pt x="72" y="16"/>
                          <a:pt x="81" y="8"/>
                          <a:pt x="81" y="0"/>
                        </a:cubicBezTo>
                        <a:cubicBezTo>
                          <a:pt x="81" y="0"/>
                          <a:pt x="72" y="14"/>
                          <a:pt x="0" y="14"/>
                        </a:cubicBezTo>
                        <a:close/>
                      </a:path>
                    </a:pathLst>
                  </a:custGeom>
                  <a:grpFill/>
                  <a:ln w="9525">
                    <a:noFill/>
                    <a:round/>
                    <a:headEnd/>
                    <a:tailEnd/>
                  </a:ln>
                </p:spPr>
                <p:txBody>
                  <a:bodyPr wrap="square" lIns="91440" tIns="45720" rIns="91440" bIns="45720" anchor="ctr">
                    <a:normAutofit fontScale="40000" lnSpcReduction="20000"/>
                  </a:bodyPr>
                  <a:lstStyle/>
                  <a:p>
                    <a:pPr algn="ctr"/>
                    <a:endParaRPr/>
                  </a:p>
                </p:txBody>
              </p:sp>
              <p:sp>
                <p:nvSpPr>
                  <p:cNvPr id="196" name="ïṣḻïḑê">
                    <a:extLst>
                      <a:ext uri="{FF2B5EF4-FFF2-40B4-BE49-F238E27FC236}">
                        <a16:creationId xmlns:a16="http://schemas.microsoft.com/office/drawing/2014/main" id="{87916FD1-0C93-4940-B7B4-88B869B0E16E}"/>
                      </a:ext>
                    </a:extLst>
                  </p:cNvPr>
                  <p:cNvSpPr/>
                  <p:nvPr/>
                </p:nvSpPr>
                <p:spPr bwMode="auto">
                  <a:xfrm>
                    <a:off x="301625" y="3414713"/>
                    <a:ext cx="279400" cy="392113"/>
                  </a:xfrm>
                  <a:custGeom>
                    <a:avLst/>
                    <a:gdLst/>
                    <a:ahLst/>
                    <a:cxnLst>
                      <a:cxn ang="0">
                        <a:pos x="174" y="222"/>
                      </a:cxn>
                      <a:cxn ang="0">
                        <a:pos x="171" y="198"/>
                      </a:cxn>
                      <a:cxn ang="0">
                        <a:pos x="171" y="198"/>
                      </a:cxn>
                      <a:cxn ang="0">
                        <a:pos x="167" y="175"/>
                      </a:cxn>
                      <a:cxn ang="0">
                        <a:pos x="164" y="154"/>
                      </a:cxn>
                      <a:cxn ang="0">
                        <a:pos x="164" y="152"/>
                      </a:cxn>
                      <a:cxn ang="0">
                        <a:pos x="160" y="131"/>
                      </a:cxn>
                      <a:cxn ang="0">
                        <a:pos x="160" y="128"/>
                      </a:cxn>
                      <a:cxn ang="0">
                        <a:pos x="146" y="103"/>
                      </a:cxn>
                      <a:cxn ang="0">
                        <a:pos x="146" y="103"/>
                      </a:cxn>
                      <a:cxn ang="0">
                        <a:pos x="130" y="75"/>
                      </a:cxn>
                      <a:cxn ang="0">
                        <a:pos x="130" y="75"/>
                      </a:cxn>
                      <a:cxn ang="0">
                        <a:pos x="113" y="49"/>
                      </a:cxn>
                      <a:cxn ang="0">
                        <a:pos x="113" y="47"/>
                      </a:cxn>
                      <a:cxn ang="0">
                        <a:pos x="97" y="21"/>
                      </a:cxn>
                      <a:cxn ang="0">
                        <a:pos x="86" y="0"/>
                      </a:cxn>
                      <a:cxn ang="0">
                        <a:pos x="81" y="14"/>
                      </a:cxn>
                      <a:cxn ang="0">
                        <a:pos x="74" y="33"/>
                      </a:cxn>
                      <a:cxn ang="0">
                        <a:pos x="74" y="35"/>
                      </a:cxn>
                      <a:cxn ang="0">
                        <a:pos x="67" y="54"/>
                      </a:cxn>
                      <a:cxn ang="0">
                        <a:pos x="67" y="54"/>
                      </a:cxn>
                      <a:cxn ang="0">
                        <a:pos x="60" y="73"/>
                      </a:cxn>
                      <a:cxn ang="0">
                        <a:pos x="60" y="73"/>
                      </a:cxn>
                      <a:cxn ang="0">
                        <a:pos x="53" y="91"/>
                      </a:cxn>
                      <a:cxn ang="0">
                        <a:pos x="46" y="110"/>
                      </a:cxn>
                      <a:cxn ang="0">
                        <a:pos x="46" y="112"/>
                      </a:cxn>
                      <a:cxn ang="0">
                        <a:pos x="39" y="131"/>
                      </a:cxn>
                      <a:cxn ang="0">
                        <a:pos x="35" y="149"/>
                      </a:cxn>
                      <a:cxn ang="0">
                        <a:pos x="35" y="149"/>
                      </a:cxn>
                      <a:cxn ang="0">
                        <a:pos x="28" y="168"/>
                      </a:cxn>
                      <a:cxn ang="0">
                        <a:pos x="21" y="187"/>
                      </a:cxn>
                      <a:cxn ang="0">
                        <a:pos x="21" y="189"/>
                      </a:cxn>
                      <a:cxn ang="0">
                        <a:pos x="14" y="208"/>
                      </a:cxn>
                      <a:cxn ang="0">
                        <a:pos x="14" y="208"/>
                      </a:cxn>
                      <a:cxn ang="0">
                        <a:pos x="7" y="226"/>
                      </a:cxn>
                      <a:cxn ang="0">
                        <a:pos x="7" y="226"/>
                      </a:cxn>
                      <a:cxn ang="0">
                        <a:pos x="0" y="245"/>
                      </a:cxn>
                      <a:cxn ang="0">
                        <a:pos x="0" y="247"/>
                      </a:cxn>
                      <a:cxn ang="0">
                        <a:pos x="5" y="247"/>
                      </a:cxn>
                      <a:cxn ang="0">
                        <a:pos x="53" y="243"/>
                      </a:cxn>
                      <a:cxn ang="0">
                        <a:pos x="56" y="243"/>
                      </a:cxn>
                      <a:cxn ang="0">
                        <a:pos x="102" y="238"/>
                      </a:cxn>
                      <a:cxn ang="0">
                        <a:pos x="104" y="238"/>
                      </a:cxn>
                      <a:cxn ang="0">
                        <a:pos x="153" y="236"/>
                      </a:cxn>
                      <a:cxn ang="0">
                        <a:pos x="153" y="236"/>
                      </a:cxn>
                      <a:cxn ang="0">
                        <a:pos x="176" y="233"/>
                      </a:cxn>
                      <a:cxn ang="0">
                        <a:pos x="174" y="222"/>
                      </a:cxn>
                    </a:cxnLst>
                    <a:rect l="0" t="0" r="r" b="b"/>
                    <a:pathLst>
                      <a:path w="176" h="247">
                        <a:moveTo>
                          <a:pt x="174" y="222"/>
                        </a:moveTo>
                        <a:lnTo>
                          <a:pt x="171" y="198"/>
                        </a:lnTo>
                        <a:lnTo>
                          <a:pt x="171" y="198"/>
                        </a:lnTo>
                        <a:lnTo>
                          <a:pt x="167" y="175"/>
                        </a:lnTo>
                        <a:lnTo>
                          <a:pt x="164" y="154"/>
                        </a:lnTo>
                        <a:lnTo>
                          <a:pt x="164" y="152"/>
                        </a:lnTo>
                        <a:lnTo>
                          <a:pt x="160" y="131"/>
                        </a:lnTo>
                        <a:lnTo>
                          <a:pt x="160" y="128"/>
                        </a:lnTo>
                        <a:lnTo>
                          <a:pt x="146" y="103"/>
                        </a:lnTo>
                        <a:lnTo>
                          <a:pt x="146" y="103"/>
                        </a:lnTo>
                        <a:lnTo>
                          <a:pt x="130" y="75"/>
                        </a:lnTo>
                        <a:lnTo>
                          <a:pt x="130" y="75"/>
                        </a:lnTo>
                        <a:lnTo>
                          <a:pt x="113" y="49"/>
                        </a:lnTo>
                        <a:lnTo>
                          <a:pt x="113" y="47"/>
                        </a:lnTo>
                        <a:lnTo>
                          <a:pt x="97" y="21"/>
                        </a:lnTo>
                        <a:lnTo>
                          <a:pt x="86" y="0"/>
                        </a:lnTo>
                        <a:lnTo>
                          <a:pt x="81" y="14"/>
                        </a:lnTo>
                        <a:lnTo>
                          <a:pt x="74" y="33"/>
                        </a:lnTo>
                        <a:lnTo>
                          <a:pt x="74" y="35"/>
                        </a:lnTo>
                        <a:lnTo>
                          <a:pt x="67" y="54"/>
                        </a:lnTo>
                        <a:lnTo>
                          <a:pt x="67" y="54"/>
                        </a:lnTo>
                        <a:lnTo>
                          <a:pt x="60" y="73"/>
                        </a:lnTo>
                        <a:lnTo>
                          <a:pt x="60" y="73"/>
                        </a:lnTo>
                        <a:lnTo>
                          <a:pt x="53" y="91"/>
                        </a:lnTo>
                        <a:lnTo>
                          <a:pt x="46" y="110"/>
                        </a:lnTo>
                        <a:lnTo>
                          <a:pt x="46" y="112"/>
                        </a:lnTo>
                        <a:lnTo>
                          <a:pt x="39" y="131"/>
                        </a:lnTo>
                        <a:lnTo>
                          <a:pt x="35" y="149"/>
                        </a:lnTo>
                        <a:lnTo>
                          <a:pt x="35" y="149"/>
                        </a:lnTo>
                        <a:lnTo>
                          <a:pt x="28" y="168"/>
                        </a:lnTo>
                        <a:lnTo>
                          <a:pt x="21" y="187"/>
                        </a:lnTo>
                        <a:lnTo>
                          <a:pt x="21" y="189"/>
                        </a:lnTo>
                        <a:lnTo>
                          <a:pt x="14" y="208"/>
                        </a:lnTo>
                        <a:lnTo>
                          <a:pt x="14" y="208"/>
                        </a:lnTo>
                        <a:lnTo>
                          <a:pt x="7" y="226"/>
                        </a:lnTo>
                        <a:lnTo>
                          <a:pt x="7" y="226"/>
                        </a:lnTo>
                        <a:lnTo>
                          <a:pt x="0" y="245"/>
                        </a:lnTo>
                        <a:lnTo>
                          <a:pt x="0" y="247"/>
                        </a:lnTo>
                        <a:lnTo>
                          <a:pt x="5" y="247"/>
                        </a:lnTo>
                        <a:lnTo>
                          <a:pt x="53" y="243"/>
                        </a:lnTo>
                        <a:lnTo>
                          <a:pt x="56" y="243"/>
                        </a:lnTo>
                        <a:lnTo>
                          <a:pt x="102" y="238"/>
                        </a:lnTo>
                        <a:lnTo>
                          <a:pt x="104" y="238"/>
                        </a:lnTo>
                        <a:lnTo>
                          <a:pt x="153" y="236"/>
                        </a:lnTo>
                        <a:lnTo>
                          <a:pt x="153" y="236"/>
                        </a:lnTo>
                        <a:lnTo>
                          <a:pt x="176" y="233"/>
                        </a:lnTo>
                        <a:lnTo>
                          <a:pt x="174" y="222"/>
                        </a:lnTo>
                        <a:close/>
                      </a:path>
                    </a:pathLst>
                  </a:custGeom>
                  <a:grpFill/>
                  <a:ln w="9525">
                    <a:noFill/>
                    <a:round/>
                    <a:headEnd/>
                    <a:tailEnd/>
                  </a:ln>
                </p:spPr>
                <p:txBody>
                  <a:bodyPr wrap="square" lIns="91440" tIns="45720" rIns="91440" bIns="45720" anchor="ctr">
                    <a:normAutofit/>
                  </a:bodyPr>
                  <a:lstStyle/>
                  <a:p>
                    <a:pPr algn="ctr"/>
                    <a:endParaRPr/>
                  </a:p>
                </p:txBody>
              </p:sp>
              <p:sp>
                <p:nvSpPr>
                  <p:cNvPr id="197" name="íṧliďè">
                    <a:extLst>
                      <a:ext uri="{FF2B5EF4-FFF2-40B4-BE49-F238E27FC236}">
                        <a16:creationId xmlns:a16="http://schemas.microsoft.com/office/drawing/2014/main" id="{946EBBAB-8341-48B2-B414-8A291679C757}"/>
                      </a:ext>
                    </a:extLst>
                  </p:cNvPr>
                  <p:cNvSpPr/>
                  <p:nvPr/>
                </p:nvSpPr>
                <p:spPr bwMode="auto">
                  <a:xfrm>
                    <a:off x="539750" y="3467100"/>
                    <a:ext cx="55563" cy="333375"/>
                  </a:xfrm>
                  <a:custGeom>
                    <a:avLst/>
                    <a:gdLst/>
                    <a:ahLst/>
                    <a:cxnLst>
                      <a:cxn ang="0">
                        <a:pos x="0" y="2"/>
                      </a:cxn>
                      <a:cxn ang="0">
                        <a:pos x="13" y="90"/>
                      </a:cxn>
                      <a:cxn ang="0">
                        <a:pos x="15" y="89"/>
                      </a:cxn>
                      <a:cxn ang="0">
                        <a:pos x="2" y="2"/>
                      </a:cxn>
                      <a:cxn ang="0">
                        <a:pos x="0" y="2"/>
                      </a:cxn>
                    </a:cxnLst>
                    <a:rect l="0" t="0" r="r" b="b"/>
                    <a:pathLst>
                      <a:path w="15" h="90">
                        <a:moveTo>
                          <a:pt x="0" y="2"/>
                        </a:moveTo>
                        <a:cubicBezTo>
                          <a:pt x="13" y="90"/>
                          <a:pt x="13" y="90"/>
                          <a:pt x="13" y="90"/>
                        </a:cubicBezTo>
                        <a:cubicBezTo>
                          <a:pt x="15" y="89"/>
                          <a:pt x="15" y="89"/>
                          <a:pt x="15" y="89"/>
                        </a:cubicBezTo>
                        <a:cubicBezTo>
                          <a:pt x="15" y="89"/>
                          <a:pt x="5" y="11"/>
                          <a:pt x="2" y="2"/>
                        </a:cubicBezTo>
                        <a:cubicBezTo>
                          <a:pt x="2" y="2"/>
                          <a:pt x="1" y="0"/>
                          <a:pt x="0" y="2"/>
                        </a:cubicBezTo>
                        <a:close/>
                      </a:path>
                    </a:pathLst>
                  </a:custGeom>
                  <a:grpFill/>
                  <a:ln w="9525">
                    <a:noFill/>
                    <a:round/>
                    <a:headEnd/>
                    <a:tailEnd/>
                  </a:ln>
                </p:spPr>
                <p:txBody>
                  <a:bodyPr wrap="square" lIns="91440" tIns="45720" rIns="91440" bIns="45720" anchor="ctr">
                    <a:normAutofit/>
                  </a:bodyPr>
                  <a:lstStyle/>
                  <a:p>
                    <a:pPr algn="ctr"/>
                    <a:endParaRPr/>
                  </a:p>
                </p:txBody>
              </p:sp>
              <p:sp>
                <p:nvSpPr>
                  <p:cNvPr id="198" name="íŝḻîḓê">
                    <a:extLst>
                      <a:ext uri="{FF2B5EF4-FFF2-40B4-BE49-F238E27FC236}">
                        <a16:creationId xmlns:a16="http://schemas.microsoft.com/office/drawing/2014/main" id="{11B760C3-BC4B-4906-B031-292ED2CE8640}"/>
                      </a:ext>
                    </a:extLst>
                  </p:cNvPr>
                  <p:cNvSpPr/>
                  <p:nvPr/>
                </p:nvSpPr>
                <p:spPr bwMode="auto">
                  <a:xfrm>
                    <a:off x="438150" y="3414713"/>
                    <a:ext cx="128588" cy="230188"/>
                  </a:xfrm>
                  <a:custGeom>
                    <a:avLst/>
                    <a:gdLst/>
                    <a:ahLst/>
                    <a:cxnLst>
                      <a:cxn ang="0">
                        <a:pos x="35" y="62"/>
                      </a:cxn>
                      <a:cxn ang="0">
                        <a:pos x="0" y="0"/>
                      </a:cxn>
                      <a:cxn ang="0">
                        <a:pos x="0" y="0"/>
                      </a:cxn>
                      <a:cxn ang="0">
                        <a:pos x="34" y="55"/>
                      </a:cxn>
                      <a:cxn ang="0">
                        <a:pos x="35" y="62"/>
                      </a:cxn>
                    </a:cxnLst>
                    <a:rect l="0" t="0" r="r" b="b"/>
                    <a:pathLst>
                      <a:path w="35" h="62">
                        <a:moveTo>
                          <a:pt x="35" y="62"/>
                        </a:moveTo>
                        <a:cubicBezTo>
                          <a:pt x="35" y="62"/>
                          <a:pt x="0" y="1"/>
                          <a:pt x="0" y="0"/>
                        </a:cubicBezTo>
                        <a:cubicBezTo>
                          <a:pt x="0" y="0"/>
                          <a:pt x="0" y="0"/>
                          <a:pt x="0" y="0"/>
                        </a:cubicBezTo>
                        <a:cubicBezTo>
                          <a:pt x="1" y="0"/>
                          <a:pt x="34" y="55"/>
                          <a:pt x="34" y="55"/>
                        </a:cubicBezTo>
                        <a:lnTo>
                          <a:pt x="35" y="62"/>
                        </a:lnTo>
                        <a:close/>
                      </a:path>
                    </a:pathLst>
                  </a:custGeom>
                  <a:grpFill/>
                  <a:ln w="9525">
                    <a:noFill/>
                    <a:round/>
                    <a:headEnd/>
                    <a:tailEnd/>
                  </a:ln>
                </p:spPr>
                <p:txBody>
                  <a:bodyPr wrap="square" lIns="91440" tIns="45720" rIns="91440" bIns="45720" anchor="ctr">
                    <a:normAutofit/>
                  </a:bodyPr>
                  <a:lstStyle/>
                  <a:p>
                    <a:pPr algn="ctr"/>
                    <a:endParaRPr/>
                  </a:p>
                </p:txBody>
              </p:sp>
              <p:sp>
                <p:nvSpPr>
                  <p:cNvPr id="199" name="iṥlîḍe">
                    <a:extLst>
                      <a:ext uri="{FF2B5EF4-FFF2-40B4-BE49-F238E27FC236}">
                        <a16:creationId xmlns:a16="http://schemas.microsoft.com/office/drawing/2014/main" id="{19AFEE62-D39A-40E1-8DF0-F0653DCEC6E8}"/>
                      </a:ext>
                    </a:extLst>
                  </p:cNvPr>
                  <p:cNvSpPr/>
                  <p:nvPr/>
                </p:nvSpPr>
                <p:spPr bwMode="auto">
                  <a:xfrm>
                    <a:off x="293688" y="3784600"/>
                    <a:ext cx="295275" cy="30163"/>
                  </a:xfrm>
                  <a:custGeom>
                    <a:avLst/>
                    <a:gdLst/>
                    <a:ahLst/>
                    <a:cxnLst>
                      <a:cxn ang="0">
                        <a:pos x="80" y="1"/>
                      </a:cxn>
                      <a:cxn ang="0">
                        <a:pos x="0" y="7"/>
                      </a:cxn>
                      <a:cxn ang="0">
                        <a:pos x="1" y="6"/>
                      </a:cxn>
                      <a:cxn ang="0">
                        <a:pos x="80" y="0"/>
                      </a:cxn>
                      <a:cxn ang="0">
                        <a:pos x="80" y="1"/>
                      </a:cxn>
                    </a:cxnLst>
                    <a:rect l="0" t="0" r="r" b="b"/>
                    <a:pathLst>
                      <a:path w="80" h="8">
                        <a:moveTo>
                          <a:pt x="80" y="1"/>
                        </a:moveTo>
                        <a:cubicBezTo>
                          <a:pt x="80" y="1"/>
                          <a:pt x="1" y="8"/>
                          <a:pt x="0" y="7"/>
                        </a:cubicBezTo>
                        <a:cubicBezTo>
                          <a:pt x="0" y="7"/>
                          <a:pt x="0" y="7"/>
                          <a:pt x="1" y="6"/>
                        </a:cubicBezTo>
                        <a:cubicBezTo>
                          <a:pt x="1" y="6"/>
                          <a:pt x="80" y="0"/>
                          <a:pt x="80" y="0"/>
                        </a:cubicBezTo>
                        <a:lnTo>
                          <a:pt x="80" y="1"/>
                        </a:lnTo>
                        <a:close/>
                      </a:path>
                    </a:pathLst>
                  </a:custGeom>
                  <a:grpFill/>
                  <a:ln w="9525">
                    <a:noFill/>
                    <a:round/>
                    <a:headEnd/>
                    <a:tailEnd/>
                  </a:ln>
                </p:spPr>
                <p:txBody>
                  <a:bodyPr wrap="square" lIns="91440" tIns="45720" rIns="91440" bIns="45720" anchor="ctr">
                    <a:normAutofit fontScale="25000" lnSpcReduction="20000"/>
                  </a:bodyPr>
                  <a:lstStyle/>
                  <a:p>
                    <a:pPr algn="ctr"/>
                    <a:endParaRPr/>
                  </a:p>
                </p:txBody>
              </p:sp>
              <p:sp>
                <p:nvSpPr>
                  <p:cNvPr id="200" name="îš1îḓè">
                    <a:extLst>
                      <a:ext uri="{FF2B5EF4-FFF2-40B4-BE49-F238E27FC236}">
                        <a16:creationId xmlns:a16="http://schemas.microsoft.com/office/drawing/2014/main" id="{33594551-E7CB-45C1-8D1D-3B55BAAA6CC4}"/>
                      </a:ext>
                    </a:extLst>
                  </p:cNvPr>
                  <p:cNvSpPr/>
                  <p:nvPr/>
                </p:nvSpPr>
                <p:spPr bwMode="auto">
                  <a:xfrm>
                    <a:off x="19050" y="3850796"/>
                    <a:ext cx="2201863" cy="92075"/>
                  </a:xfrm>
                  <a:custGeom>
                    <a:avLst/>
                    <a:gdLst/>
                    <a:ahLst/>
                    <a:cxnLst>
                      <a:cxn ang="0">
                        <a:pos x="599" y="7"/>
                      </a:cxn>
                      <a:cxn ang="0">
                        <a:pos x="579" y="0"/>
                      </a:cxn>
                      <a:cxn ang="0">
                        <a:pos x="549" y="9"/>
                      </a:cxn>
                      <a:cxn ang="0">
                        <a:pos x="519" y="0"/>
                      </a:cxn>
                      <a:cxn ang="0">
                        <a:pos x="489" y="9"/>
                      </a:cxn>
                      <a:cxn ang="0">
                        <a:pos x="459" y="0"/>
                      </a:cxn>
                      <a:cxn ang="0">
                        <a:pos x="429" y="9"/>
                      </a:cxn>
                      <a:cxn ang="0">
                        <a:pos x="399" y="0"/>
                      </a:cxn>
                      <a:cxn ang="0">
                        <a:pos x="368" y="9"/>
                      </a:cxn>
                      <a:cxn ang="0">
                        <a:pos x="338" y="0"/>
                      </a:cxn>
                      <a:cxn ang="0">
                        <a:pos x="308" y="9"/>
                      </a:cxn>
                      <a:cxn ang="0">
                        <a:pos x="278" y="0"/>
                      </a:cxn>
                      <a:cxn ang="0">
                        <a:pos x="248" y="9"/>
                      </a:cxn>
                      <a:cxn ang="0">
                        <a:pos x="218" y="0"/>
                      </a:cxn>
                      <a:cxn ang="0">
                        <a:pos x="188" y="9"/>
                      </a:cxn>
                      <a:cxn ang="0">
                        <a:pos x="158" y="0"/>
                      </a:cxn>
                      <a:cxn ang="0">
                        <a:pos x="128" y="9"/>
                      </a:cxn>
                      <a:cxn ang="0">
                        <a:pos x="98" y="0"/>
                      </a:cxn>
                      <a:cxn ang="0">
                        <a:pos x="68" y="9"/>
                      </a:cxn>
                      <a:cxn ang="0">
                        <a:pos x="38" y="0"/>
                      </a:cxn>
                      <a:cxn ang="0">
                        <a:pos x="8" y="9"/>
                      </a:cxn>
                      <a:cxn ang="0">
                        <a:pos x="0" y="8"/>
                      </a:cxn>
                      <a:cxn ang="0">
                        <a:pos x="0" y="24"/>
                      </a:cxn>
                      <a:cxn ang="0">
                        <a:pos x="8" y="25"/>
                      </a:cxn>
                      <a:cxn ang="0">
                        <a:pos x="38" y="15"/>
                      </a:cxn>
                      <a:cxn ang="0">
                        <a:pos x="68" y="25"/>
                      </a:cxn>
                      <a:cxn ang="0">
                        <a:pos x="98" y="15"/>
                      </a:cxn>
                      <a:cxn ang="0">
                        <a:pos x="128" y="25"/>
                      </a:cxn>
                      <a:cxn ang="0">
                        <a:pos x="158" y="15"/>
                      </a:cxn>
                      <a:cxn ang="0">
                        <a:pos x="188" y="25"/>
                      </a:cxn>
                      <a:cxn ang="0">
                        <a:pos x="218" y="15"/>
                      </a:cxn>
                      <a:cxn ang="0">
                        <a:pos x="248" y="25"/>
                      </a:cxn>
                      <a:cxn ang="0">
                        <a:pos x="278" y="15"/>
                      </a:cxn>
                      <a:cxn ang="0">
                        <a:pos x="308" y="25"/>
                      </a:cxn>
                      <a:cxn ang="0">
                        <a:pos x="338" y="15"/>
                      </a:cxn>
                      <a:cxn ang="0">
                        <a:pos x="369" y="25"/>
                      </a:cxn>
                      <a:cxn ang="0">
                        <a:pos x="399" y="15"/>
                      </a:cxn>
                      <a:cxn ang="0">
                        <a:pos x="429" y="25"/>
                      </a:cxn>
                      <a:cxn ang="0">
                        <a:pos x="459" y="15"/>
                      </a:cxn>
                      <a:cxn ang="0">
                        <a:pos x="489" y="25"/>
                      </a:cxn>
                      <a:cxn ang="0">
                        <a:pos x="519" y="15"/>
                      </a:cxn>
                      <a:cxn ang="0">
                        <a:pos x="549" y="25"/>
                      </a:cxn>
                      <a:cxn ang="0">
                        <a:pos x="579" y="15"/>
                      </a:cxn>
                      <a:cxn ang="0">
                        <a:pos x="599" y="23"/>
                      </a:cxn>
                      <a:cxn ang="0">
                        <a:pos x="599" y="7"/>
                      </a:cxn>
                    </a:cxnLst>
                    <a:rect l="0" t="0" r="r" b="b"/>
                    <a:pathLst>
                      <a:path w="599" h="25">
                        <a:moveTo>
                          <a:pt x="599" y="7"/>
                        </a:moveTo>
                        <a:cubicBezTo>
                          <a:pt x="593" y="4"/>
                          <a:pt x="590" y="0"/>
                          <a:pt x="579" y="0"/>
                        </a:cubicBezTo>
                        <a:cubicBezTo>
                          <a:pt x="564" y="0"/>
                          <a:pt x="564" y="9"/>
                          <a:pt x="549" y="9"/>
                        </a:cubicBezTo>
                        <a:cubicBezTo>
                          <a:pt x="534" y="9"/>
                          <a:pt x="534" y="0"/>
                          <a:pt x="519" y="0"/>
                        </a:cubicBezTo>
                        <a:cubicBezTo>
                          <a:pt x="504" y="0"/>
                          <a:pt x="504" y="9"/>
                          <a:pt x="489" y="9"/>
                        </a:cubicBezTo>
                        <a:cubicBezTo>
                          <a:pt x="474" y="9"/>
                          <a:pt x="474" y="0"/>
                          <a:pt x="459" y="0"/>
                        </a:cubicBezTo>
                        <a:cubicBezTo>
                          <a:pt x="444" y="0"/>
                          <a:pt x="444" y="9"/>
                          <a:pt x="429" y="9"/>
                        </a:cubicBezTo>
                        <a:cubicBezTo>
                          <a:pt x="414" y="9"/>
                          <a:pt x="414" y="0"/>
                          <a:pt x="399" y="0"/>
                        </a:cubicBezTo>
                        <a:cubicBezTo>
                          <a:pt x="384" y="0"/>
                          <a:pt x="384" y="9"/>
                          <a:pt x="368" y="9"/>
                        </a:cubicBezTo>
                        <a:cubicBezTo>
                          <a:pt x="353" y="9"/>
                          <a:pt x="353" y="0"/>
                          <a:pt x="338" y="0"/>
                        </a:cubicBezTo>
                        <a:cubicBezTo>
                          <a:pt x="323" y="0"/>
                          <a:pt x="323" y="9"/>
                          <a:pt x="308" y="9"/>
                        </a:cubicBezTo>
                        <a:cubicBezTo>
                          <a:pt x="293" y="9"/>
                          <a:pt x="293" y="0"/>
                          <a:pt x="278" y="0"/>
                        </a:cubicBezTo>
                        <a:cubicBezTo>
                          <a:pt x="263" y="0"/>
                          <a:pt x="263" y="9"/>
                          <a:pt x="248" y="9"/>
                        </a:cubicBezTo>
                        <a:cubicBezTo>
                          <a:pt x="233" y="9"/>
                          <a:pt x="233" y="0"/>
                          <a:pt x="218" y="0"/>
                        </a:cubicBezTo>
                        <a:cubicBezTo>
                          <a:pt x="203" y="0"/>
                          <a:pt x="203" y="9"/>
                          <a:pt x="188" y="9"/>
                        </a:cubicBezTo>
                        <a:cubicBezTo>
                          <a:pt x="173" y="9"/>
                          <a:pt x="173" y="0"/>
                          <a:pt x="158" y="0"/>
                        </a:cubicBezTo>
                        <a:cubicBezTo>
                          <a:pt x="143" y="0"/>
                          <a:pt x="143" y="9"/>
                          <a:pt x="128" y="9"/>
                        </a:cubicBezTo>
                        <a:cubicBezTo>
                          <a:pt x="113" y="9"/>
                          <a:pt x="113" y="0"/>
                          <a:pt x="98" y="0"/>
                        </a:cubicBezTo>
                        <a:cubicBezTo>
                          <a:pt x="83" y="0"/>
                          <a:pt x="83" y="9"/>
                          <a:pt x="68" y="9"/>
                        </a:cubicBezTo>
                        <a:cubicBezTo>
                          <a:pt x="53" y="9"/>
                          <a:pt x="53" y="0"/>
                          <a:pt x="38" y="0"/>
                        </a:cubicBezTo>
                        <a:cubicBezTo>
                          <a:pt x="23" y="0"/>
                          <a:pt x="23" y="9"/>
                          <a:pt x="8" y="9"/>
                        </a:cubicBezTo>
                        <a:cubicBezTo>
                          <a:pt x="4" y="9"/>
                          <a:pt x="2" y="9"/>
                          <a:pt x="0" y="8"/>
                        </a:cubicBezTo>
                        <a:cubicBezTo>
                          <a:pt x="0" y="24"/>
                          <a:pt x="0" y="24"/>
                          <a:pt x="0" y="24"/>
                        </a:cubicBezTo>
                        <a:cubicBezTo>
                          <a:pt x="2" y="24"/>
                          <a:pt x="4" y="25"/>
                          <a:pt x="8" y="25"/>
                        </a:cubicBezTo>
                        <a:cubicBezTo>
                          <a:pt x="23" y="25"/>
                          <a:pt x="23" y="15"/>
                          <a:pt x="38" y="15"/>
                        </a:cubicBezTo>
                        <a:cubicBezTo>
                          <a:pt x="53" y="15"/>
                          <a:pt x="53" y="25"/>
                          <a:pt x="68" y="25"/>
                        </a:cubicBezTo>
                        <a:cubicBezTo>
                          <a:pt x="83" y="25"/>
                          <a:pt x="83" y="15"/>
                          <a:pt x="98" y="15"/>
                        </a:cubicBezTo>
                        <a:cubicBezTo>
                          <a:pt x="113" y="15"/>
                          <a:pt x="113" y="25"/>
                          <a:pt x="128" y="25"/>
                        </a:cubicBezTo>
                        <a:cubicBezTo>
                          <a:pt x="143" y="25"/>
                          <a:pt x="143" y="15"/>
                          <a:pt x="158" y="15"/>
                        </a:cubicBezTo>
                        <a:cubicBezTo>
                          <a:pt x="173" y="15"/>
                          <a:pt x="173" y="25"/>
                          <a:pt x="188" y="25"/>
                        </a:cubicBezTo>
                        <a:cubicBezTo>
                          <a:pt x="203" y="25"/>
                          <a:pt x="203" y="15"/>
                          <a:pt x="218" y="15"/>
                        </a:cubicBezTo>
                        <a:cubicBezTo>
                          <a:pt x="233" y="15"/>
                          <a:pt x="233" y="25"/>
                          <a:pt x="248" y="25"/>
                        </a:cubicBezTo>
                        <a:cubicBezTo>
                          <a:pt x="263" y="25"/>
                          <a:pt x="263" y="15"/>
                          <a:pt x="278" y="15"/>
                        </a:cubicBezTo>
                        <a:cubicBezTo>
                          <a:pt x="293" y="15"/>
                          <a:pt x="293" y="25"/>
                          <a:pt x="308" y="25"/>
                        </a:cubicBezTo>
                        <a:cubicBezTo>
                          <a:pt x="323" y="25"/>
                          <a:pt x="323" y="15"/>
                          <a:pt x="338" y="15"/>
                        </a:cubicBezTo>
                        <a:cubicBezTo>
                          <a:pt x="353" y="15"/>
                          <a:pt x="353" y="25"/>
                          <a:pt x="369" y="25"/>
                        </a:cubicBezTo>
                        <a:cubicBezTo>
                          <a:pt x="384" y="25"/>
                          <a:pt x="384" y="15"/>
                          <a:pt x="399" y="15"/>
                        </a:cubicBezTo>
                        <a:cubicBezTo>
                          <a:pt x="414" y="15"/>
                          <a:pt x="414" y="25"/>
                          <a:pt x="429" y="25"/>
                        </a:cubicBezTo>
                        <a:cubicBezTo>
                          <a:pt x="444" y="25"/>
                          <a:pt x="444" y="15"/>
                          <a:pt x="459" y="15"/>
                        </a:cubicBezTo>
                        <a:cubicBezTo>
                          <a:pt x="474" y="15"/>
                          <a:pt x="474" y="25"/>
                          <a:pt x="489" y="25"/>
                        </a:cubicBezTo>
                        <a:cubicBezTo>
                          <a:pt x="504" y="25"/>
                          <a:pt x="504" y="15"/>
                          <a:pt x="519" y="15"/>
                        </a:cubicBezTo>
                        <a:cubicBezTo>
                          <a:pt x="534" y="15"/>
                          <a:pt x="534" y="25"/>
                          <a:pt x="549" y="25"/>
                        </a:cubicBezTo>
                        <a:cubicBezTo>
                          <a:pt x="564" y="25"/>
                          <a:pt x="564" y="15"/>
                          <a:pt x="579" y="15"/>
                        </a:cubicBezTo>
                        <a:cubicBezTo>
                          <a:pt x="590" y="15"/>
                          <a:pt x="593" y="20"/>
                          <a:pt x="599" y="23"/>
                        </a:cubicBezTo>
                        <a:lnTo>
                          <a:pt x="599" y="7"/>
                        </a:lnTo>
                        <a:close/>
                      </a:path>
                    </a:pathLst>
                  </a:custGeom>
                  <a:grpFill/>
                  <a:ln w="9525">
                    <a:noFill/>
                    <a:round/>
                    <a:headEnd/>
                    <a:tailEnd/>
                  </a:ln>
                </p:spPr>
                <p:txBody>
                  <a:bodyPr wrap="square" lIns="91440" tIns="45720" rIns="91440" bIns="45720" anchor="ctr">
                    <a:normAutofit fontScale="32500" lnSpcReduction="20000"/>
                  </a:bodyPr>
                  <a:lstStyle/>
                  <a:p>
                    <a:pPr algn="ctr"/>
                    <a:endParaRPr/>
                  </a:p>
                </p:txBody>
              </p:sp>
              <p:sp>
                <p:nvSpPr>
                  <p:cNvPr id="201" name="îSļïḑè">
                    <a:extLst>
                      <a:ext uri="{FF2B5EF4-FFF2-40B4-BE49-F238E27FC236}">
                        <a16:creationId xmlns:a16="http://schemas.microsoft.com/office/drawing/2014/main" id="{D9396596-CD59-4C52-9B21-41F06DD30A2B}"/>
                      </a:ext>
                    </a:extLst>
                  </p:cNvPr>
                  <p:cNvSpPr/>
                  <p:nvPr/>
                </p:nvSpPr>
                <p:spPr bwMode="auto">
                  <a:xfrm>
                    <a:off x="42141" y="3910014"/>
                    <a:ext cx="9099549" cy="33337"/>
                  </a:xfrm>
                  <a:custGeom>
                    <a:avLst/>
                    <a:gdLst/>
                    <a:ahLst/>
                    <a:cxnLst>
                      <a:cxn ang="0">
                        <a:pos x="2471" y="9"/>
                      </a:cxn>
                      <a:cxn ang="0">
                        <a:pos x="5" y="9"/>
                      </a:cxn>
                      <a:cxn ang="0">
                        <a:pos x="0" y="5"/>
                      </a:cxn>
                      <a:cxn ang="0">
                        <a:pos x="5" y="0"/>
                      </a:cxn>
                      <a:cxn ang="0">
                        <a:pos x="2471" y="0"/>
                      </a:cxn>
                      <a:cxn ang="0">
                        <a:pos x="2475" y="5"/>
                      </a:cxn>
                      <a:cxn ang="0">
                        <a:pos x="2471" y="9"/>
                      </a:cxn>
                    </a:cxnLst>
                    <a:rect l="0" t="0" r="r" b="b"/>
                    <a:pathLst>
                      <a:path w="2475" h="9">
                        <a:moveTo>
                          <a:pt x="2471" y="9"/>
                        </a:moveTo>
                        <a:cubicBezTo>
                          <a:pt x="5" y="9"/>
                          <a:pt x="5" y="9"/>
                          <a:pt x="5" y="9"/>
                        </a:cubicBezTo>
                        <a:cubicBezTo>
                          <a:pt x="2" y="9"/>
                          <a:pt x="0" y="7"/>
                          <a:pt x="0" y="5"/>
                        </a:cubicBezTo>
                        <a:cubicBezTo>
                          <a:pt x="0" y="2"/>
                          <a:pt x="2" y="0"/>
                          <a:pt x="5" y="0"/>
                        </a:cubicBezTo>
                        <a:cubicBezTo>
                          <a:pt x="2471" y="0"/>
                          <a:pt x="2471" y="0"/>
                          <a:pt x="2471" y="0"/>
                        </a:cubicBezTo>
                        <a:cubicBezTo>
                          <a:pt x="2473" y="0"/>
                          <a:pt x="2475" y="2"/>
                          <a:pt x="2475" y="5"/>
                        </a:cubicBezTo>
                        <a:cubicBezTo>
                          <a:pt x="2475" y="7"/>
                          <a:pt x="2473" y="9"/>
                          <a:pt x="2471" y="9"/>
                        </a:cubicBezTo>
                        <a:close/>
                      </a:path>
                    </a:pathLst>
                  </a:custGeom>
                  <a:grpFill/>
                  <a:ln w="9525">
                    <a:noFill/>
                    <a:round/>
                    <a:headEnd/>
                    <a:tailEnd/>
                  </a:ln>
                </p:spPr>
                <p:txBody>
                  <a:bodyPr wrap="square" lIns="91440" tIns="45720" rIns="91440" bIns="45720" anchor="ctr">
                    <a:normAutofit fontScale="25000" lnSpcReduction="20000"/>
                  </a:bodyPr>
                  <a:lstStyle/>
                  <a:p>
                    <a:pPr algn="ctr"/>
                    <a:endParaRPr/>
                  </a:p>
                </p:txBody>
              </p:sp>
            </p:grpSp>
          </p:grpSp>
        </p:grpSp>
      </p:grpSp>
      <p:grpSp>
        <p:nvGrpSpPr>
          <p:cNvPr id="5" name="组合 4">
            <a:extLst>
              <a:ext uri="{FF2B5EF4-FFF2-40B4-BE49-F238E27FC236}">
                <a16:creationId xmlns:a16="http://schemas.microsoft.com/office/drawing/2014/main" id="{CE634F4D-29B5-49E5-B145-2221F60A3841}"/>
              </a:ext>
            </a:extLst>
          </p:cNvPr>
          <p:cNvGrpSpPr/>
          <p:nvPr/>
        </p:nvGrpSpPr>
        <p:grpSpPr>
          <a:xfrm>
            <a:off x="2763143" y="1865846"/>
            <a:ext cx="9327915" cy="3457090"/>
            <a:chOff x="2763143" y="1949666"/>
            <a:chExt cx="9327915" cy="3457090"/>
          </a:xfrm>
        </p:grpSpPr>
        <p:grpSp>
          <p:nvGrpSpPr>
            <p:cNvPr id="3" name="组合 2">
              <a:extLst>
                <a:ext uri="{FF2B5EF4-FFF2-40B4-BE49-F238E27FC236}">
                  <a16:creationId xmlns:a16="http://schemas.microsoft.com/office/drawing/2014/main" id="{56DBF01C-8C7B-41ED-B18A-7C9D291267B7}"/>
                </a:ext>
              </a:extLst>
            </p:cNvPr>
            <p:cNvGrpSpPr/>
            <p:nvPr/>
          </p:nvGrpSpPr>
          <p:grpSpPr>
            <a:xfrm>
              <a:off x="2763143" y="3820083"/>
              <a:ext cx="2377110" cy="1586673"/>
              <a:chOff x="2763143" y="3820083"/>
              <a:chExt cx="2377110" cy="1586673"/>
            </a:xfrm>
          </p:grpSpPr>
          <p:sp>
            <p:nvSpPr>
              <p:cNvPr id="34" name="iṩḻiḍê">
                <a:extLst>
                  <a:ext uri="{FF2B5EF4-FFF2-40B4-BE49-F238E27FC236}">
                    <a16:creationId xmlns:a16="http://schemas.microsoft.com/office/drawing/2014/main" id="{2150771E-947C-4739-96A0-951576D7B9BB}"/>
                  </a:ext>
                </a:extLst>
              </p:cNvPr>
              <p:cNvSpPr/>
              <p:nvPr/>
            </p:nvSpPr>
            <p:spPr bwMode="auto">
              <a:xfrm>
                <a:off x="3921367" y="3820083"/>
                <a:ext cx="1218886" cy="1586673"/>
              </a:xfrm>
              <a:custGeom>
                <a:avLst/>
                <a:gdLst/>
                <a:ahLst/>
                <a:cxnLst>
                  <a:cxn ang="0">
                    <a:pos x="0" y="417"/>
                  </a:cxn>
                  <a:cxn ang="0">
                    <a:pos x="0" y="365"/>
                  </a:cxn>
                  <a:cxn ang="0">
                    <a:pos x="46" y="319"/>
                  </a:cxn>
                  <a:cxn ang="0">
                    <a:pos x="46" y="98"/>
                  </a:cxn>
                  <a:cxn ang="0">
                    <a:pos x="145" y="0"/>
                  </a:cxn>
                  <a:cxn ang="0">
                    <a:pos x="320" y="0"/>
                  </a:cxn>
                  <a:cxn ang="0">
                    <a:pos x="320" y="52"/>
                  </a:cxn>
                  <a:cxn ang="0">
                    <a:pos x="145" y="52"/>
                  </a:cxn>
                  <a:cxn ang="0">
                    <a:pos x="98" y="98"/>
                  </a:cxn>
                  <a:cxn ang="0">
                    <a:pos x="98" y="319"/>
                  </a:cxn>
                  <a:cxn ang="0">
                    <a:pos x="0" y="417"/>
                  </a:cxn>
                </a:cxnLst>
                <a:rect l="0" t="0" r="r" b="b"/>
                <a:pathLst>
                  <a:path w="320" h="417">
                    <a:moveTo>
                      <a:pt x="0" y="417"/>
                    </a:moveTo>
                    <a:cubicBezTo>
                      <a:pt x="0" y="365"/>
                      <a:pt x="0" y="365"/>
                      <a:pt x="0" y="365"/>
                    </a:cubicBezTo>
                    <a:cubicBezTo>
                      <a:pt x="26" y="365"/>
                      <a:pt x="46" y="344"/>
                      <a:pt x="46" y="319"/>
                    </a:cubicBezTo>
                    <a:cubicBezTo>
                      <a:pt x="46" y="98"/>
                      <a:pt x="46" y="98"/>
                      <a:pt x="46" y="98"/>
                    </a:cubicBezTo>
                    <a:cubicBezTo>
                      <a:pt x="46" y="44"/>
                      <a:pt x="90" y="0"/>
                      <a:pt x="145" y="0"/>
                    </a:cubicBezTo>
                    <a:cubicBezTo>
                      <a:pt x="320" y="0"/>
                      <a:pt x="320" y="0"/>
                      <a:pt x="320" y="0"/>
                    </a:cubicBezTo>
                    <a:cubicBezTo>
                      <a:pt x="320" y="52"/>
                      <a:pt x="320" y="52"/>
                      <a:pt x="320" y="52"/>
                    </a:cubicBezTo>
                    <a:cubicBezTo>
                      <a:pt x="145" y="52"/>
                      <a:pt x="145" y="52"/>
                      <a:pt x="145" y="52"/>
                    </a:cubicBezTo>
                    <a:cubicBezTo>
                      <a:pt x="119" y="52"/>
                      <a:pt x="98" y="73"/>
                      <a:pt x="98" y="98"/>
                    </a:cubicBezTo>
                    <a:cubicBezTo>
                      <a:pt x="98" y="319"/>
                      <a:pt x="98" y="319"/>
                      <a:pt x="98" y="319"/>
                    </a:cubicBezTo>
                    <a:cubicBezTo>
                      <a:pt x="98" y="373"/>
                      <a:pt x="54" y="417"/>
                      <a:pt x="0" y="417"/>
                    </a:cubicBezTo>
                  </a:path>
                </a:pathLst>
              </a:custGeom>
              <a:solidFill>
                <a:schemeClr val="bg1">
                  <a:lumMod val="85000"/>
                </a:schemeClr>
              </a:solidFill>
              <a:ln w="9525">
                <a:noFill/>
                <a:round/>
                <a:headEnd/>
                <a:tailEnd/>
              </a:ln>
            </p:spPr>
            <p:txBody>
              <a:bodyPr wrap="square" lIns="91440" tIns="45720" rIns="91440" bIns="45720" anchor="ctr">
                <a:normAutofit/>
              </a:bodyPr>
              <a:lstStyle/>
              <a:p>
                <a:pPr algn="ctr"/>
                <a:endParaRPr dirty="0"/>
              </a:p>
            </p:txBody>
          </p:sp>
          <p:sp>
            <p:nvSpPr>
              <p:cNvPr id="35" name="íşļïdè">
                <a:extLst>
                  <a:ext uri="{FF2B5EF4-FFF2-40B4-BE49-F238E27FC236}">
                    <a16:creationId xmlns:a16="http://schemas.microsoft.com/office/drawing/2014/main" id="{7E6786F5-71CC-4571-9A50-781AB46FF103}"/>
                  </a:ext>
                </a:extLst>
              </p:cNvPr>
              <p:cNvSpPr/>
              <p:nvPr/>
            </p:nvSpPr>
            <p:spPr>
              <a:xfrm>
                <a:off x="2763143" y="5213519"/>
                <a:ext cx="1158224" cy="1908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algn="ctr"/>
                <a:endParaRPr/>
              </a:p>
            </p:txBody>
          </p:sp>
        </p:grpSp>
        <p:grpSp>
          <p:nvGrpSpPr>
            <p:cNvPr id="4" name="组合 3">
              <a:extLst>
                <a:ext uri="{FF2B5EF4-FFF2-40B4-BE49-F238E27FC236}">
                  <a16:creationId xmlns:a16="http://schemas.microsoft.com/office/drawing/2014/main" id="{FD86191B-3695-4C70-B26B-719A1036B31A}"/>
                </a:ext>
              </a:extLst>
            </p:cNvPr>
            <p:cNvGrpSpPr/>
            <p:nvPr/>
          </p:nvGrpSpPr>
          <p:grpSpPr>
            <a:xfrm>
              <a:off x="5137836" y="3317142"/>
              <a:ext cx="2658859" cy="1513586"/>
              <a:chOff x="5137836" y="3317142"/>
              <a:chExt cx="2658859" cy="1513586"/>
            </a:xfrm>
          </p:grpSpPr>
          <p:sp>
            <p:nvSpPr>
              <p:cNvPr id="36" name="ï$ḻïdê">
                <a:extLst>
                  <a:ext uri="{FF2B5EF4-FFF2-40B4-BE49-F238E27FC236}">
                    <a16:creationId xmlns:a16="http://schemas.microsoft.com/office/drawing/2014/main" id="{4A28F711-6023-4832-81E7-4A07FD356A99}"/>
                  </a:ext>
                </a:extLst>
              </p:cNvPr>
              <p:cNvSpPr/>
              <p:nvPr/>
            </p:nvSpPr>
            <p:spPr bwMode="auto">
              <a:xfrm>
                <a:off x="5137836" y="3820021"/>
                <a:ext cx="1150548" cy="1009583"/>
              </a:xfrm>
              <a:custGeom>
                <a:avLst/>
                <a:gdLst/>
                <a:ahLst/>
                <a:cxnLst>
                  <a:cxn ang="0">
                    <a:pos x="321" y="263"/>
                  </a:cxn>
                  <a:cxn ang="0">
                    <a:pos x="145" y="263"/>
                  </a:cxn>
                  <a:cxn ang="0">
                    <a:pos x="47" y="165"/>
                  </a:cxn>
                  <a:cxn ang="0">
                    <a:pos x="47" y="98"/>
                  </a:cxn>
                  <a:cxn ang="0">
                    <a:pos x="0" y="52"/>
                  </a:cxn>
                  <a:cxn ang="0">
                    <a:pos x="0" y="0"/>
                  </a:cxn>
                  <a:cxn ang="0">
                    <a:pos x="99" y="98"/>
                  </a:cxn>
                  <a:cxn ang="0">
                    <a:pos x="99" y="165"/>
                  </a:cxn>
                  <a:cxn ang="0">
                    <a:pos x="145" y="211"/>
                  </a:cxn>
                  <a:cxn ang="0">
                    <a:pos x="321" y="211"/>
                  </a:cxn>
                  <a:cxn ang="0">
                    <a:pos x="321" y="263"/>
                  </a:cxn>
                </a:cxnLst>
                <a:rect l="0" t="0" r="r" b="b"/>
                <a:pathLst>
                  <a:path w="321" h="263">
                    <a:moveTo>
                      <a:pt x="321" y="263"/>
                    </a:moveTo>
                    <a:cubicBezTo>
                      <a:pt x="145" y="263"/>
                      <a:pt x="145" y="263"/>
                      <a:pt x="145" y="263"/>
                    </a:cubicBezTo>
                    <a:cubicBezTo>
                      <a:pt x="91" y="263"/>
                      <a:pt x="47" y="219"/>
                      <a:pt x="47" y="165"/>
                    </a:cubicBezTo>
                    <a:cubicBezTo>
                      <a:pt x="47" y="98"/>
                      <a:pt x="47" y="98"/>
                      <a:pt x="47" y="98"/>
                    </a:cubicBezTo>
                    <a:cubicBezTo>
                      <a:pt x="47" y="73"/>
                      <a:pt x="26" y="52"/>
                      <a:pt x="0" y="52"/>
                    </a:cubicBezTo>
                    <a:cubicBezTo>
                      <a:pt x="0" y="0"/>
                      <a:pt x="0" y="0"/>
                      <a:pt x="0" y="0"/>
                    </a:cubicBezTo>
                    <a:cubicBezTo>
                      <a:pt x="55" y="0"/>
                      <a:pt x="99" y="44"/>
                      <a:pt x="99" y="98"/>
                    </a:cubicBezTo>
                    <a:cubicBezTo>
                      <a:pt x="99" y="165"/>
                      <a:pt x="99" y="165"/>
                      <a:pt x="99" y="165"/>
                    </a:cubicBezTo>
                    <a:cubicBezTo>
                      <a:pt x="99" y="190"/>
                      <a:pt x="119" y="211"/>
                      <a:pt x="145" y="211"/>
                    </a:cubicBezTo>
                    <a:cubicBezTo>
                      <a:pt x="321" y="211"/>
                      <a:pt x="321" y="211"/>
                      <a:pt x="321" y="211"/>
                    </a:cubicBezTo>
                    <a:cubicBezTo>
                      <a:pt x="321" y="263"/>
                      <a:pt x="321" y="263"/>
                      <a:pt x="321" y="263"/>
                    </a:cubicBezTo>
                  </a:path>
                </a:pathLst>
              </a:custGeom>
              <a:solidFill>
                <a:schemeClr val="bg1">
                  <a:lumMod val="85000"/>
                </a:schemeClr>
              </a:solidFill>
              <a:ln w="9525">
                <a:noFill/>
                <a:round/>
                <a:headEnd/>
                <a:tailEnd/>
              </a:ln>
            </p:spPr>
            <p:txBody>
              <a:bodyPr wrap="square" lIns="91440" tIns="45720" rIns="91440" bIns="45720" anchor="ctr">
                <a:normAutofit/>
              </a:bodyPr>
              <a:lstStyle/>
              <a:p>
                <a:pPr algn="ctr"/>
                <a:endParaRPr/>
              </a:p>
            </p:txBody>
          </p:sp>
          <p:sp>
            <p:nvSpPr>
              <p:cNvPr id="37" name="i$lïdé">
                <a:extLst>
                  <a:ext uri="{FF2B5EF4-FFF2-40B4-BE49-F238E27FC236}">
                    <a16:creationId xmlns:a16="http://schemas.microsoft.com/office/drawing/2014/main" id="{5CBDF80F-B5BF-4B6B-AD40-A55B70A49211}"/>
                  </a:ext>
                </a:extLst>
              </p:cNvPr>
              <p:cNvSpPr/>
              <p:nvPr/>
            </p:nvSpPr>
            <p:spPr bwMode="auto">
              <a:xfrm>
                <a:off x="6288442" y="3317142"/>
                <a:ext cx="1508253" cy="1513586"/>
              </a:xfrm>
              <a:custGeom>
                <a:avLst/>
                <a:gdLst/>
                <a:ahLst/>
                <a:cxnLst>
                  <a:cxn ang="0">
                    <a:pos x="0" y="397"/>
                  </a:cxn>
                  <a:cxn ang="0">
                    <a:pos x="0" y="345"/>
                  </a:cxn>
                  <a:cxn ang="0">
                    <a:pos x="46" y="299"/>
                  </a:cxn>
                  <a:cxn ang="0">
                    <a:pos x="46" y="98"/>
                  </a:cxn>
                  <a:cxn ang="0">
                    <a:pos x="145" y="0"/>
                  </a:cxn>
                  <a:cxn ang="0">
                    <a:pos x="394" y="0"/>
                  </a:cxn>
                  <a:cxn ang="0">
                    <a:pos x="394" y="52"/>
                  </a:cxn>
                  <a:cxn ang="0">
                    <a:pos x="145" y="52"/>
                  </a:cxn>
                  <a:cxn ang="0">
                    <a:pos x="98" y="98"/>
                  </a:cxn>
                  <a:cxn ang="0">
                    <a:pos x="98" y="299"/>
                  </a:cxn>
                  <a:cxn ang="0">
                    <a:pos x="0" y="397"/>
                  </a:cxn>
                </a:cxnLst>
                <a:rect l="0" t="0" r="r" b="b"/>
                <a:pathLst>
                  <a:path w="394" h="397">
                    <a:moveTo>
                      <a:pt x="0" y="397"/>
                    </a:moveTo>
                    <a:cubicBezTo>
                      <a:pt x="0" y="345"/>
                      <a:pt x="0" y="345"/>
                      <a:pt x="0" y="345"/>
                    </a:cubicBezTo>
                    <a:cubicBezTo>
                      <a:pt x="26" y="345"/>
                      <a:pt x="46" y="324"/>
                      <a:pt x="46" y="299"/>
                    </a:cubicBezTo>
                    <a:cubicBezTo>
                      <a:pt x="46" y="98"/>
                      <a:pt x="46" y="98"/>
                      <a:pt x="46" y="98"/>
                    </a:cubicBezTo>
                    <a:cubicBezTo>
                      <a:pt x="46" y="44"/>
                      <a:pt x="90" y="0"/>
                      <a:pt x="145" y="0"/>
                    </a:cubicBezTo>
                    <a:cubicBezTo>
                      <a:pt x="394" y="0"/>
                      <a:pt x="394" y="0"/>
                      <a:pt x="394" y="0"/>
                    </a:cubicBezTo>
                    <a:cubicBezTo>
                      <a:pt x="394" y="52"/>
                      <a:pt x="394" y="52"/>
                      <a:pt x="394" y="52"/>
                    </a:cubicBezTo>
                    <a:cubicBezTo>
                      <a:pt x="145" y="52"/>
                      <a:pt x="145" y="52"/>
                      <a:pt x="145" y="52"/>
                    </a:cubicBezTo>
                    <a:cubicBezTo>
                      <a:pt x="119" y="52"/>
                      <a:pt x="98" y="73"/>
                      <a:pt x="98" y="98"/>
                    </a:cubicBezTo>
                    <a:cubicBezTo>
                      <a:pt x="98" y="299"/>
                      <a:pt x="98" y="299"/>
                      <a:pt x="98" y="299"/>
                    </a:cubicBezTo>
                    <a:cubicBezTo>
                      <a:pt x="98" y="353"/>
                      <a:pt x="54" y="397"/>
                      <a:pt x="0" y="397"/>
                    </a:cubicBezTo>
                  </a:path>
                </a:pathLst>
              </a:custGeom>
              <a:solidFill>
                <a:schemeClr val="bg1">
                  <a:lumMod val="85000"/>
                </a:schemeClr>
              </a:solidFill>
              <a:ln w="9525">
                <a:noFill/>
                <a:round/>
                <a:headEnd/>
                <a:tailEnd/>
              </a:ln>
            </p:spPr>
            <p:txBody>
              <a:bodyPr wrap="square" lIns="91440" tIns="45720" rIns="91440" bIns="45720" anchor="ctr">
                <a:normAutofit/>
              </a:bodyPr>
              <a:lstStyle/>
              <a:p>
                <a:pPr algn="ctr"/>
                <a:endParaRPr/>
              </a:p>
            </p:txBody>
          </p:sp>
        </p:grpSp>
        <p:sp>
          <p:nvSpPr>
            <p:cNvPr id="38" name="ïŝḻiḍê">
              <a:extLst>
                <a:ext uri="{FF2B5EF4-FFF2-40B4-BE49-F238E27FC236}">
                  <a16:creationId xmlns:a16="http://schemas.microsoft.com/office/drawing/2014/main" id="{6D6B8360-BB32-40A7-BA19-F9401E2AC663}"/>
                </a:ext>
              </a:extLst>
            </p:cNvPr>
            <p:cNvSpPr/>
            <p:nvPr/>
          </p:nvSpPr>
          <p:spPr bwMode="auto">
            <a:xfrm>
              <a:off x="9020248" y="3448387"/>
              <a:ext cx="1226049" cy="877031"/>
            </a:xfrm>
            <a:custGeom>
              <a:avLst/>
              <a:gdLst/>
              <a:ahLst/>
              <a:cxnLst>
                <a:cxn ang="0">
                  <a:pos x="0" y="230"/>
                </a:cxn>
                <a:cxn ang="0">
                  <a:pos x="0" y="178"/>
                </a:cxn>
                <a:cxn ang="0">
                  <a:pos x="46" y="132"/>
                </a:cxn>
                <a:cxn ang="0">
                  <a:pos x="46" y="98"/>
                </a:cxn>
                <a:cxn ang="0">
                  <a:pos x="144" y="0"/>
                </a:cxn>
                <a:cxn ang="0">
                  <a:pos x="320" y="0"/>
                </a:cxn>
                <a:cxn ang="0">
                  <a:pos x="320" y="52"/>
                </a:cxn>
                <a:cxn ang="0">
                  <a:pos x="144" y="52"/>
                </a:cxn>
                <a:cxn ang="0">
                  <a:pos x="98" y="98"/>
                </a:cxn>
                <a:cxn ang="0">
                  <a:pos x="98" y="132"/>
                </a:cxn>
                <a:cxn ang="0">
                  <a:pos x="0" y="230"/>
                </a:cxn>
              </a:cxnLst>
              <a:rect l="0" t="0" r="r" b="b"/>
              <a:pathLst>
                <a:path w="320" h="230">
                  <a:moveTo>
                    <a:pt x="0" y="230"/>
                  </a:moveTo>
                  <a:cubicBezTo>
                    <a:pt x="0" y="178"/>
                    <a:pt x="0" y="178"/>
                    <a:pt x="0" y="178"/>
                  </a:cubicBezTo>
                  <a:cubicBezTo>
                    <a:pt x="25" y="178"/>
                    <a:pt x="46" y="157"/>
                    <a:pt x="46" y="132"/>
                  </a:cubicBezTo>
                  <a:cubicBezTo>
                    <a:pt x="46" y="98"/>
                    <a:pt x="46" y="98"/>
                    <a:pt x="46" y="98"/>
                  </a:cubicBezTo>
                  <a:cubicBezTo>
                    <a:pt x="46" y="44"/>
                    <a:pt x="90" y="0"/>
                    <a:pt x="144" y="0"/>
                  </a:cubicBezTo>
                  <a:cubicBezTo>
                    <a:pt x="320" y="0"/>
                    <a:pt x="320" y="0"/>
                    <a:pt x="320" y="0"/>
                  </a:cubicBezTo>
                  <a:cubicBezTo>
                    <a:pt x="320" y="52"/>
                    <a:pt x="320" y="52"/>
                    <a:pt x="320" y="52"/>
                  </a:cubicBezTo>
                  <a:cubicBezTo>
                    <a:pt x="144" y="52"/>
                    <a:pt x="144" y="52"/>
                    <a:pt x="144" y="52"/>
                  </a:cubicBezTo>
                  <a:cubicBezTo>
                    <a:pt x="119" y="52"/>
                    <a:pt x="98" y="73"/>
                    <a:pt x="98" y="98"/>
                  </a:cubicBezTo>
                  <a:cubicBezTo>
                    <a:pt x="98" y="132"/>
                    <a:pt x="98" y="132"/>
                    <a:pt x="98" y="132"/>
                  </a:cubicBezTo>
                  <a:cubicBezTo>
                    <a:pt x="98" y="186"/>
                    <a:pt x="54" y="230"/>
                    <a:pt x="0" y="230"/>
                  </a:cubicBezTo>
                </a:path>
              </a:pathLst>
            </a:custGeom>
            <a:solidFill>
              <a:schemeClr val="bg1">
                <a:lumMod val="85000"/>
              </a:schemeClr>
            </a:solidFill>
            <a:ln w="9525">
              <a:noFill/>
              <a:round/>
              <a:headEnd/>
              <a:tailEnd/>
            </a:ln>
          </p:spPr>
          <p:txBody>
            <a:bodyPr wrap="square" lIns="91440" tIns="45720" rIns="91440" bIns="45720" anchor="ctr">
              <a:normAutofit/>
            </a:bodyPr>
            <a:lstStyle/>
            <a:p>
              <a:pPr algn="ctr"/>
              <a:endParaRPr/>
            </a:p>
          </p:txBody>
        </p:sp>
        <p:sp>
          <p:nvSpPr>
            <p:cNvPr id="39" name="îṩlîḑè">
              <a:extLst>
                <a:ext uri="{FF2B5EF4-FFF2-40B4-BE49-F238E27FC236}">
                  <a16:creationId xmlns:a16="http://schemas.microsoft.com/office/drawing/2014/main" id="{26CD5E11-6A60-4AD4-8D0A-4EF3E067B885}"/>
                </a:ext>
              </a:extLst>
            </p:cNvPr>
            <p:cNvSpPr/>
            <p:nvPr/>
          </p:nvSpPr>
          <p:spPr bwMode="auto">
            <a:xfrm>
              <a:off x="7791829" y="3322257"/>
              <a:ext cx="1228419" cy="1001985"/>
            </a:xfrm>
            <a:custGeom>
              <a:avLst/>
              <a:gdLst/>
              <a:ahLst/>
              <a:cxnLst>
                <a:cxn ang="0">
                  <a:pos x="321" y="263"/>
                </a:cxn>
                <a:cxn ang="0">
                  <a:pos x="145" y="263"/>
                </a:cxn>
                <a:cxn ang="0">
                  <a:pos x="47" y="165"/>
                </a:cxn>
                <a:cxn ang="0">
                  <a:pos x="47" y="98"/>
                </a:cxn>
                <a:cxn ang="0">
                  <a:pos x="0" y="52"/>
                </a:cxn>
                <a:cxn ang="0">
                  <a:pos x="0" y="0"/>
                </a:cxn>
                <a:cxn ang="0">
                  <a:pos x="99" y="98"/>
                </a:cxn>
                <a:cxn ang="0">
                  <a:pos x="99" y="165"/>
                </a:cxn>
                <a:cxn ang="0">
                  <a:pos x="145" y="211"/>
                </a:cxn>
                <a:cxn ang="0">
                  <a:pos x="321" y="211"/>
                </a:cxn>
                <a:cxn ang="0">
                  <a:pos x="321" y="263"/>
                </a:cxn>
              </a:cxnLst>
              <a:rect l="0" t="0" r="r" b="b"/>
              <a:pathLst>
                <a:path w="321" h="263">
                  <a:moveTo>
                    <a:pt x="321" y="263"/>
                  </a:moveTo>
                  <a:cubicBezTo>
                    <a:pt x="145" y="263"/>
                    <a:pt x="145" y="263"/>
                    <a:pt x="145" y="263"/>
                  </a:cubicBezTo>
                  <a:cubicBezTo>
                    <a:pt x="91" y="263"/>
                    <a:pt x="47" y="219"/>
                    <a:pt x="47" y="165"/>
                  </a:cubicBezTo>
                  <a:cubicBezTo>
                    <a:pt x="47" y="98"/>
                    <a:pt x="47" y="98"/>
                    <a:pt x="47" y="98"/>
                  </a:cubicBezTo>
                  <a:cubicBezTo>
                    <a:pt x="47" y="73"/>
                    <a:pt x="26" y="52"/>
                    <a:pt x="0" y="52"/>
                  </a:cubicBezTo>
                  <a:cubicBezTo>
                    <a:pt x="0" y="0"/>
                    <a:pt x="0" y="0"/>
                    <a:pt x="0" y="0"/>
                  </a:cubicBezTo>
                  <a:cubicBezTo>
                    <a:pt x="55" y="0"/>
                    <a:pt x="99" y="44"/>
                    <a:pt x="99" y="98"/>
                  </a:cubicBezTo>
                  <a:cubicBezTo>
                    <a:pt x="99" y="165"/>
                    <a:pt x="99" y="165"/>
                    <a:pt x="99" y="165"/>
                  </a:cubicBezTo>
                  <a:cubicBezTo>
                    <a:pt x="99" y="190"/>
                    <a:pt x="119" y="211"/>
                    <a:pt x="145" y="211"/>
                  </a:cubicBezTo>
                  <a:cubicBezTo>
                    <a:pt x="321" y="211"/>
                    <a:pt x="321" y="211"/>
                    <a:pt x="321" y="211"/>
                  </a:cubicBezTo>
                  <a:cubicBezTo>
                    <a:pt x="321" y="263"/>
                    <a:pt x="321" y="263"/>
                    <a:pt x="321" y="263"/>
                  </a:cubicBezTo>
                </a:path>
              </a:pathLst>
            </a:custGeom>
            <a:solidFill>
              <a:schemeClr val="bg1">
                <a:lumMod val="85000"/>
              </a:schemeClr>
            </a:solidFill>
            <a:ln w="9525">
              <a:noFill/>
              <a:round/>
              <a:headEnd/>
              <a:tailEnd/>
            </a:ln>
          </p:spPr>
          <p:txBody>
            <a:bodyPr wrap="square" lIns="91440" tIns="45720" rIns="91440" bIns="45720" anchor="ctr">
              <a:normAutofit/>
            </a:bodyPr>
            <a:lstStyle/>
            <a:p>
              <a:pPr algn="ctr"/>
              <a:endParaRPr/>
            </a:p>
          </p:txBody>
        </p:sp>
        <p:sp>
          <p:nvSpPr>
            <p:cNvPr id="40" name="iṧlídé">
              <a:extLst>
                <a:ext uri="{FF2B5EF4-FFF2-40B4-BE49-F238E27FC236}">
                  <a16:creationId xmlns:a16="http://schemas.microsoft.com/office/drawing/2014/main" id="{4CDFA51A-54CB-4670-97B0-A636E2007912}"/>
                </a:ext>
              </a:extLst>
            </p:cNvPr>
            <p:cNvSpPr/>
            <p:nvPr/>
          </p:nvSpPr>
          <p:spPr bwMode="auto">
            <a:xfrm>
              <a:off x="10238193" y="2055576"/>
              <a:ext cx="1226049" cy="1586673"/>
            </a:xfrm>
            <a:custGeom>
              <a:avLst/>
              <a:gdLst/>
              <a:ahLst/>
              <a:cxnLst>
                <a:cxn ang="0">
                  <a:pos x="0" y="417"/>
                </a:cxn>
                <a:cxn ang="0">
                  <a:pos x="0" y="365"/>
                </a:cxn>
                <a:cxn ang="0">
                  <a:pos x="46" y="319"/>
                </a:cxn>
                <a:cxn ang="0">
                  <a:pos x="46" y="98"/>
                </a:cxn>
                <a:cxn ang="0">
                  <a:pos x="145" y="0"/>
                </a:cxn>
                <a:cxn ang="0">
                  <a:pos x="320" y="0"/>
                </a:cxn>
                <a:cxn ang="0">
                  <a:pos x="320" y="52"/>
                </a:cxn>
                <a:cxn ang="0">
                  <a:pos x="145" y="52"/>
                </a:cxn>
                <a:cxn ang="0">
                  <a:pos x="98" y="98"/>
                </a:cxn>
                <a:cxn ang="0">
                  <a:pos x="98" y="319"/>
                </a:cxn>
                <a:cxn ang="0">
                  <a:pos x="0" y="417"/>
                </a:cxn>
              </a:cxnLst>
              <a:rect l="0" t="0" r="r" b="b"/>
              <a:pathLst>
                <a:path w="320" h="417">
                  <a:moveTo>
                    <a:pt x="0" y="417"/>
                  </a:moveTo>
                  <a:cubicBezTo>
                    <a:pt x="0" y="365"/>
                    <a:pt x="0" y="365"/>
                    <a:pt x="0" y="365"/>
                  </a:cubicBezTo>
                  <a:cubicBezTo>
                    <a:pt x="26" y="365"/>
                    <a:pt x="46" y="344"/>
                    <a:pt x="46" y="319"/>
                  </a:cubicBezTo>
                  <a:cubicBezTo>
                    <a:pt x="46" y="98"/>
                    <a:pt x="46" y="98"/>
                    <a:pt x="46" y="98"/>
                  </a:cubicBezTo>
                  <a:cubicBezTo>
                    <a:pt x="46" y="44"/>
                    <a:pt x="90" y="0"/>
                    <a:pt x="145" y="0"/>
                  </a:cubicBezTo>
                  <a:cubicBezTo>
                    <a:pt x="320" y="0"/>
                    <a:pt x="320" y="0"/>
                    <a:pt x="320" y="0"/>
                  </a:cubicBezTo>
                  <a:cubicBezTo>
                    <a:pt x="320" y="52"/>
                    <a:pt x="320" y="52"/>
                    <a:pt x="320" y="52"/>
                  </a:cubicBezTo>
                  <a:cubicBezTo>
                    <a:pt x="145" y="52"/>
                    <a:pt x="145" y="52"/>
                    <a:pt x="145" y="52"/>
                  </a:cubicBezTo>
                  <a:cubicBezTo>
                    <a:pt x="119" y="52"/>
                    <a:pt x="98" y="73"/>
                    <a:pt x="98" y="98"/>
                  </a:cubicBezTo>
                  <a:cubicBezTo>
                    <a:pt x="98" y="319"/>
                    <a:pt x="98" y="319"/>
                    <a:pt x="98" y="319"/>
                  </a:cubicBezTo>
                  <a:cubicBezTo>
                    <a:pt x="98" y="373"/>
                    <a:pt x="54" y="417"/>
                    <a:pt x="0" y="417"/>
                  </a:cubicBezTo>
                </a:path>
              </a:pathLst>
            </a:custGeom>
            <a:solidFill>
              <a:schemeClr val="bg1">
                <a:lumMod val="85000"/>
              </a:schemeClr>
            </a:solidFill>
            <a:ln w="9525">
              <a:noFill/>
              <a:round/>
              <a:headEnd/>
              <a:tailEnd/>
            </a:ln>
          </p:spPr>
          <p:txBody>
            <a:bodyPr wrap="square" lIns="91440" tIns="45720" rIns="91440" bIns="45720" anchor="ctr">
              <a:normAutofit/>
            </a:bodyPr>
            <a:lstStyle/>
            <a:p>
              <a:pPr algn="ctr"/>
              <a:endParaRPr/>
            </a:p>
          </p:txBody>
        </p:sp>
        <p:sp>
          <p:nvSpPr>
            <p:cNvPr id="41" name="îṣḷîḓé">
              <a:extLst>
                <a:ext uri="{FF2B5EF4-FFF2-40B4-BE49-F238E27FC236}">
                  <a16:creationId xmlns:a16="http://schemas.microsoft.com/office/drawing/2014/main" id="{453CEA95-0329-44B1-832E-86EE6CCE02C5}"/>
                </a:ext>
              </a:extLst>
            </p:cNvPr>
            <p:cNvSpPr/>
            <p:nvPr/>
          </p:nvSpPr>
          <p:spPr>
            <a:xfrm>
              <a:off x="10769673" y="1949666"/>
              <a:ext cx="1321385" cy="414000"/>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7500" lnSpcReduction="20000"/>
            </a:bodyPr>
            <a:lstStyle/>
            <a:p>
              <a:pPr algn="ctr"/>
              <a:endParaRPr/>
            </a:p>
          </p:txBody>
        </p:sp>
      </p:grpSp>
      <p:sp>
        <p:nvSpPr>
          <p:cNvPr id="9" name="íŝḻïḓè">
            <a:extLst>
              <a:ext uri="{FF2B5EF4-FFF2-40B4-BE49-F238E27FC236}">
                <a16:creationId xmlns:a16="http://schemas.microsoft.com/office/drawing/2014/main" id="{9D9C63AE-CBB7-4E10-AEBB-38EA38C206E9}"/>
              </a:ext>
            </a:extLst>
          </p:cNvPr>
          <p:cNvSpPr/>
          <p:nvPr/>
        </p:nvSpPr>
        <p:spPr bwMode="auto">
          <a:xfrm>
            <a:off x="1693917" y="4750362"/>
            <a:ext cx="1089216" cy="1089216"/>
          </a:xfrm>
          <a:prstGeom prst="ellipse">
            <a:avLst/>
          </a:prstGeom>
          <a:solidFill>
            <a:schemeClr val="accent1">
              <a:lumMod val="100000"/>
            </a:schemeClr>
          </a:solidFill>
          <a:ln w="38100">
            <a:solidFill>
              <a:schemeClr val="bg1"/>
            </a:solidFill>
            <a:round/>
            <a:headEnd/>
            <a:tailEnd/>
          </a:ln>
        </p:spPr>
        <p:txBody>
          <a:bodyPr wrap="square" lIns="91440" tIns="45720" rIns="91440" bIns="45720" anchor="ctr">
            <a:normAutofit/>
          </a:bodyPr>
          <a:lstStyle/>
          <a:p>
            <a:pPr algn="ctr"/>
            <a:r>
              <a:rPr lang="zh-CN" altLang="en-US" sz="1400" i="1" dirty="0">
                <a:solidFill>
                  <a:schemeClr val="bg1"/>
                </a:solidFill>
              </a:rPr>
              <a:t>简介</a:t>
            </a:r>
            <a:endParaRPr sz="1400" i="1" dirty="0">
              <a:solidFill>
                <a:schemeClr val="bg1"/>
              </a:solidFill>
            </a:endParaRPr>
          </a:p>
        </p:txBody>
      </p:sp>
      <p:grpSp>
        <p:nvGrpSpPr>
          <p:cNvPr id="219" name="iŝlîḋe">
            <a:extLst>
              <a:ext uri="{FF2B5EF4-FFF2-40B4-BE49-F238E27FC236}">
                <a16:creationId xmlns:a16="http://schemas.microsoft.com/office/drawing/2014/main" id="{5A335AD6-70E6-44CC-9606-8FAF4E853899}"/>
              </a:ext>
            </a:extLst>
          </p:cNvPr>
          <p:cNvGrpSpPr/>
          <p:nvPr/>
        </p:nvGrpSpPr>
        <p:grpSpPr>
          <a:xfrm>
            <a:off x="3857528" y="3475233"/>
            <a:ext cx="748886" cy="748886"/>
            <a:chOff x="3070889" y="2326864"/>
            <a:chExt cx="748886" cy="748886"/>
          </a:xfrm>
        </p:grpSpPr>
        <p:sp>
          <p:nvSpPr>
            <p:cNvPr id="220" name="iśliḍé">
              <a:extLst>
                <a:ext uri="{FF2B5EF4-FFF2-40B4-BE49-F238E27FC236}">
                  <a16:creationId xmlns:a16="http://schemas.microsoft.com/office/drawing/2014/main" id="{7402E3C0-7A9B-4393-A696-01EE797C8A0F}"/>
                </a:ext>
              </a:extLst>
            </p:cNvPr>
            <p:cNvSpPr/>
            <p:nvPr/>
          </p:nvSpPr>
          <p:spPr bwMode="auto">
            <a:xfrm>
              <a:off x="3070889" y="2326864"/>
              <a:ext cx="748886" cy="748886"/>
            </a:xfrm>
            <a:prstGeom prst="ellipse">
              <a:avLst/>
            </a:prstGeom>
            <a:solidFill>
              <a:schemeClr val="tx1">
                <a:lumMod val="50000"/>
                <a:lumOff val="50000"/>
              </a:schemeClr>
            </a:solidFill>
            <a:ln w="38100">
              <a:solidFill>
                <a:schemeClr val="bg1"/>
              </a:solid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21" name="ïṡľîḍé">
              <a:extLst>
                <a:ext uri="{FF2B5EF4-FFF2-40B4-BE49-F238E27FC236}">
                  <a16:creationId xmlns:a16="http://schemas.microsoft.com/office/drawing/2014/main" id="{FF7F4BD9-D14E-456D-8783-EFCEF8F6EF5B}"/>
                </a:ext>
              </a:extLst>
            </p:cNvPr>
            <p:cNvSpPr/>
            <p:nvPr/>
          </p:nvSpPr>
          <p:spPr bwMode="auto">
            <a:xfrm>
              <a:off x="3262150" y="2524313"/>
              <a:ext cx="366362" cy="353986"/>
            </a:xfrm>
            <a:custGeom>
              <a:avLst/>
              <a:gdLst>
                <a:gd name="connsiteX0" fmla="*/ 72559 w 588712"/>
                <a:gd name="connsiteY0" fmla="*/ 332808 h 568825"/>
                <a:gd name="connsiteX1" fmla="*/ 60082 w 588712"/>
                <a:gd name="connsiteY1" fmla="*/ 337644 h 568825"/>
                <a:gd name="connsiteX2" fmla="*/ 54211 w 588712"/>
                <a:gd name="connsiteY2" fmla="*/ 344678 h 568825"/>
                <a:gd name="connsiteX3" fmla="*/ 48340 w 588712"/>
                <a:gd name="connsiteY3" fmla="*/ 370471 h 568825"/>
                <a:gd name="connsiteX4" fmla="*/ 64779 w 588712"/>
                <a:gd name="connsiteY4" fmla="*/ 372815 h 568825"/>
                <a:gd name="connsiteX5" fmla="*/ 89439 w 588712"/>
                <a:gd name="connsiteY5" fmla="*/ 348196 h 568825"/>
                <a:gd name="connsiteX6" fmla="*/ 85916 w 588712"/>
                <a:gd name="connsiteY6" fmla="*/ 334127 h 568825"/>
                <a:gd name="connsiteX7" fmla="*/ 72559 w 588712"/>
                <a:gd name="connsiteY7" fmla="*/ 332808 h 568825"/>
                <a:gd name="connsiteX8" fmla="*/ 63605 w 588712"/>
                <a:gd name="connsiteY8" fmla="*/ 320058 h 568825"/>
                <a:gd name="connsiteX9" fmla="*/ 49514 w 588712"/>
                <a:gd name="connsiteY9" fmla="*/ 325920 h 568825"/>
                <a:gd name="connsiteX10" fmla="*/ 48340 w 588712"/>
                <a:gd name="connsiteY10" fmla="*/ 325920 h 568825"/>
                <a:gd name="connsiteX11" fmla="*/ 38945 w 588712"/>
                <a:gd name="connsiteY11" fmla="*/ 341161 h 568825"/>
                <a:gd name="connsiteX12" fmla="*/ 38945 w 588712"/>
                <a:gd name="connsiteY12" fmla="*/ 343506 h 568825"/>
                <a:gd name="connsiteX13" fmla="*/ 41294 w 588712"/>
                <a:gd name="connsiteY13" fmla="*/ 348196 h 568825"/>
                <a:gd name="connsiteX14" fmla="*/ 54211 w 588712"/>
                <a:gd name="connsiteY14" fmla="*/ 342334 h 568825"/>
                <a:gd name="connsiteX15" fmla="*/ 58908 w 588712"/>
                <a:gd name="connsiteY15" fmla="*/ 337644 h 568825"/>
                <a:gd name="connsiteX16" fmla="*/ 69476 w 588712"/>
                <a:gd name="connsiteY16" fmla="*/ 325920 h 568825"/>
                <a:gd name="connsiteX17" fmla="*/ 67128 w 588712"/>
                <a:gd name="connsiteY17" fmla="*/ 324748 h 568825"/>
                <a:gd name="connsiteX18" fmla="*/ 63605 w 588712"/>
                <a:gd name="connsiteY18" fmla="*/ 320058 h 568825"/>
                <a:gd name="connsiteX19" fmla="*/ 259391 w 588712"/>
                <a:gd name="connsiteY19" fmla="*/ 293003 h 568825"/>
                <a:gd name="connsiteX20" fmla="*/ 256171 w 588712"/>
                <a:gd name="connsiteY20" fmla="*/ 298993 h 568825"/>
                <a:gd name="connsiteX21" fmla="*/ 242121 w 588712"/>
                <a:gd name="connsiteY21" fmla="*/ 314189 h 568825"/>
                <a:gd name="connsiteX22" fmla="*/ 228072 w 588712"/>
                <a:gd name="connsiteY22" fmla="*/ 325877 h 568825"/>
                <a:gd name="connsiteX23" fmla="*/ 225730 w 588712"/>
                <a:gd name="connsiteY23" fmla="*/ 322371 h 568825"/>
                <a:gd name="connsiteX24" fmla="*/ 253829 w 588712"/>
                <a:gd name="connsiteY24" fmla="*/ 296655 h 568825"/>
                <a:gd name="connsiteX25" fmla="*/ 259391 w 588712"/>
                <a:gd name="connsiteY25" fmla="*/ 293003 h 568825"/>
                <a:gd name="connsiteX26" fmla="*/ 55238 w 588712"/>
                <a:gd name="connsiteY26" fmla="*/ 274336 h 568825"/>
                <a:gd name="connsiteX27" fmla="*/ 48340 w 588712"/>
                <a:gd name="connsiteY27" fmla="*/ 277853 h 568825"/>
                <a:gd name="connsiteX28" fmla="*/ 42468 w 588712"/>
                <a:gd name="connsiteY28" fmla="*/ 283715 h 568825"/>
                <a:gd name="connsiteX29" fmla="*/ 31900 w 588712"/>
                <a:gd name="connsiteY29" fmla="*/ 308335 h 568825"/>
                <a:gd name="connsiteX30" fmla="*/ 44817 w 588712"/>
                <a:gd name="connsiteY30" fmla="*/ 309507 h 568825"/>
                <a:gd name="connsiteX31" fmla="*/ 45991 w 588712"/>
                <a:gd name="connsiteY31" fmla="*/ 307162 h 568825"/>
                <a:gd name="connsiteX32" fmla="*/ 57734 w 588712"/>
                <a:gd name="connsiteY32" fmla="*/ 281370 h 568825"/>
                <a:gd name="connsiteX33" fmla="*/ 55238 w 588712"/>
                <a:gd name="connsiteY33" fmla="*/ 274336 h 568825"/>
                <a:gd name="connsiteX34" fmla="*/ 550927 w 588712"/>
                <a:gd name="connsiteY34" fmla="*/ 251475 h 568825"/>
                <a:gd name="connsiteX35" fmla="*/ 542707 w 588712"/>
                <a:gd name="connsiteY35" fmla="*/ 254405 h 568825"/>
                <a:gd name="connsiteX36" fmla="*/ 534487 w 588712"/>
                <a:gd name="connsiteY36" fmla="*/ 281370 h 568825"/>
                <a:gd name="connsiteX37" fmla="*/ 534487 w 588712"/>
                <a:gd name="connsiteY37" fmla="*/ 287232 h 568825"/>
                <a:gd name="connsiteX38" fmla="*/ 539184 w 588712"/>
                <a:gd name="connsiteY38" fmla="*/ 295439 h 568825"/>
                <a:gd name="connsiteX39" fmla="*/ 547404 w 588712"/>
                <a:gd name="connsiteY39" fmla="*/ 287232 h 568825"/>
                <a:gd name="connsiteX40" fmla="*/ 552101 w 588712"/>
                <a:gd name="connsiteY40" fmla="*/ 281370 h 568825"/>
                <a:gd name="connsiteX41" fmla="*/ 555624 w 588712"/>
                <a:gd name="connsiteY41" fmla="*/ 260267 h 568825"/>
                <a:gd name="connsiteX42" fmla="*/ 555624 w 588712"/>
                <a:gd name="connsiteY42" fmla="*/ 259095 h 568825"/>
                <a:gd name="connsiteX43" fmla="*/ 550927 w 588712"/>
                <a:gd name="connsiteY43" fmla="*/ 251475 h 568825"/>
                <a:gd name="connsiteX44" fmla="*/ 279896 w 588712"/>
                <a:gd name="connsiteY44" fmla="*/ 233952 h 568825"/>
                <a:gd name="connsiteX45" fmla="*/ 281948 w 588712"/>
                <a:gd name="connsiteY45" fmla="*/ 235565 h 568825"/>
                <a:gd name="connsiteX46" fmla="*/ 270224 w 588712"/>
                <a:gd name="connsiteY46" fmla="*/ 251985 h 568825"/>
                <a:gd name="connsiteX47" fmla="*/ 191671 w 588712"/>
                <a:gd name="connsiteY47" fmla="*/ 324705 h 568825"/>
                <a:gd name="connsiteX48" fmla="*/ 179947 w 588712"/>
                <a:gd name="connsiteY48" fmla="*/ 334088 h 568825"/>
                <a:gd name="connsiteX49" fmla="*/ 189327 w 588712"/>
                <a:gd name="connsiteY49" fmla="*/ 322359 h 568825"/>
                <a:gd name="connsiteX50" fmla="*/ 272568 w 588712"/>
                <a:gd name="connsiteY50" fmla="*/ 240256 h 568825"/>
                <a:gd name="connsiteX51" fmla="*/ 279896 w 588712"/>
                <a:gd name="connsiteY51" fmla="*/ 233952 h 568825"/>
                <a:gd name="connsiteX52" fmla="*/ 279084 w 588712"/>
                <a:gd name="connsiteY52" fmla="*/ 183770 h 568825"/>
                <a:gd name="connsiteX53" fmla="*/ 267928 w 588712"/>
                <a:gd name="connsiteY53" fmla="*/ 188752 h 568825"/>
                <a:gd name="connsiteX54" fmla="*/ 215086 w 588712"/>
                <a:gd name="connsiteY54" fmla="*/ 242682 h 568825"/>
                <a:gd name="connsiteX55" fmla="*/ 198646 w 588712"/>
                <a:gd name="connsiteY55" fmla="*/ 268474 h 568825"/>
                <a:gd name="connsiteX56" fmla="*/ 168115 w 588712"/>
                <a:gd name="connsiteY56" fmla="*/ 309507 h 568825"/>
                <a:gd name="connsiteX57" fmla="*/ 122319 w 588712"/>
                <a:gd name="connsiteY57" fmla="*/ 335299 h 568825"/>
                <a:gd name="connsiteX58" fmla="*/ 108227 w 588712"/>
                <a:gd name="connsiteY58" fmla="*/ 344678 h 568825"/>
                <a:gd name="connsiteX59" fmla="*/ 98833 w 588712"/>
                <a:gd name="connsiteY59" fmla="*/ 362264 h 568825"/>
                <a:gd name="connsiteX60" fmla="*/ 72999 w 588712"/>
                <a:gd name="connsiteY60" fmla="*/ 389229 h 568825"/>
                <a:gd name="connsiteX61" fmla="*/ 69476 w 588712"/>
                <a:gd name="connsiteY61" fmla="*/ 413849 h 568825"/>
                <a:gd name="connsiteX62" fmla="*/ 82393 w 588712"/>
                <a:gd name="connsiteY62" fmla="*/ 434951 h 568825"/>
                <a:gd name="connsiteX63" fmla="*/ 102356 w 588712"/>
                <a:gd name="connsiteY63" fmla="*/ 436124 h 568825"/>
                <a:gd name="connsiteX64" fmla="*/ 118796 w 588712"/>
                <a:gd name="connsiteY64" fmla="*/ 420883 h 568825"/>
                <a:gd name="connsiteX65" fmla="*/ 135236 w 588712"/>
                <a:gd name="connsiteY65" fmla="*/ 419710 h 568825"/>
                <a:gd name="connsiteX66" fmla="*/ 128190 w 588712"/>
                <a:gd name="connsiteY66" fmla="*/ 438468 h 568825"/>
                <a:gd name="connsiteX67" fmla="*/ 114099 w 588712"/>
                <a:gd name="connsiteY67" fmla="*/ 451365 h 568825"/>
                <a:gd name="connsiteX68" fmla="*/ 110576 w 588712"/>
                <a:gd name="connsiteY68" fmla="*/ 470123 h 568825"/>
                <a:gd name="connsiteX69" fmla="*/ 129364 w 588712"/>
                <a:gd name="connsiteY69" fmla="*/ 467778 h 568825"/>
                <a:gd name="connsiteX70" fmla="*/ 139933 w 588712"/>
                <a:gd name="connsiteY70" fmla="*/ 457226 h 568825"/>
                <a:gd name="connsiteX71" fmla="*/ 152850 w 588712"/>
                <a:gd name="connsiteY71" fmla="*/ 447847 h 568825"/>
                <a:gd name="connsiteX72" fmla="*/ 142281 w 588712"/>
                <a:gd name="connsiteY72" fmla="*/ 460744 h 568825"/>
                <a:gd name="connsiteX73" fmla="*/ 132887 w 588712"/>
                <a:gd name="connsiteY73" fmla="*/ 470123 h 568825"/>
                <a:gd name="connsiteX74" fmla="*/ 134061 w 588712"/>
                <a:gd name="connsiteY74" fmla="*/ 492398 h 568825"/>
                <a:gd name="connsiteX75" fmla="*/ 151675 w 588712"/>
                <a:gd name="connsiteY75" fmla="*/ 506466 h 568825"/>
                <a:gd name="connsiteX76" fmla="*/ 176335 w 588712"/>
                <a:gd name="connsiteY76" fmla="*/ 505294 h 568825"/>
                <a:gd name="connsiteX77" fmla="*/ 178683 w 588712"/>
                <a:gd name="connsiteY77" fmla="*/ 502949 h 568825"/>
                <a:gd name="connsiteX78" fmla="*/ 196298 w 588712"/>
                <a:gd name="connsiteY78" fmla="*/ 497087 h 568825"/>
                <a:gd name="connsiteX79" fmla="*/ 191600 w 588712"/>
                <a:gd name="connsiteY79" fmla="*/ 513500 h 568825"/>
                <a:gd name="connsiteX80" fmla="*/ 195123 w 588712"/>
                <a:gd name="connsiteY80" fmla="*/ 532258 h 568825"/>
                <a:gd name="connsiteX81" fmla="*/ 212737 w 588712"/>
                <a:gd name="connsiteY81" fmla="*/ 539293 h 568825"/>
                <a:gd name="connsiteX82" fmla="*/ 235049 w 588712"/>
                <a:gd name="connsiteY82" fmla="*/ 536948 h 568825"/>
                <a:gd name="connsiteX83" fmla="*/ 256186 w 588712"/>
                <a:gd name="connsiteY83" fmla="*/ 538120 h 568825"/>
                <a:gd name="connsiteX84" fmla="*/ 257360 w 588712"/>
                <a:gd name="connsiteY84" fmla="*/ 538120 h 568825"/>
                <a:gd name="connsiteX85" fmla="*/ 267928 w 588712"/>
                <a:gd name="connsiteY85" fmla="*/ 548672 h 568825"/>
                <a:gd name="connsiteX86" fmla="*/ 279671 w 588712"/>
                <a:gd name="connsiteY86" fmla="*/ 554534 h 568825"/>
                <a:gd name="connsiteX87" fmla="*/ 339559 w 588712"/>
                <a:gd name="connsiteY87" fmla="*/ 551016 h 568825"/>
                <a:gd name="connsiteX88" fmla="*/ 546230 w 588712"/>
                <a:gd name="connsiteY88" fmla="*/ 363436 h 568825"/>
                <a:gd name="connsiteX89" fmla="*/ 547404 w 588712"/>
                <a:gd name="connsiteY89" fmla="*/ 347023 h 568825"/>
                <a:gd name="connsiteX90" fmla="*/ 543881 w 588712"/>
                <a:gd name="connsiteY90" fmla="*/ 345851 h 568825"/>
                <a:gd name="connsiteX91" fmla="*/ 536836 w 588712"/>
                <a:gd name="connsiteY91" fmla="*/ 342334 h 568825"/>
                <a:gd name="connsiteX92" fmla="*/ 541533 w 588712"/>
                <a:gd name="connsiteY92" fmla="*/ 327093 h 568825"/>
                <a:gd name="connsiteX93" fmla="*/ 546230 w 588712"/>
                <a:gd name="connsiteY93" fmla="*/ 322403 h 568825"/>
                <a:gd name="connsiteX94" fmla="*/ 557973 w 588712"/>
                <a:gd name="connsiteY94" fmla="*/ 298956 h 568825"/>
                <a:gd name="connsiteX95" fmla="*/ 547404 w 588712"/>
                <a:gd name="connsiteY95" fmla="*/ 297783 h 568825"/>
                <a:gd name="connsiteX96" fmla="*/ 535662 w 588712"/>
                <a:gd name="connsiteY96" fmla="*/ 309507 h 568825"/>
                <a:gd name="connsiteX97" fmla="*/ 520396 w 588712"/>
                <a:gd name="connsiteY97" fmla="*/ 328265 h 568825"/>
                <a:gd name="connsiteX98" fmla="*/ 514525 w 588712"/>
                <a:gd name="connsiteY98" fmla="*/ 334127 h 568825"/>
                <a:gd name="connsiteX99" fmla="*/ 406492 w 588712"/>
                <a:gd name="connsiteY99" fmla="*/ 318886 h 568825"/>
                <a:gd name="connsiteX100" fmla="*/ 290239 w 588712"/>
                <a:gd name="connsiteY100" fmla="*/ 187580 h 568825"/>
                <a:gd name="connsiteX101" fmla="*/ 279084 w 588712"/>
                <a:gd name="connsiteY101" fmla="*/ 183770 h 568825"/>
                <a:gd name="connsiteX102" fmla="*/ 522598 w 588712"/>
                <a:gd name="connsiteY102" fmla="*/ 165891 h 568825"/>
                <a:gd name="connsiteX103" fmla="*/ 513350 w 588712"/>
                <a:gd name="connsiteY103" fmla="*/ 168822 h 568825"/>
                <a:gd name="connsiteX104" fmla="*/ 509828 w 588712"/>
                <a:gd name="connsiteY104" fmla="*/ 192270 h 568825"/>
                <a:gd name="connsiteX105" fmla="*/ 525093 w 588712"/>
                <a:gd name="connsiteY105" fmla="*/ 229786 h 568825"/>
                <a:gd name="connsiteX106" fmla="*/ 539184 w 588712"/>
                <a:gd name="connsiteY106" fmla="*/ 234475 h 568825"/>
                <a:gd name="connsiteX107" fmla="*/ 545056 w 588712"/>
                <a:gd name="connsiteY107" fmla="*/ 209855 h 568825"/>
                <a:gd name="connsiteX108" fmla="*/ 530965 w 588712"/>
                <a:gd name="connsiteY108" fmla="*/ 173512 h 568825"/>
                <a:gd name="connsiteX109" fmla="*/ 522598 w 588712"/>
                <a:gd name="connsiteY109" fmla="*/ 165891 h 568825"/>
                <a:gd name="connsiteX110" fmla="*/ 231673 w 588712"/>
                <a:gd name="connsiteY110" fmla="*/ 152556 h 568825"/>
                <a:gd name="connsiteX111" fmla="*/ 219783 w 588712"/>
                <a:gd name="connsiteY111" fmla="*/ 158271 h 568825"/>
                <a:gd name="connsiteX112" fmla="*/ 210389 w 588712"/>
                <a:gd name="connsiteY112" fmla="*/ 184063 h 568825"/>
                <a:gd name="connsiteX113" fmla="*/ 211563 w 588712"/>
                <a:gd name="connsiteY113" fmla="*/ 212200 h 568825"/>
                <a:gd name="connsiteX114" fmla="*/ 213912 w 588712"/>
                <a:gd name="connsiteY114" fmla="*/ 225096 h 568825"/>
                <a:gd name="connsiteX115" fmla="*/ 217434 w 588712"/>
                <a:gd name="connsiteY115" fmla="*/ 221579 h 568825"/>
                <a:gd name="connsiteX116" fmla="*/ 258534 w 588712"/>
                <a:gd name="connsiteY116" fmla="*/ 181718 h 568825"/>
                <a:gd name="connsiteX117" fmla="*/ 257360 w 588712"/>
                <a:gd name="connsiteY117" fmla="*/ 162960 h 568825"/>
                <a:gd name="connsiteX118" fmla="*/ 244443 w 588712"/>
                <a:gd name="connsiteY118" fmla="*/ 154754 h 568825"/>
                <a:gd name="connsiteX119" fmla="*/ 231673 w 588712"/>
                <a:gd name="connsiteY119" fmla="*/ 152556 h 568825"/>
                <a:gd name="connsiteX120" fmla="*/ 501608 w 588712"/>
                <a:gd name="connsiteY120" fmla="*/ 147719 h 568825"/>
                <a:gd name="connsiteX121" fmla="*/ 496911 w 588712"/>
                <a:gd name="connsiteY121" fmla="*/ 166477 h 568825"/>
                <a:gd name="connsiteX122" fmla="*/ 511002 w 588712"/>
                <a:gd name="connsiteY122" fmla="*/ 165305 h 568825"/>
                <a:gd name="connsiteX123" fmla="*/ 515699 w 588712"/>
                <a:gd name="connsiteY123" fmla="*/ 147719 h 568825"/>
                <a:gd name="connsiteX124" fmla="*/ 501608 w 588712"/>
                <a:gd name="connsiteY124" fmla="*/ 147719 h 568825"/>
                <a:gd name="connsiteX125" fmla="*/ 212737 w 588712"/>
                <a:gd name="connsiteY125" fmla="*/ 138340 h 568825"/>
                <a:gd name="connsiteX126" fmla="*/ 206866 w 588712"/>
                <a:gd name="connsiteY126" fmla="*/ 145375 h 568825"/>
                <a:gd name="connsiteX127" fmla="*/ 212737 w 588712"/>
                <a:gd name="connsiteY127" fmla="*/ 147719 h 568825"/>
                <a:gd name="connsiteX128" fmla="*/ 212737 w 588712"/>
                <a:gd name="connsiteY128" fmla="*/ 138340 h 568825"/>
                <a:gd name="connsiteX129" fmla="*/ 487370 w 588712"/>
                <a:gd name="connsiteY129" fmla="*/ 113427 h 568825"/>
                <a:gd name="connsiteX130" fmla="*/ 476948 w 588712"/>
                <a:gd name="connsiteY130" fmla="*/ 116065 h 568825"/>
                <a:gd name="connsiteX131" fmla="*/ 473425 w 588712"/>
                <a:gd name="connsiteY131" fmla="*/ 132478 h 568825"/>
                <a:gd name="connsiteX132" fmla="*/ 479297 w 588712"/>
                <a:gd name="connsiteY132" fmla="*/ 139513 h 568825"/>
                <a:gd name="connsiteX133" fmla="*/ 483994 w 588712"/>
                <a:gd name="connsiteY133" fmla="*/ 146547 h 568825"/>
                <a:gd name="connsiteX134" fmla="*/ 498085 w 588712"/>
                <a:gd name="connsiteY134" fmla="*/ 144202 h 568825"/>
                <a:gd name="connsiteX135" fmla="*/ 499259 w 588712"/>
                <a:gd name="connsiteY135" fmla="*/ 144202 h 568825"/>
                <a:gd name="connsiteX136" fmla="*/ 498085 w 588712"/>
                <a:gd name="connsiteY136" fmla="*/ 144202 h 568825"/>
                <a:gd name="connsiteX137" fmla="*/ 499259 w 588712"/>
                <a:gd name="connsiteY137" fmla="*/ 121927 h 568825"/>
                <a:gd name="connsiteX138" fmla="*/ 496911 w 588712"/>
                <a:gd name="connsiteY138" fmla="*/ 119582 h 568825"/>
                <a:gd name="connsiteX139" fmla="*/ 487370 w 588712"/>
                <a:gd name="connsiteY139" fmla="*/ 113427 h 568825"/>
                <a:gd name="connsiteX140" fmla="*/ 279524 w 588712"/>
                <a:gd name="connsiteY140" fmla="*/ 71955 h 568825"/>
                <a:gd name="connsiteX141" fmla="*/ 144630 w 588712"/>
                <a:gd name="connsiteY141" fmla="*/ 135996 h 568825"/>
                <a:gd name="connsiteX142" fmla="*/ 87091 w 588712"/>
                <a:gd name="connsiteY142" fmla="*/ 282542 h 568825"/>
                <a:gd name="connsiteX143" fmla="*/ 105879 w 588712"/>
                <a:gd name="connsiteY143" fmla="*/ 302473 h 568825"/>
                <a:gd name="connsiteX144" fmla="*/ 175161 w 588712"/>
                <a:gd name="connsiteY144" fmla="*/ 257923 h 568825"/>
                <a:gd name="connsiteX145" fmla="*/ 177509 w 588712"/>
                <a:gd name="connsiteY145" fmla="*/ 246199 h 568825"/>
                <a:gd name="connsiteX146" fmla="*/ 182206 w 588712"/>
                <a:gd name="connsiteY146" fmla="*/ 219234 h 568825"/>
                <a:gd name="connsiteX147" fmla="*/ 181032 w 588712"/>
                <a:gd name="connsiteY147" fmla="*/ 141857 h 568825"/>
                <a:gd name="connsiteX148" fmla="*/ 186903 w 588712"/>
                <a:gd name="connsiteY148" fmla="*/ 120755 h 568825"/>
                <a:gd name="connsiteX149" fmla="*/ 193949 w 588712"/>
                <a:gd name="connsiteY149" fmla="*/ 118410 h 568825"/>
                <a:gd name="connsiteX150" fmla="*/ 205692 w 588712"/>
                <a:gd name="connsiteY150" fmla="*/ 116065 h 568825"/>
                <a:gd name="connsiteX151" fmla="*/ 210389 w 588712"/>
                <a:gd name="connsiteY151" fmla="*/ 116065 h 568825"/>
                <a:gd name="connsiteX152" fmla="*/ 405318 w 588712"/>
                <a:gd name="connsiteY152" fmla="*/ 268474 h 568825"/>
                <a:gd name="connsiteX153" fmla="*/ 452288 w 588712"/>
                <a:gd name="connsiteY153" fmla="*/ 323576 h 568825"/>
                <a:gd name="connsiteX154" fmla="*/ 496911 w 588712"/>
                <a:gd name="connsiteY154" fmla="*/ 260267 h 568825"/>
                <a:gd name="connsiteX155" fmla="*/ 420583 w 588712"/>
                <a:gd name="connsiteY155" fmla="*/ 119582 h 568825"/>
                <a:gd name="connsiteX156" fmla="*/ 279524 w 588712"/>
                <a:gd name="connsiteY156" fmla="*/ 71955 h 568825"/>
                <a:gd name="connsiteX157" fmla="*/ 186903 w 588712"/>
                <a:gd name="connsiteY157" fmla="*/ 41033 h 568825"/>
                <a:gd name="connsiteX158" fmla="*/ 179858 w 588712"/>
                <a:gd name="connsiteY158" fmla="*/ 42206 h 568825"/>
                <a:gd name="connsiteX159" fmla="*/ 56560 w 588712"/>
                <a:gd name="connsiteY159" fmla="*/ 166477 h 568825"/>
                <a:gd name="connsiteX160" fmla="*/ 61257 w 588712"/>
                <a:gd name="connsiteY160" fmla="*/ 169994 h 568825"/>
                <a:gd name="connsiteX161" fmla="*/ 183381 w 588712"/>
                <a:gd name="connsiteY161" fmla="*/ 46895 h 568825"/>
                <a:gd name="connsiteX162" fmla="*/ 186903 w 588712"/>
                <a:gd name="connsiteY162" fmla="*/ 41033 h 568825"/>
                <a:gd name="connsiteX163" fmla="*/ 266754 w 588712"/>
                <a:gd name="connsiteY163" fmla="*/ 16413 h 568825"/>
                <a:gd name="connsiteX164" fmla="*/ 231526 w 588712"/>
                <a:gd name="connsiteY164" fmla="*/ 23448 h 568825"/>
                <a:gd name="connsiteX165" fmla="*/ 204517 w 588712"/>
                <a:gd name="connsiteY165" fmla="*/ 38688 h 568825"/>
                <a:gd name="connsiteX166" fmla="*/ 104705 w 588712"/>
                <a:gd name="connsiteY166" fmla="*/ 139513 h 568825"/>
                <a:gd name="connsiteX167" fmla="*/ 55385 w 588712"/>
                <a:gd name="connsiteY167" fmla="*/ 187580 h 568825"/>
                <a:gd name="connsiteX168" fmla="*/ 38945 w 588712"/>
                <a:gd name="connsiteY168" fmla="*/ 213372 h 568825"/>
                <a:gd name="connsiteX169" fmla="*/ 33074 w 588712"/>
                <a:gd name="connsiteY169" fmla="*/ 243854 h 568825"/>
                <a:gd name="connsiteX170" fmla="*/ 42468 w 588712"/>
                <a:gd name="connsiteY170" fmla="*/ 248544 h 568825"/>
                <a:gd name="connsiteX171" fmla="*/ 57734 w 588712"/>
                <a:gd name="connsiteY171" fmla="*/ 233303 h 568825"/>
                <a:gd name="connsiteX172" fmla="*/ 70651 w 588712"/>
                <a:gd name="connsiteY172" fmla="*/ 218062 h 568825"/>
                <a:gd name="connsiteX173" fmla="*/ 71825 w 588712"/>
                <a:gd name="connsiteY173" fmla="*/ 214545 h 568825"/>
                <a:gd name="connsiteX174" fmla="*/ 132887 w 588712"/>
                <a:gd name="connsiteY174" fmla="*/ 121927 h 568825"/>
                <a:gd name="connsiteX175" fmla="*/ 276148 w 588712"/>
                <a:gd name="connsiteY175" fmla="*/ 57446 h 568825"/>
                <a:gd name="connsiteX176" fmla="*/ 361870 w 588712"/>
                <a:gd name="connsiteY176" fmla="*/ 65653 h 568825"/>
                <a:gd name="connsiteX177" fmla="*/ 379484 w 588712"/>
                <a:gd name="connsiteY177" fmla="*/ 69170 h 568825"/>
                <a:gd name="connsiteX178" fmla="*/ 380658 w 588712"/>
                <a:gd name="connsiteY178" fmla="*/ 69170 h 568825"/>
                <a:gd name="connsiteX179" fmla="*/ 381832 w 588712"/>
                <a:gd name="connsiteY179" fmla="*/ 69170 h 568825"/>
                <a:gd name="connsiteX180" fmla="*/ 383007 w 588712"/>
                <a:gd name="connsiteY180" fmla="*/ 70343 h 568825"/>
                <a:gd name="connsiteX181" fmla="*/ 392401 w 588712"/>
                <a:gd name="connsiteY181" fmla="*/ 75032 h 568825"/>
                <a:gd name="connsiteX182" fmla="*/ 405318 w 588712"/>
                <a:gd name="connsiteY182" fmla="*/ 75032 h 568825"/>
                <a:gd name="connsiteX183" fmla="*/ 412363 w 588712"/>
                <a:gd name="connsiteY183" fmla="*/ 72687 h 568825"/>
                <a:gd name="connsiteX184" fmla="*/ 411189 w 588712"/>
                <a:gd name="connsiteY184" fmla="*/ 77377 h 568825"/>
                <a:gd name="connsiteX185" fmla="*/ 417060 w 588712"/>
                <a:gd name="connsiteY185" fmla="*/ 86756 h 568825"/>
                <a:gd name="connsiteX186" fmla="*/ 433500 w 588712"/>
                <a:gd name="connsiteY186" fmla="*/ 85583 h 568825"/>
                <a:gd name="connsiteX187" fmla="*/ 447591 w 588712"/>
                <a:gd name="connsiteY187" fmla="*/ 80894 h 568825"/>
                <a:gd name="connsiteX188" fmla="*/ 445243 w 588712"/>
                <a:gd name="connsiteY188" fmla="*/ 90273 h 568825"/>
                <a:gd name="connsiteX189" fmla="*/ 445243 w 588712"/>
                <a:gd name="connsiteY189" fmla="*/ 104341 h 568825"/>
                <a:gd name="connsiteX190" fmla="*/ 462857 w 588712"/>
                <a:gd name="connsiteY190" fmla="*/ 101997 h 568825"/>
                <a:gd name="connsiteX191" fmla="*/ 461683 w 588712"/>
                <a:gd name="connsiteY191" fmla="*/ 82066 h 568825"/>
                <a:gd name="connsiteX192" fmla="*/ 323119 w 588712"/>
                <a:gd name="connsiteY192" fmla="*/ 17586 h 568825"/>
                <a:gd name="connsiteX193" fmla="*/ 303156 w 588712"/>
                <a:gd name="connsiteY193" fmla="*/ 21103 h 568825"/>
                <a:gd name="connsiteX194" fmla="*/ 284368 w 588712"/>
                <a:gd name="connsiteY194" fmla="*/ 30482 h 568825"/>
                <a:gd name="connsiteX195" fmla="*/ 260883 w 588712"/>
                <a:gd name="connsiteY195" fmla="*/ 39861 h 568825"/>
                <a:gd name="connsiteX196" fmla="*/ 258534 w 588712"/>
                <a:gd name="connsiteY196" fmla="*/ 36344 h 568825"/>
                <a:gd name="connsiteX197" fmla="*/ 271451 w 588712"/>
                <a:gd name="connsiteY197" fmla="*/ 25792 h 568825"/>
                <a:gd name="connsiteX198" fmla="*/ 266754 w 588712"/>
                <a:gd name="connsiteY198" fmla="*/ 16413 h 568825"/>
                <a:gd name="connsiteX199" fmla="*/ 300808 w 588712"/>
                <a:gd name="connsiteY199" fmla="*/ 0 h 568825"/>
                <a:gd name="connsiteX200" fmla="*/ 303156 w 588712"/>
                <a:gd name="connsiteY200" fmla="*/ 0 h 568825"/>
                <a:gd name="connsiteX201" fmla="*/ 320770 w 588712"/>
                <a:gd name="connsiteY201" fmla="*/ 1172 h 568825"/>
                <a:gd name="connsiteX202" fmla="*/ 583807 w 588712"/>
                <a:gd name="connsiteY202" fmla="*/ 324748 h 568825"/>
                <a:gd name="connsiteX203" fmla="*/ 284368 w 588712"/>
                <a:gd name="connsiteY203" fmla="*/ 568602 h 568825"/>
                <a:gd name="connsiteX204" fmla="*/ 4892 w 588712"/>
                <a:gd name="connsiteY204" fmla="*/ 243854 h 568825"/>
                <a:gd name="connsiteX205" fmla="*/ 300808 w 588712"/>
                <a:gd name="connsiteY205" fmla="*/ 0 h 56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588712" h="568825">
                  <a:moveTo>
                    <a:pt x="72559" y="332808"/>
                  </a:moveTo>
                  <a:cubicBezTo>
                    <a:pt x="68009" y="333247"/>
                    <a:pt x="63605" y="334713"/>
                    <a:pt x="60082" y="337644"/>
                  </a:cubicBezTo>
                  <a:cubicBezTo>
                    <a:pt x="58908" y="339989"/>
                    <a:pt x="56560" y="342334"/>
                    <a:pt x="54211" y="344678"/>
                  </a:cubicBezTo>
                  <a:cubicBezTo>
                    <a:pt x="48340" y="350540"/>
                    <a:pt x="44817" y="362264"/>
                    <a:pt x="48340" y="370471"/>
                  </a:cubicBezTo>
                  <a:cubicBezTo>
                    <a:pt x="50688" y="377505"/>
                    <a:pt x="58908" y="379850"/>
                    <a:pt x="64779" y="372815"/>
                  </a:cubicBezTo>
                  <a:cubicBezTo>
                    <a:pt x="72999" y="364609"/>
                    <a:pt x="81219" y="356402"/>
                    <a:pt x="89439" y="348196"/>
                  </a:cubicBezTo>
                  <a:cubicBezTo>
                    <a:pt x="96485" y="342334"/>
                    <a:pt x="94136" y="337644"/>
                    <a:pt x="85916" y="334127"/>
                  </a:cubicBezTo>
                  <a:cubicBezTo>
                    <a:pt x="81806" y="332954"/>
                    <a:pt x="77109" y="332368"/>
                    <a:pt x="72559" y="332808"/>
                  </a:cubicBezTo>
                  <a:close/>
                  <a:moveTo>
                    <a:pt x="63605" y="320058"/>
                  </a:moveTo>
                  <a:cubicBezTo>
                    <a:pt x="61257" y="317714"/>
                    <a:pt x="55385" y="320058"/>
                    <a:pt x="49514" y="325920"/>
                  </a:cubicBezTo>
                  <a:cubicBezTo>
                    <a:pt x="49514" y="325920"/>
                    <a:pt x="49514" y="325920"/>
                    <a:pt x="48340" y="325920"/>
                  </a:cubicBezTo>
                  <a:cubicBezTo>
                    <a:pt x="42468" y="332955"/>
                    <a:pt x="37771" y="338817"/>
                    <a:pt x="38945" y="341161"/>
                  </a:cubicBezTo>
                  <a:cubicBezTo>
                    <a:pt x="38945" y="341161"/>
                    <a:pt x="38945" y="342334"/>
                    <a:pt x="38945" y="343506"/>
                  </a:cubicBezTo>
                  <a:cubicBezTo>
                    <a:pt x="40120" y="345851"/>
                    <a:pt x="40120" y="347023"/>
                    <a:pt x="41294" y="348196"/>
                  </a:cubicBezTo>
                  <a:cubicBezTo>
                    <a:pt x="41294" y="351713"/>
                    <a:pt x="47165" y="349368"/>
                    <a:pt x="54211" y="342334"/>
                  </a:cubicBezTo>
                  <a:cubicBezTo>
                    <a:pt x="55385" y="341161"/>
                    <a:pt x="57734" y="338817"/>
                    <a:pt x="58908" y="337644"/>
                  </a:cubicBezTo>
                  <a:cubicBezTo>
                    <a:pt x="65954" y="331782"/>
                    <a:pt x="69476" y="325920"/>
                    <a:pt x="69476" y="325920"/>
                  </a:cubicBezTo>
                  <a:cubicBezTo>
                    <a:pt x="68302" y="324748"/>
                    <a:pt x="68302" y="324748"/>
                    <a:pt x="67128" y="324748"/>
                  </a:cubicBezTo>
                  <a:cubicBezTo>
                    <a:pt x="65954" y="323576"/>
                    <a:pt x="64779" y="321231"/>
                    <a:pt x="63605" y="320058"/>
                  </a:cubicBezTo>
                  <a:close/>
                  <a:moveTo>
                    <a:pt x="259391" y="293003"/>
                  </a:moveTo>
                  <a:cubicBezTo>
                    <a:pt x="259976" y="293441"/>
                    <a:pt x="259098" y="295486"/>
                    <a:pt x="256171" y="298993"/>
                  </a:cubicBezTo>
                  <a:cubicBezTo>
                    <a:pt x="252659" y="304838"/>
                    <a:pt x="247975" y="309513"/>
                    <a:pt x="242121" y="314189"/>
                  </a:cubicBezTo>
                  <a:cubicBezTo>
                    <a:pt x="237438" y="318864"/>
                    <a:pt x="232755" y="322371"/>
                    <a:pt x="228072" y="325877"/>
                  </a:cubicBezTo>
                  <a:cubicBezTo>
                    <a:pt x="221047" y="330553"/>
                    <a:pt x="218705" y="328215"/>
                    <a:pt x="225730" y="322371"/>
                  </a:cubicBezTo>
                  <a:cubicBezTo>
                    <a:pt x="235096" y="314189"/>
                    <a:pt x="244463" y="304838"/>
                    <a:pt x="253829" y="296655"/>
                  </a:cubicBezTo>
                  <a:cubicBezTo>
                    <a:pt x="256757" y="293733"/>
                    <a:pt x="258805" y="292564"/>
                    <a:pt x="259391" y="293003"/>
                  </a:cubicBezTo>
                  <a:close/>
                  <a:moveTo>
                    <a:pt x="55238" y="274336"/>
                  </a:moveTo>
                  <a:cubicBezTo>
                    <a:pt x="53624" y="273750"/>
                    <a:pt x="51275" y="274922"/>
                    <a:pt x="48340" y="277853"/>
                  </a:cubicBezTo>
                  <a:cubicBezTo>
                    <a:pt x="45991" y="280198"/>
                    <a:pt x="43643" y="282542"/>
                    <a:pt x="42468" y="283715"/>
                  </a:cubicBezTo>
                  <a:cubicBezTo>
                    <a:pt x="35423" y="290749"/>
                    <a:pt x="31900" y="301300"/>
                    <a:pt x="31900" y="308335"/>
                  </a:cubicBezTo>
                  <a:cubicBezTo>
                    <a:pt x="33074" y="314197"/>
                    <a:pt x="38945" y="315369"/>
                    <a:pt x="44817" y="309507"/>
                  </a:cubicBezTo>
                  <a:cubicBezTo>
                    <a:pt x="45991" y="308335"/>
                    <a:pt x="45991" y="308335"/>
                    <a:pt x="45991" y="307162"/>
                  </a:cubicBezTo>
                  <a:cubicBezTo>
                    <a:pt x="51862" y="301300"/>
                    <a:pt x="56560" y="289577"/>
                    <a:pt x="57734" y="281370"/>
                  </a:cubicBezTo>
                  <a:cubicBezTo>
                    <a:pt x="57734" y="277267"/>
                    <a:pt x="56853" y="274922"/>
                    <a:pt x="55238" y="274336"/>
                  </a:cubicBezTo>
                  <a:close/>
                  <a:moveTo>
                    <a:pt x="550927" y="251475"/>
                  </a:moveTo>
                  <a:cubicBezTo>
                    <a:pt x="548579" y="250595"/>
                    <a:pt x="545643" y="251475"/>
                    <a:pt x="542707" y="254405"/>
                  </a:cubicBezTo>
                  <a:cubicBezTo>
                    <a:pt x="538010" y="261440"/>
                    <a:pt x="534487" y="273164"/>
                    <a:pt x="534487" y="281370"/>
                  </a:cubicBezTo>
                  <a:cubicBezTo>
                    <a:pt x="534487" y="283715"/>
                    <a:pt x="534487" y="286060"/>
                    <a:pt x="534487" y="287232"/>
                  </a:cubicBezTo>
                  <a:cubicBezTo>
                    <a:pt x="533313" y="296611"/>
                    <a:pt x="535662" y="300128"/>
                    <a:pt x="539184" y="295439"/>
                  </a:cubicBezTo>
                  <a:cubicBezTo>
                    <a:pt x="541533" y="293094"/>
                    <a:pt x="543881" y="289577"/>
                    <a:pt x="547404" y="287232"/>
                  </a:cubicBezTo>
                  <a:cubicBezTo>
                    <a:pt x="548579" y="284887"/>
                    <a:pt x="550927" y="283715"/>
                    <a:pt x="552101" y="281370"/>
                  </a:cubicBezTo>
                  <a:cubicBezTo>
                    <a:pt x="555624" y="277853"/>
                    <a:pt x="556798" y="268474"/>
                    <a:pt x="555624" y="260267"/>
                  </a:cubicBezTo>
                  <a:cubicBezTo>
                    <a:pt x="555624" y="260267"/>
                    <a:pt x="555624" y="259095"/>
                    <a:pt x="555624" y="259095"/>
                  </a:cubicBezTo>
                  <a:cubicBezTo>
                    <a:pt x="555037" y="254992"/>
                    <a:pt x="553276" y="252354"/>
                    <a:pt x="550927" y="251475"/>
                  </a:cubicBezTo>
                  <a:close/>
                  <a:moveTo>
                    <a:pt x="279896" y="233952"/>
                  </a:moveTo>
                  <a:cubicBezTo>
                    <a:pt x="281655" y="233219"/>
                    <a:pt x="282534" y="233806"/>
                    <a:pt x="281948" y="235565"/>
                  </a:cubicBezTo>
                  <a:cubicBezTo>
                    <a:pt x="281948" y="237910"/>
                    <a:pt x="276086" y="246121"/>
                    <a:pt x="270224" y="251985"/>
                  </a:cubicBezTo>
                  <a:cubicBezTo>
                    <a:pt x="244430" y="275443"/>
                    <a:pt x="217465" y="300074"/>
                    <a:pt x="191671" y="324705"/>
                  </a:cubicBezTo>
                  <a:cubicBezTo>
                    <a:pt x="185809" y="330569"/>
                    <a:pt x="179947" y="335261"/>
                    <a:pt x="179947" y="334088"/>
                  </a:cubicBezTo>
                  <a:cubicBezTo>
                    <a:pt x="178775" y="334088"/>
                    <a:pt x="183465" y="329397"/>
                    <a:pt x="189327" y="322359"/>
                  </a:cubicBezTo>
                  <a:cubicBezTo>
                    <a:pt x="224499" y="287172"/>
                    <a:pt x="251465" y="260196"/>
                    <a:pt x="272568" y="240256"/>
                  </a:cubicBezTo>
                  <a:cubicBezTo>
                    <a:pt x="275499" y="236738"/>
                    <a:pt x="278137" y="234685"/>
                    <a:pt x="279896" y="233952"/>
                  </a:cubicBezTo>
                  <a:close/>
                  <a:moveTo>
                    <a:pt x="279084" y="183770"/>
                  </a:moveTo>
                  <a:cubicBezTo>
                    <a:pt x="274974" y="184063"/>
                    <a:pt x="270864" y="185822"/>
                    <a:pt x="267928" y="188752"/>
                  </a:cubicBezTo>
                  <a:cubicBezTo>
                    <a:pt x="250314" y="206338"/>
                    <a:pt x="232700" y="225096"/>
                    <a:pt x="215086" y="242682"/>
                  </a:cubicBezTo>
                  <a:cubicBezTo>
                    <a:pt x="209214" y="248544"/>
                    <a:pt x="202169" y="260267"/>
                    <a:pt x="198646" y="268474"/>
                  </a:cubicBezTo>
                  <a:cubicBezTo>
                    <a:pt x="191600" y="284887"/>
                    <a:pt x="182206" y="298956"/>
                    <a:pt x="168115" y="309507"/>
                  </a:cubicBezTo>
                  <a:cubicBezTo>
                    <a:pt x="154024" y="321231"/>
                    <a:pt x="138758" y="330610"/>
                    <a:pt x="122319" y="335299"/>
                  </a:cubicBezTo>
                  <a:cubicBezTo>
                    <a:pt x="114099" y="337644"/>
                    <a:pt x="108227" y="341161"/>
                    <a:pt x="108227" y="344678"/>
                  </a:cubicBezTo>
                  <a:cubicBezTo>
                    <a:pt x="109402" y="348196"/>
                    <a:pt x="104705" y="356402"/>
                    <a:pt x="98833" y="362264"/>
                  </a:cubicBezTo>
                  <a:cubicBezTo>
                    <a:pt x="90613" y="371643"/>
                    <a:pt x="81219" y="379850"/>
                    <a:pt x="72999" y="389229"/>
                  </a:cubicBezTo>
                  <a:cubicBezTo>
                    <a:pt x="65954" y="395091"/>
                    <a:pt x="64779" y="406814"/>
                    <a:pt x="69476" y="413849"/>
                  </a:cubicBezTo>
                  <a:cubicBezTo>
                    <a:pt x="72999" y="420883"/>
                    <a:pt x="77696" y="427917"/>
                    <a:pt x="82393" y="434951"/>
                  </a:cubicBezTo>
                  <a:cubicBezTo>
                    <a:pt x="87091" y="441986"/>
                    <a:pt x="96485" y="441986"/>
                    <a:pt x="102356" y="436124"/>
                  </a:cubicBezTo>
                  <a:cubicBezTo>
                    <a:pt x="108227" y="431434"/>
                    <a:pt x="114099" y="426745"/>
                    <a:pt x="118796" y="420883"/>
                  </a:cubicBezTo>
                  <a:cubicBezTo>
                    <a:pt x="125841" y="415021"/>
                    <a:pt x="132887" y="415021"/>
                    <a:pt x="135236" y="419710"/>
                  </a:cubicBezTo>
                  <a:cubicBezTo>
                    <a:pt x="137584" y="424400"/>
                    <a:pt x="135236" y="432607"/>
                    <a:pt x="128190" y="438468"/>
                  </a:cubicBezTo>
                  <a:cubicBezTo>
                    <a:pt x="123493" y="443158"/>
                    <a:pt x="118796" y="446675"/>
                    <a:pt x="114099" y="451365"/>
                  </a:cubicBezTo>
                  <a:cubicBezTo>
                    <a:pt x="108227" y="457226"/>
                    <a:pt x="105879" y="465433"/>
                    <a:pt x="110576" y="470123"/>
                  </a:cubicBezTo>
                  <a:cubicBezTo>
                    <a:pt x="114099" y="474812"/>
                    <a:pt x="123493" y="473640"/>
                    <a:pt x="129364" y="467778"/>
                  </a:cubicBezTo>
                  <a:cubicBezTo>
                    <a:pt x="132887" y="464261"/>
                    <a:pt x="136410" y="460744"/>
                    <a:pt x="139933" y="457226"/>
                  </a:cubicBezTo>
                  <a:cubicBezTo>
                    <a:pt x="146978" y="451365"/>
                    <a:pt x="151675" y="447847"/>
                    <a:pt x="152850" y="447847"/>
                  </a:cubicBezTo>
                  <a:cubicBezTo>
                    <a:pt x="152850" y="449020"/>
                    <a:pt x="149327" y="454882"/>
                    <a:pt x="142281" y="460744"/>
                  </a:cubicBezTo>
                  <a:cubicBezTo>
                    <a:pt x="139933" y="464261"/>
                    <a:pt x="136410" y="467778"/>
                    <a:pt x="132887" y="470123"/>
                  </a:cubicBezTo>
                  <a:cubicBezTo>
                    <a:pt x="127016" y="477157"/>
                    <a:pt x="127016" y="486536"/>
                    <a:pt x="134061" y="492398"/>
                  </a:cubicBezTo>
                  <a:cubicBezTo>
                    <a:pt x="139933" y="497087"/>
                    <a:pt x="145804" y="501777"/>
                    <a:pt x="151675" y="506466"/>
                  </a:cubicBezTo>
                  <a:cubicBezTo>
                    <a:pt x="158721" y="512328"/>
                    <a:pt x="170464" y="511156"/>
                    <a:pt x="176335" y="505294"/>
                  </a:cubicBezTo>
                  <a:cubicBezTo>
                    <a:pt x="177509" y="504121"/>
                    <a:pt x="178683" y="502949"/>
                    <a:pt x="178683" y="502949"/>
                  </a:cubicBezTo>
                  <a:cubicBezTo>
                    <a:pt x="185729" y="497087"/>
                    <a:pt x="192775" y="494742"/>
                    <a:pt x="196298" y="497087"/>
                  </a:cubicBezTo>
                  <a:cubicBezTo>
                    <a:pt x="199820" y="500604"/>
                    <a:pt x="197472" y="507639"/>
                    <a:pt x="191600" y="513500"/>
                  </a:cubicBezTo>
                  <a:cubicBezTo>
                    <a:pt x="185729" y="520535"/>
                    <a:pt x="186903" y="528741"/>
                    <a:pt x="195123" y="532258"/>
                  </a:cubicBezTo>
                  <a:cubicBezTo>
                    <a:pt x="200995" y="534603"/>
                    <a:pt x="206866" y="536948"/>
                    <a:pt x="212737" y="539293"/>
                  </a:cubicBezTo>
                  <a:cubicBezTo>
                    <a:pt x="220957" y="542810"/>
                    <a:pt x="230352" y="541638"/>
                    <a:pt x="235049" y="536948"/>
                  </a:cubicBezTo>
                  <a:cubicBezTo>
                    <a:pt x="238571" y="533431"/>
                    <a:pt x="247966" y="533431"/>
                    <a:pt x="256186" y="538120"/>
                  </a:cubicBezTo>
                  <a:cubicBezTo>
                    <a:pt x="256186" y="538120"/>
                    <a:pt x="257360" y="538120"/>
                    <a:pt x="257360" y="538120"/>
                  </a:cubicBezTo>
                  <a:cubicBezTo>
                    <a:pt x="265580" y="542810"/>
                    <a:pt x="270277" y="547499"/>
                    <a:pt x="267928" y="548672"/>
                  </a:cubicBezTo>
                  <a:cubicBezTo>
                    <a:pt x="265580" y="551016"/>
                    <a:pt x="271451" y="554534"/>
                    <a:pt x="279671" y="554534"/>
                  </a:cubicBezTo>
                  <a:cubicBezTo>
                    <a:pt x="299633" y="556878"/>
                    <a:pt x="319596" y="555706"/>
                    <a:pt x="339559" y="551016"/>
                  </a:cubicBezTo>
                  <a:cubicBezTo>
                    <a:pt x="438197" y="532258"/>
                    <a:pt x="518048" y="456054"/>
                    <a:pt x="546230" y="363436"/>
                  </a:cubicBezTo>
                  <a:cubicBezTo>
                    <a:pt x="548579" y="355230"/>
                    <a:pt x="548579" y="348196"/>
                    <a:pt x="547404" y="347023"/>
                  </a:cubicBezTo>
                  <a:cubicBezTo>
                    <a:pt x="546230" y="347023"/>
                    <a:pt x="545056" y="347023"/>
                    <a:pt x="543881" y="345851"/>
                  </a:cubicBezTo>
                  <a:cubicBezTo>
                    <a:pt x="541533" y="344678"/>
                    <a:pt x="539184" y="343506"/>
                    <a:pt x="536836" y="342334"/>
                  </a:cubicBezTo>
                  <a:cubicBezTo>
                    <a:pt x="533313" y="339989"/>
                    <a:pt x="535662" y="334127"/>
                    <a:pt x="541533" y="327093"/>
                  </a:cubicBezTo>
                  <a:cubicBezTo>
                    <a:pt x="542707" y="325920"/>
                    <a:pt x="543881" y="324748"/>
                    <a:pt x="546230" y="322403"/>
                  </a:cubicBezTo>
                  <a:cubicBezTo>
                    <a:pt x="552101" y="316541"/>
                    <a:pt x="557973" y="305990"/>
                    <a:pt x="557973" y="298956"/>
                  </a:cubicBezTo>
                  <a:cubicBezTo>
                    <a:pt x="557973" y="293094"/>
                    <a:pt x="553276" y="291922"/>
                    <a:pt x="547404" y="297783"/>
                  </a:cubicBezTo>
                  <a:cubicBezTo>
                    <a:pt x="542707" y="302473"/>
                    <a:pt x="539184" y="305990"/>
                    <a:pt x="535662" y="309507"/>
                  </a:cubicBezTo>
                  <a:cubicBezTo>
                    <a:pt x="529790" y="315369"/>
                    <a:pt x="522745" y="323576"/>
                    <a:pt x="520396" y="328265"/>
                  </a:cubicBezTo>
                  <a:cubicBezTo>
                    <a:pt x="518048" y="329438"/>
                    <a:pt x="516873" y="331782"/>
                    <a:pt x="514525" y="334127"/>
                  </a:cubicBezTo>
                  <a:cubicBezTo>
                    <a:pt x="480471" y="363436"/>
                    <a:pt x="434674" y="352885"/>
                    <a:pt x="406492" y="318886"/>
                  </a:cubicBezTo>
                  <a:cubicBezTo>
                    <a:pt x="367741" y="270819"/>
                    <a:pt x="333687" y="223924"/>
                    <a:pt x="290239" y="187580"/>
                  </a:cubicBezTo>
                  <a:cubicBezTo>
                    <a:pt x="287304" y="184649"/>
                    <a:pt x="283194" y="183477"/>
                    <a:pt x="279084" y="183770"/>
                  </a:cubicBezTo>
                  <a:close/>
                  <a:moveTo>
                    <a:pt x="522598" y="165891"/>
                  </a:moveTo>
                  <a:cubicBezTo>
                    <a:pt x="519515" y="165012"/>
                    <a:pt x="516286" y="165891"/>
                    <a:pt x="513350" y="168822"/>
                  </a:cubicBezTo>
                  <a:cubicBezTo>
                    <a:pt x="507479" y="173512"/>
                    <a:pt x="506305" y="184063"/>
                    <a:pt x="509828" y="192270"/>
                  </a:cubicBezTo>
                  <a:cubicBezTo>
                    <a:pt x="515699" y="203993"/>
                    <a:pt x="520396" y="216889"/>
                    <a:pt x="525093" y="229786"/>
                  </a:cubicBezTo>
                  <a:cubicBezTo>
                    <a:pt x="527442" y="237992"/>
                    <a:pt x="533313" y="240337"/>
                    <a:pt x="539184" y="234475"/>
                  </a:cubicBezTo>
                  <a:cubicBezTo>
                    <a:pt x="545056" y="228613"/>
                    <a:pt x="547404" y="218062"/>
                    <a:pt x="545056" y="209855"/>
                  </a:cubicBezTo>
                  <a:cubicBezTo>
                    <a:pt x="540359" y="196959"/>
                    <a:pt x="535662" y="185235"/>
                    <a:pt x="530965" y="173512"/>
                  </a:cubicBezTo>
                  <a:cubicBezTo>
                    <a:pt x="528616" y="169409"/>
                    <a:pt x="525680" y="166771"/>
                    <a:pt x="522598" y="165891"/>
                  </a:cubicBezTo>
                  <a:close/>
                  <a:moveTo>
                    <a:pt x="231673" y="152556"/>
                  </a:moveTo>
                  <a:cubicBezTo>
                    <a:pt x="227122" y="153288"/>
                    <a:pt x="222719" y="155340"/>
                    <a:pt x="219783" y="158271"/>
                  </a:cubicBezTo>
                  <a:cubicBezTo>
                    <a:pt x="213912" y="164133"/>
                    <a:pt x="209214" y="175856"/>
                    <a:pt x="210389" y="184063"/>
                  </a:cubicBezTo>
                  <a:cubicBezTo>
                    <a:pt x="210389" y="194614"/>
                    <a:pt x="211563" y="203993"/>
                    <a:pt x="211563" y="212200"/>
                  </a:cubicBezTo>
                  <a:cubicBezTo>
                    <a:pt x="211563" y="221579"/>
                    <a:pt x="212737" y="226268"/>
                    <a:pt x="213912" y="225096"/>
                  </a:cubicBezTo>
                  <a:cubicBezTo>
                    <a:pt x="215086" y="223924"/>
                    <a:pt x="216260" y="222751"/>
                    <a:pt x="217434" y="221579"/>
                  </a:cubicBezTo>
                  <a:cubicBezTo>
                    <a:pt x="233874" y="206338"/>
                    <a:pt x="246791" y="193442"/>
                    <a:pt x="258534" y="181718"/>
                  </a:cubicBezTo>
                  <a:cubicBezTo>
                    <a:pt x="265580" y="175856"/>
                    <a:pt x="264405" y="167650"/>
                    <a:pt x="257360" y="162960"/>
                  </a:cubicBezTo>
                  <a:cubicBezTo>
                    <a:pt x="252663" y="159443"/>
                    <a:pt x="249140" y="157098"/>
                    <a:pt x="244443" y="154754"/>
                  </a:cubicBezTo>
                  <a:cubicBezTo>
                    <a:pt x="240920" y="152409"/>
                    <a:pt x="236223" y="151823"/>
                    <a:pt x="231673" y="152556"/>
                  </a:cubicBezTo>
                  <a:close/>
                  <a:moveTo>
                    <a:pt x="501608" y="147719"/>
                  </a:moveTo>
                  <a:cubicBezTo>
                    <a:pt x="495736" y="153581"/>
                    <a:pt x="493388" y="161788"/>
                    <a:pt x="496911" y="166477"/>
                  </a:cubicBezTo>
                  <a:cubicBezTo>
                    <a:pt x="499259" y="171167"/>
                    <a:pt x="505131" y="171167"/>
                    <a:pt x="511002" y="165305"/>
                  </a:cubicBezTo>
                  <a:cubicBezTo>
                    <a:pt x="516873" y="160615"/>
                    <a:pt x="519222" y="152409"/>
                    <a:pt x="515699" y="147719"/>
                  </a:cubicBezTo>
                  <a:cubicBezTo>
                    <a:pt x="513350" y="143030"/>
                    <a:pt x="506305" y="143030"/>
                    <a:pt x="501608" y="147719"/>
                  </a:cubicBezTo>
                  <a:close/>
                  <a:moveTo>
                    <a:pt x="212737" y="138340"/>
                  </a:moveTo>
                  <a:cubicBezTo>
                    <a:pt x="210389" y="137168"/>
                    <a:pt x="206866" y="140685"/>
                    <a:pt x="206866" y="145375"/>
                  </a:cubicBezTo>
                  <a:cubicBezTo>
                    <a:pt x="206866" y="151236"/>
                    <a:pt x="210389" y="151236"/>
                    <a:pt x="212737" y="147719"/>
                  </a:cubicBezTo>
                  <a:cubicBezTo>
                    <a:pt x="216260" y="144202"/>
                    <a:pt x="216260" y="140685"/>
                    <a:pt x="212737" y="138340"/>
                  </a:cubicBezTo>
                  <a:close/>
                  <a:moveTo>
                    <a:pt x="487370" y="113427"/>
                  </a:moveTo>
                  <a:cubicBezTo>
                    <a:pt x="483700" y="112841"/>
                    <a:pt x="479884" y="113721"/>
                    <a:pt x="476948" y="116065"/>
                  </a:cubicBezTo>
                  <a:cubicBezTo>
                    <a:pt x="472251" y="121927"/>
                    <a:pt x="469903" y="128961"/>
                    <a:pt x="473425" y="132478"/>
                  </a:cubicBezTo>
                  <a:cubicBezTo>
                    <a:pt x="475774" y="134823"/>
                    <a:pt x="476948" y="137168"/>
                    <a:pt x="479297" y="139513"/>
                  </a:cubicBezTo>
                  <a:cubicBezTo>
                    <a:pt x="480471" y="141857"/>
                    <a:pt x="481645" y="144202"/>
                    <a:pt x="483994" y="146547"/>
                  </a:cubicBezTo>
                  <a:cubicBezTo>
                    <a:pt x="486342" y="150064"/>
                    <a:pt x="492214" y="148892"/>
                    <a:pt x="498085" y="144202"/>
                  </a:cubicBezTo>
                  <a:cubicBezTo>
                    <a:pt x="493388" y="150064"/>
                    <a:pt x="493388" y="150064"/>
                    <a:pt x="499259" y="144202"/>
                  </a:cubicBezTo>
                  <a:cubicBezTo>
                    <a:pt x="503956" y="139513"/>
                    <a:pt x="503956" y="139513"/>
                    <a:pt x="498085" y="144202"/>
                  </a:cubicBezTo>
                  <a:cubicBezTo>
                    <a:pt x="503956" y="138340"/>
                    <a:pt x="503956" y="128961"/>
                    <a:pt x="499259" y="121927"/>
                  </a:cubicBezTo>
                  <a:cubicBezTo>
                    <a:pt x="498085" y="120755"/>
                    <a:pt x="498085" y="119582"/>
                    <a:pt x="496911" y="119582"/>
                  </a:cubicBezTo>
                  <a:cubicBezTo>
                    <a:pt x="494562" y="116065"/>
                    <a:pt x="491039" y="114014"/>
                    <a:pt x="487370" y="113427"/>
                  </a:cubicBezTo>
                  <a:close/>
                  <a:moveTo>
                    <a:pt x="279524" y="71955"/>
                  </a:moveTo>
                  <a:cubicBezTo>
                    <a:pt x="229764" y="72394"/>
                    <a:pt x="181032" y="91446"/>
                    <a:pt x="144630" y="135996"/>
                  </a:cubicBezTo>
                  <a:cubicBezTo>
                    <a:pt x="116447" y="171167"/>
                    <a:pt x="81219" y="233303"/>
                    <a:pt x="87091" y="282542"/>
                  </a:cubicBezTo>
                  <a:cubicBezTo>
                    <a:pt x="88265" y="291922"/>
                    <a:pt x="97659" y="300128"/>
                    <a:pt x="105879" y="302473"/>
                  </a:cubicBezTo>
                  <a:cubicBezTo>
                    <a:pt x="144630" y="309507"/>
                    <a:pt x="166941" y="295439"/>
                    <a:pt x="175161" y="257923"/>
                  </a:cubicBezTo>
                  <a:cubicBezTo>
                    <a:pt x="176335" y="254405"/>
                    <a:pt x="177509" y="249716"/>
                    <a:pt x="177509" y="246199"/>
                  </a:cubicBezTo>
                  <a:cubicBezTo>
                    <a:pt x="179858" y="240337"/>
                    <a:pt x="182206" y="227441"/>
                    <a:pt x="182206" y="219234"/>
                  </a:cubicBezTo>
                  <a:cubicBezTo>
                    <a:pt x="184555" y="193442"/>
                    <a:pt x="183381" y="168822"/>
                    <a:pt x="181032" y="141857"/>
                  </a:cubicBezTo>
                  <a:cubicBezTo>
                    <a:pt x="178683" y="131306"/>
                    <a:pt x="178683" y="128961"/>
                    <a:pt x="186903" y="120755"/>
                  </a:cubicBezTo>
                  <a:cubicBezTo>
                    <a:pt x="188078" y="119582"/>
                    <a:pt x="190426" y="118410"/>
                    <a:pt x="193949" y="118410"/>
                  </a:cubicBezTo>
                  <a:cubicBezTo>
                    <a:pt x="198646" y="117238"/>
                    <a:pt x="203343" y="116065"/>
                    <a:pt x="205692" y="116065"/>
                  </a:cubicBezTo>
                  <a:cubicBezTo>
                    <a:pt x="208040" y="116065"/>
                    <a:pt x="209214" y="116065"/>
                    <a:pt x="210389" y="116065"/>
                  </a:cubicBezTo>
                  <a:cubicBezTo>
                    <a:pt x="293762" y="141857"/>
                    <a:pt x="354824" y="199304"/>
                    <a:pt x="405318" y="268474"/>
                  </a:cubicBezTo>
                  <a:cubicBezTo>
                    <a:pt x="418235" y="286060"/>
                    <a:pt x="432326" y="311852"/>
                    <a:pt x="452288" y="323576"/>
                  </a:cubicBezTo>
                  <a:cubicBezTo>
                    <a:pt x="507479" y="355230"/>
                    <a:pt x="501608" y="286060"/>
                    <a:pt x="496911" y="260267"/>
                  </a:cubicBezTo>
                  <a:cubicBezTo>
                    <a:pt x="487517" y="206338"/>
                    <a:pt x="465205" y="153581"/>
                    <a:pt x="420583" y="119582"/>
                  </a:cubicBezTo>
                  <a:cubicBezTo>
                    <a:pt x="380071" y="89687"/>
                    <a:pt x="329284" y="71515"/>
                    <a:pt x="279524" y="71955"/>
                  </a:cubicBezTo>
                  <a:close/>
                  <a:moveTo>
                    <a:pt x="186903" y="41033"/>
                  </a:moveTo>
                  <a:cubicBezTo>
                    <a:pt x="186316" y="40154"/>
                    <a:pt x="183968" y="40447"/>
                    <a:pt x="179858" y="42206"/>
                  </a:cubicBezTo>
                  <a:cubicBezTo>
                    <a:pt x="127016" y="69170"/>
                    <a:pt x="82393" y="113720"/>
                    <a:pt x="56560" y="166477"/>
                  </a:cubicBezTo>
                  <a:cubicBezTo>
                    <a:pt x="53037" y="174684"/>
                    <a:pt x="55385" y="175856"/>
                    <a:pt x="61257" y="169994"/>
                  </a:cubicBezTo>
                  <a:cubicBezTo>
                    <a:pt x="102356" y="128961"/>
                    <a:pt x="142281" y="87928"/>
                    <a:pt x="183381" y="46895"/>
                  </a:cubicBezTo>
                  <a:cubicBezTo>
                    <a:pt x="186316" y="43964"/>
                    <a:pt x="187491" y="41912"/>
                    <a:pt x="186903" y="41033"/>
                  </a:cubicBezTo>
                  <a:close/>
                  <a:moveTo>
                    <a:pt x="266754" y="16413"/>
                  </a:moveTo>
                  <a:cubicBezTo>
                    <a:pt x="255011" y="17586"/>
                    <a:pt x="243269" y="19930"/>
                    <a:pt x="231526" y="23448"/>
                  </a:cubicBezTo>
                  <a:cubicBezTo>
                    <a:pt x="223306" y="25792"/>
                    <a:pt x="211563" y="32827"/>
                    <a:pt x="204517" y="38688"/>
                  </a:cubicBezTo>
                  <a:cubicBezTo>
                    <a:pt x="171638" y="72687"/>
                    <a:pt x="137584" y="105514"/>
                    <a:pt x="104705" y="139513"/>
                  </a:cubicBezTo>
                  <a:cubicBezTo>
                    <a:pt x="88265" y="155926"/>
                    <a:pt x="71825" y="171167"/>
                    <a:pt x="55385" y="187580"/>
                  </a:cubicBezTo>
                  <a:cubicBezTo>
                    <a:pt x="48340" y="193442"/>
                    <a:pt x="41294" y="205166"/>
                    <a:pt x="38945" y="213372"/>
                  </a:cubicBezTo>
                  <a:cubicBezTo>
                    <a:pt x="36597" y="222751"/>
                    <a:pt x="34248" y="233303"/>
                    <a:pt x="33074" y="243854"/>
                  </a:cubicBezTo>
                  <a:cubicBezTo>
                    <a:pt x="31900" y="252061"/>
                    <a:pt x="36597" y="254405"/>
                    <a:pt x="42468" y="248544"/>
                  </a:cubicBezTo>
                  <a:cubicBezTo>
                    <a:pt x="47165" y="242682"/>
                    <a:pt x="53037" y="237992"/>
                    <a:pt x="57734" y="233303"/>
                  </a:cubicBezTo>
                  <a:cubicBezTo>
                    <a:pt x="63605" y="227441"/>
                    <a:pt x="69476" y="220407"/>
                    <a:pt x="70651" y="218062"/>
                  </a:cubicBezTo>
                  <a:cubicBezTo>
                    <a:pt x="70651" y="216889"/>
                    <a:pt x="71825" y="215717"/>
                    <a:pt x="71825" y="214545"/>
                  </a:cubicBezTo>
                  <a:cubicBezTo>
                    <a:pt x="85916" y="178201"/>
                    <a:pt x="104705" y="150064"/>
                    <a:pt x="132887" y="121927"/>
                  </a:cubicBezTo>
                  <a:cubicBezTo>
                    <a:pt x="168115" y="85583"/>
                    <a:pt x="225655" y="60964"/>
                    <a:pt x="276148" y="57446"/>
                  </a:cubicBezTo>
                  <a:cubicBezTo>
                    <a:pt x="304331" y="56274"/>
                    <a:pt x="333687" y="58619"/>
                    <a:pt x="361870" y="65653"/>
                  </a:cubicBezTo>
                  <a:cubicBezTo>
                    <a:pt x="371264" y="67998"/>
                    <a:pt x="378310" y="69170"/>
                    <a:pt x="379484" y="69170"/>
                  </a:cubicBezTo>
                  <a:cubicBezTo>
                    <a:pt x="379484" y="69170"/>
                    <a:pt x="379484" y="69170"/>
                    <a:pt x="380658" y="69170"/>
                  </a:cubicBezTo>
                  <a:cubicBezTo>
                    <a:pt x="380658" y="69170"/>
                    <a:pt x="381832" y="69170"/>
                    <a:pt x="381832" y="69170"/>
                  </a:cubicBezTo>
                  <a:cubicBezTo>
                    <a:pt x="383007" y="69170"/>
                    <a:pt x="383007" y="70343"/>
                    <a:pt x="383007" y="70343"/>
                  </a:cubicBezTo>
                  <a:cubicBezTo>
                    <a:pt x="383007" y="71515"/>
                    <a:pt x="386529" y="72687"/>
                    <a:pt x="392401" y="75032"/>
                  </a:cubicBezTo>
                  <a:cubicBezTo>
                    <a:pt x="398272" y="77377"/>
                    <a:pt x="404143" y="77377"/>
                    <a:pt x="405318" y="75032"/>
                  </a:cubicBezTo>
                  <a:cubicBezTo>
                    <a:pt x="407666" y="72687"/>
                    <a:pt x="411189" y="71515"/>
                    <a:pt x="412363" y="72687"/>
                  </a:cubicBezTo>
                  <a:cubicBezTo>
                    <a:pt x="414712" y="72687"/>
                    <a:pt x="413538" y="75032"/>
                    <a:pt x="411189" y="77377"/>
                  </a:cubicBezTo>
                  <a:cubicBezTo>
                    <a:pt x="408841" y="79722"/>
                    <a:pt x="412363" y="83239"/>
                    <a:pt x="417060" y="86756"/>
                  </a:cubicBezTo>
                  <a:cubicBezTo>
                    <a:pt x="422932" y="89101"/>
                    <a:pt x="429977" y="89101"/>
                    <a:pt x="433500" y="85583"/>
                  </a:cubicBezTo>
                  <a:cubicBezTo>
                    <a:pt x="437023" y="80894"/>
                    <a:pt x="444069" y="79722"/>
                    <a:pt x="447591" y="80894"/>
                  </a:cubicBezTo>
                  <a:cubicBezTo>
                    <a:pt x="451114" y="82066"/>
                    <a:pt x="449940" y="85583"/>
                    <a:pt x="445243" y="90273"/>
                  </a:cubicBezTo>
                  <a:cubicBezTo>
                    <a:pt x="440546" y="94962"/>
                    <a:pt x="440546" y="100824"/>
                    <a:pt x="445243" y="104341"/>
                  </a:cubicBezTo>
                  <a:cubicBezTo>
                    <a:pt x="449940" y="107859"/>
                    <a:pt x="458160" y="106686"/>
                    <a:pt x="462857" y="101997"/>
                  </a:cubicBezTo>
                  <a:cubicBezTo>
                    <a:pt x="468728" y="97307"/>
                    <a:pt x="468728" y="87928"/>
                    <a:pt x="461683" y="82066"/>
                  </a:cubicBezTo>
                  <a:cubicBezTo>
                    <a:pt x="424106" y="49240"/>
                    <a:pt x="377135" y="26965"/>
                    <a:pt x="323119" y="17586"/>
                  </a:cubicBezTo>
                  <a:cubicBezTo>
                    <a:pt x="314899" y="16413"/>
                    <a:pt x="305505" y="17586"/>
                    <a:pt x="303156" y="21103"/>
                  </a:cubicBezTo>
                  <a:cubicBezTo>
                    <a:pt x="300808" y="23448"/>
                    <a:pt x="292588" y="26965"/>
                    <a:pt x="284368" y="30482"/>
                  </a:cubicBezTo>
                  <a:cubicBezTo>
                    <a:pt x="276148" y="32827"/>
                    <a:pt x="269102" y="36344"/>
                    <a:pt x="260883" y="39861"/>
                  </a:cubicBezTo>
                  <a:cubicBezTo>
                    <a:pt x="253837" y="43378"/>
                    <a:pt x="252663" y="42206"/>
                    <a:pt x="258534" y="36344"/>
                  </a:cubicBezTo>
                  <a:cubicBezTo>
                    <a:pt x="263231" y="32827"/>
                    <a:pt x="266754" y="29309"/>
                    <a:pt x="271451" y="25792"/>
                  </a:cubicBezTo>
                  <a:cubicBezTo>
                    <a:pt x="277322" y="19930"/>
                    <a:pt x="274974" y="15241"/>
                    <a:pt x="266754" y="16413"/>
                  </a:cubicBezTo>
                  <a:close/>
                  <a:moveTo>
                    <a:pt x="300808" y="0"/>
                  </a:moveTo>
                  <a:cubicBezTo>
                    <a:pt x="301982" y="0"/>
                    <a:pt x="301982" y="0"/>
                    <a:pt x="303156" y="0"/>
                  </a:cubicBezTo>
                  <a:cubicBezTo>
                    <a:pt x="304331" y="0"/>
                    <a:pt x="312550" y="0"/>
                    <a:pt x="320770" y="1172"/>
                  </a:cubicBezTo>
                  <a:cubicBezTo>
                    <a:pt x="479297" y="16413"/>
                    <a:pt x="616686" y="157098"/>
                    <a:pt x="583807" y="324748"/>
                  </a:cubicBezTo>
                  <a:cubicBezTo>
                    <a:pt x="556798" y="464261"/>
                    <a:pt x="431152" y="574464"/>
                    <a:pt x="284368" y="568602"/>
                  </a:cubicBezTo>
                  <a:cubicBezTo>
                    <a:pt x="119970" y="561568"/>
                    <a:pt x="-29162" y="417366"/>
                    <a:pt x="4892" y="243854"/>
                  </a:cubicBezTo>
                  <a:cubicBezTo>
                    <a:pt x="33074" y="97307"/>
                    <a:pt x="154024" y="5862"/>
                    <a:pt x="300808" y="0"/>
                  </a:cubicBezTo>
                  <a:close/>
                </a:path>
              </a:pathLst>
            </a:custGeom>
            <a:solidFill>
              <a:schemeClr val="bg1"/>
            </a:solidFill>
            <a:ln w="9525">
              <a:no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222" name="îṡľîḓe">
            <a:extLst>
              <a:ext uri="{FF2B5EF4-FFF2-40B4-BE49-F238E27FC236}">
                <a16:creationId xmlns:a16="http://schemas.microsoft.com/office/drawing/2014/main" id="{A404578C-1FF3-45DB-BAD6-1A72DFC8EDF2}"/>
              </a:ext>
            </a:extLst>
          </p:cNvPr>
          <p:cNvGrpSpPr/>
          <p:nvPr/>
        </p:nvGrpSpPr>
        <p:grpSpPr>
          <a:xfrm>
            <a:off x="6270337" y="2988437"/>
            <a:ext cx="748886" cy="748886"/>
            <a:chOff x="3070889" y="2326864"/>
            <a:chExt cx="748886" cy="748886"/>
          </a:xfrm>
        </p:grpSpPr>
        <p:sp>
          <p:nvSpPr>
            <p:cNvPr id="223" name="iśḷîḓè">
              <a:extLst>
                <a:ext uri="{FF2B5EF4-FFF2-40B4-BE49-F238E27FC236}">
                  <a16:creationId xmlns:a16="http://schemas.microsoft.com/office/drawing/2014/main" id="{F63B9C55-7715-4562-A2C2-6EB7C482FB1B}"/>
                </a:ext>
              </a:extLst>
            </p:cNvPr>
            <p:cNvSpPr/>
            <p:nvPr/>
          </p:nvSpPr>
          <p:spPr bwMode="auto">
            <a:xfrm>
              <a:off x="3070889" y="2326864"/>
              <a:ext cx="748886" cy="748886"/>
            </a:xfrm>
            <a:prstGeom prst="ellipse">
              <a:avLst/>
            </a:prstGeom>
            <a:solidFill>
              <a:schemeClr val="tx1">
                <a:lumMod val="50000"/>
                <a:lumOff val="50000"/>
              </a:schemeClr>
            </a:solidFill>
            <a:ln w="38100">
              <a:solidFill>
                <a:schemeClr val="bg1"/>
              </a:solid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24" name="îṥ1îḍè">
              <a:extLst>
                <a:ext uri="{FF2B5EF4-FFF2-40B4-BE49-F238E27FC236}">
                  <a16:creationId xmlns:a16="http://schemas.microsoft.com/office/drawing/2014/main" id="{20566537-621E-4289-B67D-586CEA2DD7B6}"/>
                </a:ext>
              </a:extLst>
            </p:cNvPr>
            <p:cNvSpPr/>
            <p:nvPr/>
          </p:nvSpPr>
          <p:spPr bwMode="auto">
            <a:xfrm>
              <a:off x="3262150" y="2518402"/>
              <a:ext cx="366362" cy="365808"/>
            </a:xfrm>
            <a:custGeom>
              <a:avLst/>
              <a:gdLst>
                <a:gd name="T0" fmla="*/ 5980 w 6635"/>
                <a:gd name="T1" fmla="*/ 2663 h 6635"/>
                <a:gd name="T2" fmla="*/ 5420 w 6635"/>
                <a:gd name="T3" fmla="*/ 2986 h 6635"/>
                <a:gd name="T4" fmla="*/ 4403 w 6635"/>
                <a:gd name="T5" fmla="*/ 2986 h 6635"/>
                <a:gd name="T6" fmla="*/ 4229 w 6635"/>
                <a:gd name="T7" fmla="*/ 2640 h 6635"/>
                <a:gd name="T8" fmla="*/ 5219 w 6635"/>
                <a:gd name="T9" fmla="*/ 1650 h 6635"/>
                <a:gd name="T10" fmla="*/ 5663 w 6635"/>
                <a:gd name="T11" fmla="*/ 1558 h 6635"/>
                <a:gd name="T12" fmla="*/ 5663 w 6635"/>
                <a:gd name="T13" fmla="*/ 972 h 6635"/>
                <a:gd name="T14" fmla="*/ 5077 w 6635"/>
                <a:gd name="T15" fmla="*/ 972 h 6635"/>
                <a:gd name="T16" fmla="*/ 4984 w 6635"/>
                <a:gd name="T17" fmla="*/ 1416 h 6635"/>
                <a:gd name="T18" fmla="*/ 3995 w 6635"/>
                <a:gd name="T19" fmla="*/ 2405 h 6635"/>
                <a:gd name="T20" fmla="*/ 3649 w 6635"/>
                <a:gd name="T21" fmla="*/ 2232 h 6635"/>
                <a:gd name="T22" fmla="*/ 3649 w 6635"/>
                <a:gd name="T23" fmla="*/ 1215 h 6635"/>
                <a:gd name="T24" fmla="*/ 3972 w 6635"/>
                <a:gd name="T25" fmla="*/ 654 h 6635"/>
                <a:gd name="T26" fmla="*/ 3317 w 6635"/>
                <a:gd name="T27" fmla="*/ 0 h 6635"/>
                <a:gd name="T28" fmla="*/ 2663 w 6635"/>
                <a:gd name="T29" fmla="*/ 654 h 6635"/>
                <a:gd name="T30" fmla="*/ 2986 w 6635"/>
                <a:gd name="T31" fmla="*/ 1215 h 6635"/>
                <a:gd name="T32" fmla="*/ 2986 w 6635"/>
                <a:gd name="T33" fmla="*/ 2232 h 6635"/>
                <a:gd name="T34" fmla="*/ 2640 w 6635"/>
                <a:gd name="T35" fmla="*/ 2405 h 6635"/>
                <a:gd name="T36" fmla="*/ 1650 w 6635"/>
                <a:gd name="T37" fmla="*/ 1416 h 6635"/>
                <a:gd name="T38" fmla="*/ 1558 w 6635"/>
                <a:gd name="T39" fmla="*/ 972 h 6635"/>
                <a:gd name="T40" fmla="*/ 972 w 6635"/>
                <a:gd name="T41" fmla="*/ 972 h 6635"/>
                <a:gd name="T42" fmla="*/ 972 w 6635"/>
                <a:gd name="T43" fmla="*/ 1558 h 6635"/>
                <a:gd name="T44" fmla="*/ 1416 w 6635"/>
                <a:gd name="T45" fmla="*/ 1651 h 6635"/>
                <a:gd name="T46" fmla="*/ 2405 w 6635"/>
                <a:gd name="T47" fmla="*/ 2640 h 6635"/>
                <a:gd name="T48" fmla="*/ 2232 w 6635"/>
                <a:gd name="T49" fmla="*/ 2986 h 6635"/>
                <a:gd name="T50" fmla="*/ 1215 w 6635"/>
                <a:gd name="T51" fmla="*/ 2986 h 6635"/>
                <a:gd name="T52" fmla="*/ 654 w 6635"/>
                <a:gd name="T53" fmla="*/ 2663 h 6635"/>
                <a:gd name="T54" fmla="*/ 0 w 6635"/>
                <a:gd name="T55" fmla="*/ 3317 h 6635"/>
                <a:gd name="T56" fmla="*/ 654 w 6635"/>
                <a:gd name="T57" fmla="*/ 3972 h 6635"/>
                <a:gd name="T58" fmla="*/ 1215 w 6635"/>
                <a:gd name="T59" fmla="*/ 3649 h 6635"/>
                <a:gd name="T60" fmla="*/ 2232 w 6635"/>
                <a:gd name="T61" fmla="*/ 3649 h 6635"/>
                <a:gd name="T62" fmla="*/ 2405 w 6635"/>
                <a:gd name="T63" fmla="*/ 3995 h 6635"/>
                <a:gd name="T64" fmla="*/ 1416 w 6635"/>
                <a:gd name="T65" fmla="*/ 4984 h 6635"/>
                <a:gd name="T66" fmla="*/ 972 w 6635"/>
                <a:gd name="T67" fmla="*/ 5077 h 6635"/>
                <a:gd name="T68" fmla="*/ 972 w 6635"/>
                <a:gd name="T69" fmla="*/ 5663 h 6635"/>
                <a:gd name="T70" fmla="*/ 1558 w 6635"/>
                <a:gd name="T71" fmla="*/ 5663 h 6635"/>
                <a:gd name="T72" fmla="*/ 1651 w 6635"/>
                <a:gd name="T73" fmla="*/ 5219 h 6635"/>
                <a:gd name="T74" fmla="*/ 2640 w 6635"/>
                <a:gd name="T75" fmla="*/ 4230 h 6635"/>
                <a:gd name="T76" fmla="*/ 2986 w 6635"/>
                <a:gd name="T77" fmla="*/ 4403 h 6635"/>
                <a:gd name="T78" fmla="*/ 2986 w 6635"/>
                <a:gd name="T79" fmla="*/ 5419 h 6635"/>
                <a:gd name="T80" fmla="*/ 2663 w 6635"/>
                <a:gd name="T81" fmla="*/ 5980 h 6635"/>
                <a:gd name="T82" fmla="*/ 3317 w 6635"/>
                <a:gd name="T83" fmla="*/ 6635 h 6635"/>
                <a:gd name="T84" fmla="*/ 3972 w 6635"/>
                <a:gd name="T85" fmla="*/ 5980 h 6635"/>
                <a:gd name="T86" fmla="*/ 3649 w 6635"/>
                <a:gd name="T87" fmla="*/ 5420 h 6635"/>
                <a:gd name="T88" fmla="*/ 3649 w 6635"/>
                <a:gd name="T89" fmla="*/ 4403 h 6635"/>
                <a:gd name="T90" fmla="*/ 3995 w 6635"/>
                <a:gd name="T91" fmla="*/ 4229 h 6635"/>
                <a:gd name="T92" fmla="*/ 4984 w 6635"/>
                <a:gd name="T93" fmla="*/ 5219 h 6635"/>
                <a:gd name="T94" fmla="*/ 5077 w 6635"/>
                <a:gd name="T95" fmla="*/ 5663 h 6635"/>
                <a:gd name="T96" fmla="*/ 5663 w 6635"/>
                <a:gd name="T97" fmla="*/ 5663 h 6635"/>
                <a:gd name="T98" fmla="*/ 5663 w 6635"/>
                <a:gd name="T99" fmla="*/ 5077 h 6635"/>
                <a:gd name="T100" fmla="*/ 5219 w 6635"/>
                <a:gd name="T101" fmla="*/ 4984 h 6635"/>
                <a:gd name="T102" fmla="*/ 4229 w 6635"/>
                <a:gd name="T103" fmla="*/ 3995 h 6635"/>
                <a:gd name="T104" fmla="*/ 4403 w 6635"/>
                <a:gd name="T105" fmla="*/ 3649 h 6635"/>
                <a:gd name="T106" fmla="*/ 5420 w 6635"/>
                <a:gd name="T107" fmla="*/ 3649 h 6635"/>
                <a:gd name="T108" fmla="*/ 5981 w 6635"/>
                <a:gd name="T109" fmla="*/ 3972 h 6635"/>
                <a:gd name="T110" fmla="*/ 6635 w 6635"/>
                <a:gd name="T111" fmla="*/ 3317 h 6635"/>
                <a:gd name="T112" fmla="*/ 5980 w 6635"/>
                <a:gd name="T113" fmla="*/ 2663 h 6635"/>
                <a:gd name="T114" fmla="*/ 3317 w 6635"/>
                <a:gd name="T115" fmla="*/ 4016 h 6635"/>
                <a:gd name="T116" fmla="*/ 2619 w 6635"/>
                <a:gd name="T117" fmla="*/ 3317 h 6635"/>
                <a:gd name="T118" fmla="*/ 3317 w 6635"/>
                <a:gd name="T119" fmla="*/ 2619 h 6635"/>
                <a:gd name="T120" fmla="*/ 4015 w 6635"/>
                <a:gd name="T121" fmla="*/ 3317 h 6635"/>
                <a:gd name="T122" fmla="*/ 3317 w 6635"/>
                <a:gd name="T123" fmla="*/ 4016 h 6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35" h="6635">
                  <a:moveTo>
                    <a:pt x="5980" y="2663"/>
                  </a:moveTo>
                  <a:cubicBezTo>
                    <a:pt x="5741" y="2663"/>
                    <a:pt x="5533" y="2793"/>
                    <a:pt x="5420" y="2986"/>
                  </a:cubicBezTo>
                  <a:lnTo>
                    <a:pt x="4403" y="2986"/>
                  </a:lnTo>
                  <a:cubicBezTo>
                    <a:pt x="4364" y="2860"/>
                    <a:pt x="4306" y="2743"/>
                    <a:pt x="4229" y="2640"/>
                  </a:cubicBezTo>
                  <a:lnTo>
                    <a:pt x="5219" y="1650"/>
                  </a:lnTo>
                  <a:cubicBezTo>
                    <a:pt x="5368" y="1709"/>
                    <a:pt x="5543" y="1678"/>
                    <a:pt x="5663" y="1558"/>
                  </a:cubicBezTo>
                  <a:cubicBezTo>
                    <a:pt x="5825" y="1396"/>
                    <a:pt x="5825" y="1134"/>
                    <a:pt x="5663" y="972"/>
                  </a:cubicBezTo>
                  <a:cubicBezTo>
                    <a:pt x="5501" y="810"/>
                    <a:pt x="5239" y="810"/>
                    <a:pt x="5077" y="972"/>
                  </a:cubicBezTo>
                  <a:cubicBezTo>
                    <a:pt x="4957" y="1092"/>
                    <a:pt x="4926" y="1267"/>
                    <a:pt x="4984" y="1416"/>
                  </a:cubicBezTo>
                  <a:lnTo>
                    <a:pt x="3995" y="2405"/>
                  </a:lnTo>
                  <a:cubicBezTo>
                    <a:pt x="3892" y="2328"/>
                    <a:pt x="3775" y="2271"/>
                    <a:pt x="3649" y="2232"/>
                  </a:cubicBezTo>
                  <a:lnTo>
                    <a:pt x="3649" y="1215"/>
                  </a:lnTo>
                  <a:cubicBezTo>
                    <a:pt x="3841" y="1101"/>
                    <a:pt x="3972" y="894"/>
                    <a:pt x="3972" y="654"/>
                  </a:cubicBezTo>
                  <a:cubicBezTo>
                    <a:pt x="3972" y="293"/>
                    <a:pt x="3679" y="0"/>
                    <a:pt x="3317" y="0"/>
                  </a:cubicBezTo>
                  <a:cubicBezTo>
                    <a:pt x="2956" y="0"/>
                    <a:pt x="2663" y="293"/>
                    <a:pt x="2663" y="654"/>
                  </a:cubicBezTo>
                  <a:cubicBezTo>
                    <a:pt x="2663" y="894"/>
                    <a:pt x="2793" y="1101"/>
                    <a:pt x="2986" y="1215"/>
                  </a:cubicBezTo>
                  <a:lnTo>
                    <a:pt x="2986" y="2232"/>
                  </a:lnTo>
                  <a:cubicBezTo>
                    <a:pt x="2860" y="2271"/>
                    <a:pt x="2743" y="2328"/>
                    <a:pt x="2640" y="2405"/>
                  </a:cubicBezTo>
                  <a:lnTo>
                    <a:pt x="1650" y="1416"/>
                  </a:lnTo>
                  <a:cubicBezTo>
                    <a:pt x="1709" y="1267"/>
                    <a:pt x="1678" y="1092"/>
                    <a:pt x="1558" y="972"/>
                  </a:cubicBezTo>
                  <a:cubicBezTo>
                    <a:pt x="1396" y="810"/>
                    <a:pt x="1133" y="810"/>
                    <a:pt x="972" y="972"/>
                  </a:cubicBezTo>
                  <a:cubicBezTo>
                    <a:pt x="810" y="1134"/>
                    <a:pt x="810" y="1396"/>
                    <a:pt x="972" y="1558"/>
                  </a:cubicBezTo>
                  <a:cubicBezTo>
                    <a:pt x="1092" y="1678"/>
                    <a:pt x="1267" y="1709"/>
                    <a:pt x="1416" y="1651"/>
                  </a:cubicBezTo>
                  <a:lnTo>
                    <a:pt x="2405" y="2640"/>
                  </a:lnTo>
                  <a:cubicBezTo>
                    <a:pt x="2328" y="2743"/>
                    <a:pt x="2271" y="2860"/>
                    <a:pt x="2232" y="2986"/>
                  </a:cubicBezTo>
                  <a:lnTo>
                    <a:pt x="1215" y="2986"/>
                  </a:lnTo>
                  <a:cubicBezTo>
                    <a:pt x="1101" y="2793"/>
                    <a:pt x="894" y="2663"/>
                    <a:pt x="654" y="2663"/>
                  </a:cubicBezTo>
                  <a:cubicBezTo>
                    <a:pt x="293" y="2663"/>
                    <a:pt x="0" y="2956"/>
                    <a:pt x="0" y="3317"/>
                  </a:cubicBezTo>
                  <a:cubicBezTo>
                    <a:pt x="0" y="3679"/>
                    <a:pt x="293" y="3972"/>
                    <a:pt x="654" y="3972"/>
                  </a:cubicBezTo>
                  <a:cubicBezTo>
                    <a:pt x="894" y="3972"/>
                    <a:pt x="1101" y="3842"/>
                    <a:pt x="1215" y="3649"/>
                  </a:cubicBezTo>
                  <a:lnTo>
                    <a:pt x="2232" y="3649"/>
                  </a:lnTo>
                  <a:cubicBezTo>
                    <a:pt x="2271" y="3775"/>
                    <a:pt x="2328" y="3892"/>
                    <a:pt x="2405" y="3995"/>
                  </a:cubicBezTo>
                  <a:lnTo>
                    <a:pt x="1416" y="4984"/>
                  </a:lnTo>
                  <a:cubicBezTo>
                    <a:pt x="1267" y="4926"/>
                    <a:pt x="1092" y="4956"/>
                    <a:pt x="972" y="5077"/>
                  </a:cubicBezTo>
                  <a:cubicBezTo>
                    <a:pt x="810" y="5238"/>
                    <a:pt x="810" y="5501"/>
                    <a:pt x="972" y="5663"/>
                  </a:cubicBezTo>
                  <a:cubicBezTo>
                    <a:pt x="1134" y="5825"/>
                    <a:pt x="1396" y="5825"/>
                    <a:pt x="1558" y="5663"/>
                  </a:cubicBezTo>
                  <a:cubicBezTo>
                    <a:pt x="1678" y="5543"/>
                    <a:pt x="1709" y="5367"/>
                    <a:pt x="1651" y="5219"/>
                  </a:cubicBezTo>
                  <a:lnTo>
                    <a:pt x="2640" y="4230"/>
                  </a:lnTo>
                  <a:cubicBezTo>
                    <a:pt x="2743" y="4307"/>
                    <a:pt x="2860" y="4364"/>
                    <a:pt x="2986" y="4403"/>
                  </a:cubicBezTo>
                  <a:lnTo>
                    <a:pt x="2986" y="5419"/>
                  </a:lnTo>
                  <a:cubicBezTo>
                    <a:pt x="2793" y="5533"/>
                    <a:pt x="2663" y="5741"/>
                    <a:pt x="2663" y="5980"/>
                  </a:cubicBezTo>
                  <a:cubicBezTo>
                    <a:pt x="2663" y="6342"/>
                    <a:pt x="2956" y="6635"/>
                    <a:pt x="3317" y="6635"/>
                  </a:cubicBezTo>
                  <a:cubicBezTo>
                    <a:pt x="3679" y="6635"/>
                    <a:pt x="3972" y="6342"/>
                    <a:pt x="3972" y="5980"/>
                  </a:cubicBezTo>
                  <a:cubicBezTo>
                    <a:pt x="3972" y="5741"/>
                    <a:pt x="3841" y="5533"/>
                    <a:pt x="3649" y="5420"/>
                  </a:cubicBezTo>
                  <a:lnTo>
                    <a:pt x="3649" y="4403"/>
                  </a:lnTo>
                  <a:cubicBezTo>
                    <a:pt x="3775" y="4364"/>
                    <a:pt x="3892" y="4307"/>
                    <a:pt x="3995" y="4229"/>
                  </a:cubicBezTo>
                  <a:lnTo>
                    <a:pt x="4984" y="5219"/>
                  </a:lnTo>
                  <a:cubicBezTo>
                    <a:pt x="4926" y="5367"/>
                    <a:pt x="4957" y="5543"/>
                    <a:pt x="5077" y="5663"/>
                  </a:cubicBezTo>
                  <a:cubicBezTo>
                    <a:pt x="5239" y="5825"/>
                    <a:pt x="5501" y="5825"/>
                    <a:pt x="5663" y="5663"/>
                  </a:cubicBezTo>
                  <a:cubicBezTo>
                    <a:pt x="5825" y="5501"/>
                    <a:pt x="5825" y="5238"/>
                    <a:pt x="5663" y="5077"/>
                  </a:cubicBezTo>
                  <a:cubicBezTo>
                    <a:pt x="5543" y="4956"/>
                    <a:pt x="5367" y="4926"/>
                    <a:pt x="5219" y="4984"/>
                  </a:cubicBezTo>
                  <a:lnTo>
                    <a:pt x="4229" y="3995"/>
                  </a:lnTo>
                  <a:cubicBezTo>
                    <a:pt x="4307" y="3892"/>
                    <a:pt x="4364" y="3775"/>
                    <a:pt x="4403" y="3649"/>
                  </a:cubicBezTo>
                  <a:lnTo>
                    <a:pt x="5420" y="3649"/>
                  </a:lnTo>
                  <a:cubicBezTo>
                    <a:pt x="5534" y="3842"/>
                    <a:pt x="5741" y="3972"/>
                    <a:pt x="5981" y="3972"/>
                  </a:cubicBezTo>
                  <a:cubicBezTo>
                    <a:pt x="6342" y="3972"/>
                    <a:pt x="6635" y="3679"/>
                    <a:pt x="6635" y="3317"/>
                  </a:cubicBezTo>
                  <a:cubicBezTo>
                    <a:pt x="6635" y="2956"/>
                    <a:pt x="6342" y="2663"/>
                    <a:pt x="5980" y="2663"/>
                  </a:cubicBezTo>
                  <a:close/>
                  <a:moveTo>
                    <a:pt x="3317" y="4016"/>
                  </a:moveTo>
                  <a:cubicBezTo>
                    <a:pt x="2932" y="4016"/>
                    <a:pt x="2619" y="3702"/>
                    <a:pt x="2619" y="3317"/>
                  </a:cubicBezTo>
                  <a:cubicBezTo>
                    <a:pt x="2619" y="2932"/>
                    <a:pt x="2932" y="2619"/>
                    <a:pt x="3317" y="2619"/>
                  </a:cubicBezTo>
                  <a:cubicBezTo>
                    <a:pt x="3702" y="2619"/>
                    <a:pt x="4015" y="2932"/>
                    <a:pt x="4015" y="3317"/>
                  </a:cubicBezTo>
                  <a:cubicBezTo>
                    <a:pt x="4015" y="3702"/>
                    <a:pt x="3702" y="4016"/>
                    <a:pt x="3317" y="4016"/>
                  </a:cubicBezTo>
                  <a:close/>
                </a:path>
              </a:pathLst>
            </a:custGeom>
            <a:solidFill>
              <a:schemeClr val="bg1"/>
            </a:solidFill>
            <a:ln w="9525">
              <a:no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228" name="ïṡļîḋê">
            <a:extLst>
              <a:ext uri="{FF2B5EF4-FFF2-40B4-BE49-F238E27FC236}">
                <a16:creationId xmlns:a16="http://schemas.microsoft.com/office/drawing/2014/main" id="{B51BA841-678F-458B-9399-1A11460677BB}"/>
              </a:ext>
            </a:extLst>
          </p:cNvPr>
          <p:cNvGrpSpPr/>
          <p:nvPr/>
        </p:nvGrpSpPr>
        <p:grpSpPr>
          <a:xfrm>
            <a:off x="10171543" y="1793783"/>
            <a:ext cx="748886" cy="748886"/>
            <a:chOff x="3070889" y="2326864"/>
            <a:chExt cx="748886" cy="748886"/>
          </a:xfrm>
        </p:grpSpPr>
        <p:sp>
          <p:nvSpPr>
            <p:cNvPr id="229" name="ï$ḻíḓé">
              <a:extLst>
                <a:ext uri="{FF2B5EF4-FFF2-40B4-BE49-F238E27FC236}">
                  <a16:creationId xmlns:a16="http://schemas.microsoft.com/office/drawing/2014/main" id="{AE9D853B-9729-4B43-B2E2-A47046F8A92A}"/>
                </a:ext>
              </a:extLst>
            </p:cNvPr>
            <p:cNvSpPr/>
            <p:nvPr/>
          </p:nvSpPr>
          <p:spPr bwMode="auto">
            <a:xfrm>
              <a:off x="3070889" y="2326864"/>
              <a:ext cx="748886" cy="748886"/>
            </a:xfrm>
            <a:prstGeom prst="ellipse">
              <a:avLst/>
            </a:prstGeom>
            <a:solidFill>
              <a:schemeClr val="tx1">
                <a:lumMod val="50000"/>
                <a:lumOff val="50000"/>
              </a:schemeClr>
            </a:solidFill>
            <a:ln w="38100">
              <a:solidFill>
                <a:schemeClr val="bg1"/>
              </a:solid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30" name="ïšḷïḍe">
              <a:extLst>
                <a:ext uri="{FF2B5EF4-FFF2-40B4-BE49-F238E27FC236}">
                  <a16:creationId xmlns:a16="http://schemas.microsoft.com/office/drawing/2014/main" id="{FF4CB03F-3B6A-4B7F-8703-C7E6970418A4}"/>
                </a:ext>
              </a:extLst>
            </p:cNvPr>
            <p:cNvSpPr/>
            <p:nvPr/>
          </p:nvSpPr>
          <p:spPr bwMode="auto">
            <a:xfrm>
              <a:off x="3278296" y="2518126"/>
              <a:ext cx="334068" cy="366362"/>
            </a:xfrm>
            <a:custGeom>
              <a:avLst/>
              <a:gdLst>
                <a:gd name="connsiteX0" fmla="*/ 333504 w 555138"/>
                <a:gd name="connsiteY0" fmla="*/ 231047 h 608801"/>
                <a:gd name="connsiteX1" fmla="*/ 254856 w 555138"/>
                <a:gd name="connsiteY1" fmla="*/ 309304 h 608801"/>
                <a:gd name="connsiteX2" fmla="*/ 221937 w 555138"/>
                <a:gd name="connsiteY2" fmla="*/ 276152 h 608801"/>
                <a:gd name="connsiteX3" fmla="*/ 187523 w 555138"/>
                <a:gd name="connsiteY3" fmla="*/ 310238 h 608801"/>
                <a:gd name="connsiteX4" fmla="*/ 220441 w 555138"/>
                <a:gd name="connsiteY4" fmla="*/ 343389 h 608801"/>
                <a:gd name="connsiteX5" fmla="*/ 254575 w 555138"/>
                <a:gd name="connsiteY5" fmla="*/ 377755 h 608801"/>
                <a:gd name="connsiteX6" fmla="*/ 288989 w 555138"/>
                <a:gd name="connsiteY6" fmla="*/ 343669 h 608801"/>
                <a:gd name="connsiteX7" fmla="*/ 367731 w 555138"/>
                <a:gd name="connsiteY7" fmla="*/ 265413 h 608801"/>
                <a:gd name="connsiteX8" fmla="*/ 277580 w 555138"/>
                <a:gd name="connsiteY8" fmla="*/ 130845 h 608801"/>
                <a:gd name="connsiteX9" fmla="*/ 451336 w 555138"/>
                <a:gd name="connsiteY9" fmla="*/ 304448 h 608801"/>
                <a:gd name="connsiteX10" fmla="*/ 277580 w 555138"/>
                <a:gd name="connsiteY10" fmla="*/ 477957 h 608801"/>
                <a:gd name="connsiteX11" fmla="*/ 103731 w 555138"/>
                <a:gd name="connsiteY11" fmla="*/ 304448 h 608801"/>
                <a:gd name="connsiteX12" fmla="*/ 277580 w 555138"/>
                <a:gd name="connsiteY12" fmla="*/ 130845 h 608801"/>
                <a:gd name="connsiteX13" fmla="*/ 440395 w 555138"/>
                <a:gd name="connsiteY13" fmla="*/ 80038 h 608801"/>
                <a:gd name="connsiteX14" fmla="*/ 555138 w 555138"/>
                <a:gd name="connsiteY14" fmla="*/ 304436 h 608801"/>
                <a:gd name="connsiteX15" fmla="*/ 277586 w 555138"/>
                <a:gd name="connsiteY15" fmla="*/ 581594 h 608801"/>
                <a:gd name="connsiteX16" fmla="*/ 277586 w 555138"/>
                <a:gd name="connsiteY16" fmla="*/ 605593 h 608801"/>
                <a:gd name="connsiteX17" fmla="*/ 272536 w 555138"/>
                <a:gd name="connsiteY17" fmla="*/ 608208 h 608801"/>
                <a:gd name="connsiteX18" fmla="*/ 207356 w 555138"/>
                <a:gd name="connsiteY18" fmla="*/ 563478 h 608801"/>
                <a:gd name="connsiteX19" fmla="*/ 207356 w 555138"/>
                <a:gd name="connsiteY19" fmla="*/ 558155 h 608801"/>
                <a:gd name="connsiteX20" fmla="*/ 272536 w 555138"/>
                <a:gd name="connsiteY20" fmla="*/ 513425 h 608801"/>
                <a:gd name="connsiteX21" fmla="*/ 277586 w 555138"/>
                <a:gd name="connsiteY21" fmla="*/ 516040 h 608801"/>
                <a:gd name="connsiteX22" fmla="*/ 277586 w 555138"/>
                <a:gd name="connsiteY22" fmla="*/ 540319 h 608801"/>
                <a:gd name="connsiteX23" fmla="*/ 513711 w 555138"/>
                <a:gd name="connsiteY23" fmla="*/ 304529 h 608801"/>
                <a:gd name="connsiteX24" fmla="*/ 416081 w 555138"/>
                <a:gd name="connsiteY24" fmla="*/ 113562 h 608801"/>
                <a:gd name="connsiteX25" fmla="*/ 282527 w 555138"/>
                <a:gd name="connsiteY25" fmla="*/ 593 h 608801"/>
                <a:gd name="connsiteX26" fmla="*/ 347711 w 555138"/>
                <a:gd name="connsiteY26" fmla="*/ 45323 h 608801"/>
                <a:gd name="connsiteX27" fmla="*/ 347711 w 555138"/>
                <a:gd name="connsiteY27" fmla="*/ 50646 h 608801"/>
                <a:gd name="connsiteX28" fmla="*/ 282527 w 555138"/>
                <a:gd name="connsiteY28" fmla="*/ 95376 h 608801"/>
                <a:gd name="connsiteX29" fmla="*/ 277570 w 555138"/>
                <a:gd name="connsiteY29" fmla="*/ 92761 h 608801"/>
                <a:gd name="connsiteX30" fmla="*/ 277570 w 555138"/>
                <a:gd name="connsiteY30" fmla="*/ 68575 h 608801"/>
                <a:gd name="connsiteX31" fmla="*/ 41336 w 555138"/>
                <a:gd name="connsiteY31" fmla="*/ 304459 h 608801"/>
                <a:gd name="connsiteX32" fmla="*/ 138878 w 555138"/>
                <a:gd name="connsiteY32" fmla="*/ 495332 h 608801"/>
                <a:gd name="connsiteX33" fmla="*/ 114563 w 555138"/>
                <a:gd name="connsiteY33" fmla="*/ 528763 h 608801"/>
                <a:gd name="connsiteX34" fmla="*/ 0 w 555138"/>
                <a:gd name="connsiteY34" fmla="*/ 304459 h 608801"/>
                <a:gd name="connsiteX35" fmla="*/ 277570 w 555138"/>
                <a:gd name="connsiteY35" fmla="*/ 27300 h 608801"/>
                <a:gd name="connsiteX36" fmla="*/ 277570 w 555138"/>
                <a:gd name="connsiteY36" fmla="*/ 3208 h 608801"/>
                <a:gd name="connsiteX37" fmla="*/ 282527 w 555138"/>
                <a:gd name="connsiteY37" fmla="*/ 593 h 6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55138" h="608801">
                  <a:moveTo>
                    <a:pt x="333504" y="231047"/>
                  </a:moveTo>
                  <a:lnTo>
                    <a:pt x="254856" y="309304"/>
                  </a:lnTo>
                  <a:lnTo>
                    <a:pt x="221937" y="276152"/>
                  </a:lnTo>
                  <a:lnTo>
                    <a:pt x="187523" y="310238"/>
                  </a:lnTo>
                  <a:lnTo>
                    <a:pt x="220441" y="343389"/>
                  </a:lnTo>
                  <a:lnTo>
                    <a:pt x="254575" y="377755"/>
                  </a:lnTo>
                  <a:lnTo>
                    <a:pt x="288989" y="343669"/>
                  </a:lnTo>
                  <a:lnTo>
                    <a:pt x="367731" y="265413"/>
                  </a:lnTo>
                  <a:close/>
                  <a:moveTo>
                    <a:pt x="277580" y="130845"/>
                  </a:moveTo>
                  <a:cubicBezTo>
                    <a:pt x="373529" y="130845"/>
                    <a:pt x="451336" y="208541"/>
                    <a:pt x="451336" y="304448"/>
                  </a:cubicBezTo>
                  <a:cubicBezTo>
                    <a:pt x="451336" y="400261"/>
                    <a:pt x="373529" y="477957"/>
                    <a:pt x="277580" y="477957"/>
                  </a:cubicBezTo>
                  <a:cubicBezTo>
                    <a:pt x="181538" y="477957"/>
                    <a:pt x="103731" y="400261"/>
                    <a:pt x="103731" y="304448"/>
                  </a:cubicBezTo>
                  <a:cubicBezTo>
                    <a:pt x="103731" y="208541"/>
                    <a:pt x="181538" y="130845"/>
                    <a:pt x="277580" y="130845"/>
                  </a:cubicBezTo>
                  <a:close/>
                  <a:moveTo>
                    <a:pt x="440395" y="80038"/>
                  </a:moveTo>
                  <a:cubicBezTo>
                    <a:pt x="512215" y="132052"/>
                    <a:pt x="555138" y="215909"/>
                    <a:pt x="555138" y="304436"/>
                  </a:cubicBezTo>
                  <a:cubicBezTo>
                    <a:pt x="555138" y="457302"/>
                    <a:pt x="430576" y="581594"/>
                    <a:pt x="277586" y="581594"/>
                  </a:cubicBezTo>
                  <a:lnTo>
                    <a:pt x="277586" y="605593"/>
                  </a:lnTo>
                  <a:cubicBezTo>
                    <a:pt x="277586" y="608208"/>
                    <a:pt x="274687" y="609702"/>
                    <a:pt x="272536" y="608208"/>
                  </a:cubicBezTo>
                  <a:lnTo>
                    <a:pt x="207356" y="563478"/>
                  </a:lnTo>
                  <a:cubicBezTo>
                    <a:pt x="205486" y="562170"/>
                    <a:pt x="205486" y="559369"/>
                    <a:pt x="207356" y="558155"/>
                  </a:cubicBezTo>
                  <a:lnTo>
                    <a:pt x="272536" y="513425"/>
                  </a:lnTo>
                  <a:cubicBezTo>
                    <a:pt x="274687" y="511931"/>
                    <a:pt x="277586" y="513425"/>
                    <a:pt x="277586" y="516040"/>
                  </a:cubicBezTo>
                  <a:lnTo>
                    <a:pt x="277586" y="540319"/>
                  </a:lnTo>
                  <a:cubicBezTo>
                    <a:pt x="407759" y="540319"/>
                    <a:pt x="513711" y="434517"/>
                    <a:pt x="513711" y="304529"/>
                  </a:cubicBezTo>
                  <a:cubicBezTo>
                    <a:pt x="513711" y="229169"/>
                    <a:pt x="477147" y="157825"/>
                    <a:pt x="416081" y="113562"/>
                  </a:cubicBezTo>
                  <a:close/>
                  <a:moveTo>
                    <a:pt x="282527" y="593"/>
                  </a:moveTo>
                  <a:lnTo>
                    <a:pt x="347711" y="45323"/>
                  </a:lnTo>
                  <a:cubicBezTo>
                    <a:pt x="349581" y="46724"/>
                    <a:pt x="349581" y="49432"/>
                    <a:pt x="347711" y="50646"/>
                  </a:cubicBezTo>
                  <a:lnTo>
                    <a:pt x="282527" y="95376"/>
                  </a:lnTo>
                  <a:cubicBezTo>
                    <a:pt x="280376" y="96870"/>
                    <a:pt x="277570" y="95376"/>
                    <a:pt x="277570" y="92761"/>
                  </a:cubicBezTo>
                  <a:lnTo>
                    <a:pt x="277570" y="68575"/>
                  </a:lnTo>
                  <a:cubicBezTo>
                    <a:pt x="147389" y="68575"/>
                    <a:pt x="41336" y="174471"/>
                    <a:pt x="41336" y="304459"/>
                  </a:cubicBezTo>
                  <a:cubicBezTo>
                    <a:pt x="41336" y="379725"/>
                    <a:pt x="77903" y="451069"/>
                    <a:pt x="138878" y="495332"/>
                  </a:cubicBezTo>
                  <a:lnTo>
                    <a:pt x="114563" y="528763"/>
                  </a:lnTo>
                  <a:cubicBezTo>
                    <a:pt x="42832" y="476749"/>
                    <a:pt x="0" y="392985"/>
                    <a:pt x="0" y="304459"/>
                  </a:cubicBezTo>
                  <a:cubicBezTo>
                    <a:pt x="0" y="151686"/>
                    <a:pt x="124570" y="27300"/>
                    <a:pt x="277570" y="27300"/>
                  </a:cubicBezTo>
                  <a:lnTo>
                    <a:pt x="277570" y="3208"/>
                  </a:lnTo>
                  <a:cubicBezTo>
                    <a:pt x="277570" y="593"/>
                    <a:pt x="280376" y="-901"/>
                    <a:pt x="282527" y="593"/>
                  </a:cubicBezTo>
                  <a:close/>
                </a:path>
              </a:pathLst>
            </a:custGeom>
            <a:solidFill>
              <a:schemeClr val="bg1"/>
            </a:solidFill>
            <a:ln w="9525">
              <a:no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13" name="îSļïḓè">
            <a:extLst>
              <a:ext uri="{FF2B5EF4-FFF2-40B4-BE49-F238E27FC236}">
                <a16:creationId xmlns:a16="http://schemas.microsoft.com/office/drawing/2014/main" id="{10CD46E8-B76F-4BEF-BB97-B7595BA3D591}"/>
              </a:ext>
            </a:extLst>
          </p:cNvPr>
          <p:cNvGrpSpPr/>
          <p:nvPr/>
        </p:nvGrpSpPr>
        <p:grpSpPr>
          <a:xfrm>
            <a:off x="3208202" y="2309926"/>
            <a:ext cx="2019433" cy="1159530"/>
            <a:chOff x="792043" y="4641010"/>
            <a:chExt cx="2019433" cy="1159530"/>
          </a:xfrm>
        </p:grpSpPr>
        <p:sp>
          <p:nvSpPr>
            <p:cNvPr id="26" name="işľîḑé">
              <a:extLst>
                <a:ext uri="{FF2B5EF4-FFF2-40B4-BE49-F238E27FC236}">
                  <a16:creationId xmlns:a16="http://schemas.microsoft.com/office/drawing/2014/main" id="{D2592E43-66CF-4699-BA0F-E4A6D5801B1E}"/>
                </a:ext>
              </a:extLst>
            </p:cNvPr>
            <p:cNvSpPr/>
            <p:nvPr/>
          </p:nvSpPr>
          <p:spPr bwMode="auto">
            <a:xfrm>
              <a:off x="812727" y="5082915"/>
              <a:ext cx="1998749" cy="71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100" dirty="0"/>
                <a:t>通过在规范形式上引入约束或放松，定义了适配器和观察者设计模式的实现变体。</a:t>
              </a:r>
              <a:endParaRPr lang="en-US" altLang="zh-CN" sz="1100" dirty="0"/>
            </a:p>
          </p:txBody>
        </p:sp>
        <p:sp>
          <p:nvSpPr>
            <p:cNvPr id="27" name="iṧliḍé">
              <a:extLst>
                <a:ext uri="{FF2B5EF4-FFF2-40B4-BE49-F238E27FC236}">
                  <a16:creationId xmlns:a16="http://schemas.microsoft.com/office/drawing/2014/main" id="{BB1EEE5A-6795-460D-9DCB-836F2851F0B5}"/>
                </a:ext>
              </a:extLst>
            </p:cNvPr>
            <p:cNvSpPr txBox="1"/>
            <p:nvPr/>
          </p:nvSpPr>
          <p:spPr bwMode="auto">
            <a:xfrm>
              <a:off x="792043" y="4641010"/>
              <a:ext cx="2007132" cy="423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sz="1400" b="1" dirty="0"/>
                <a:t>定义设计模式实现变体</a:t>
              </a:r>
              <a:endParaRPr lang="en-US" altLang="zh-CN" sz="1400" b="1" dirty="0"/>
            </a:p>
          </p:txBody>
        </p:sp>
      </p:grpSp>
      <p:grpSp>
        <p:nvGrpSpPr>
          <p:cNvPr id="14" name="íṩľíďê">
            <a:extLst>
              <a:ext uri="{FF2B5EF4-FFF2-40B4-BE49-F238E27FC236}">
                <a16:creationId xmlns:a16="http://schemas.microsoft.com/office/drawing/2014/main" id="{DFA74EF4-DC9B-4DE5-B063-412DA888ECFE}"/>
              </a:ext>
            </a:extLst>
          </p:cNvPr>
          <p:cNvGrpSpPr/>
          <p:nvPr/>
        </p:nvGrpSpPr>
        <p:grpSpPr>
          <a:xfrm>
            <a:off x="5695448" y="1895032"/>
            <a:ext cx="2548690" cy="1125999"/>
            <a:chOff x="812245" y="4659298"/>
            <a:chExt cx="2548690" cy="1125999"/>
          </a:xfrm>
        </p:grpSpPr>
        <p:sp>
          <p:nvSpPr>
            <p:cNvPr id="24" name="ïŝ1îde">
              <a:extLst>
                <a:ext uri="{FF2B5EF4-FFF2-40B4-BE49-F238E27FC236}">
                  <a16:creationId xmlns:a16="http://schemas.microsoft.com/office/drawing/2014/main" id="{3E3BA5B3-6506-4C10-ADE7-6FD27C3F0BBE}"/>
                </a:ext>
              </a:extLst>
            </p:cNvPr>
            <p:cNvSpPr/>
            <p:nvPr/>
          </p:nvSpPr>
          <p:spPr bwMode="auto">
            <a:xfrm>
              <a:off x="812245" y="5082915"/>
              <a:ext cx="2548690" cy="70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100" dirty="0"/>
                <a:t>分析这些定义的复杂性与我们过去提出的设计模式恢复过程所需的精度和时间之间的关系。</a:t>
              </a:r>
              <a:endParaRPr lang="en-US" altLang="zh-CN" sz="1100" dirty="0"/>
            </a:p>
          </p:txBody>
        </p:sp>
        <p:sp>
          <p:nvSpPr>
            <p:cNvPr id="25" name="iṣḻïḍe">
              <a:extLst>
                <a:ext uri="{FF2B5EF4-FFF2-40B4-BE49-F238E27FC236}">
                  <a16:creationId xmlns:a16="http://schemas.microsoft.com/office/drawing/2014/main" id="{D822DF27-298E-45DF-9A49-449E85435244}"/>
                </a:ext>
              </a:extLst>
            </p:cNvPr>
            <p:cNvSpPr txBox="1"/>
            <p:nvPr/>
          </p:nvSpPr>
          <p:spPr bwMode="auto">
            <a:xfrm>
              <a:off x="940261" y="4659298"/>
              <a:ext cx="2007132" cy="423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sz="1400" b="1" dirty="0"/>
                <a:t>分析精度和所需时间的关系</a:t>
              </a:r>
              <a:endParaRPr lang="en-US" altLang="zh-CN" sz="1400" b="1" dirty="0"/>
            </a:p>
          </p:txBody>
        </p:sp>
      </p:grpSp>
      <p:grpSp>
        <p:nvGrpSpPr>
          <p:cNvPr id="15" name="íṩlïḋê">
            <a:extLst>
              <a:ext uri="{FF2B5EF4-FFF2-40B4-BE49-F238E27FC236}">
                <a16:creationId xmlns:a16="http://schemas.microsoft.com/office/drawing/2014/main" id="{E3CDFD5B-594F-4631-AA80-4C42CD842787}"/>
              </a:ext>
            </a:extLst>
          </p:cNvPr>
          <p:cNvGrpSpPr/>
          <p:nvPr/>
        </p:nvGrpSpPr>
        <p:grpSpPr>
          <a:xfrm>
            <a:off x="7897246" y="1162091"/>
            <a:ext cx="2233790" cy="1383684"/>
            <a:chOff x="658728" y="4659298"/>
            <a:chExt cx="2233790" cy="1383684"/>
          </a:xfrm>
        </p:grpSpPr>
        <p:sp>
          <p:nvSpPr>
            <p:cNvPr id="22" name="îṡļîďé">
              <a:extLst>
                <a:ext uri="{FF2B5EF4-FFF2-40B4-BE49-F238E27FC236}">
                  <a16:creationId xmlns:a16="http://schemas.microsoft.com/office/drawing/2014/main" id="{D8E23226-494E-4EAD-A952-6D34908EF028}"/>
                </a:ext>
              </a:extLst>
            </p:cNvPr>
            <p:cNvSpPr/>
            <p:nvPr/>
          </p:nvSpPr>
          <p:spPr bwMode="auto">
            <a:xfrm>
              <a:off x="658728" y="5082915"/>
              <a:ext cx="2233790" cy="960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20000"/>
                </a:lnSpc>
              </a:pPr>
              <a:r>
                <a:rPr lang="zh-CN" altLang="en-US" sz="1100" dirty="0"/>
                <a:t>定义的变量的复杂性与恢复它们的实例所需的精度和时间之间的关系存在一些有趣的问题。</a:t>
              </a:r>
              <a:endParaRPr lang="en-US" altLang="zh-CN" sz="1100" dirty="0"/>
            </a:p>
          </p:txBody>
        </p:sp>
        <p:sp>
          <p:nvSpPr>
            <p:cNvPr id="23" name="ïśḻíḑé">
              <a:extLst>
                <a:ext uri="{FF2B5EF4-FFF2-40B4-BE49-F238E27FC236}">
                  <a16:creationId xmlns:a16="http://schemas.microsoft.com/office/drawing/2014/main" id="{BD447148-EB66-4F06-9ABB-4F6E8D681027}"/>
                </a:ext>
              </a:extLst>
            </p:cNvPr>
            <p:cNvSpPr txBox="1"/>
            <p:nvPr/>
          </p:nvSpPr>
          <p:spPr bwMode="auto">
            <a:xfrm>
              <a:off x="812245" y="4659298"/>
              <a:ext cx="2007132" cy="423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spcBef>
                  <a:spcPct val="0"/>
                </a:spcBef>
              </a:pPr>
              <a:r>
                <a:rPr lang="zh-CN" altLang="en-US" sz="1400" b="1" dirty="0"/>
                <a:t>探索性结果分析</a:t>
              </a:r>
              <a:endParaRPr lang="en-US" altLang="zh-CN" sz="1400" b="1" dirty="0"/>
            </a:p>
          </p:txBody>
        </p:sp>
      </p:grpSp>
      <p:grpSp>
        <p:nvGrpSpPr>
          <p:cNvPr id="225" name="îṥļïḑe">
            <a:extLst>
              <a:ext uri="{FF2B5EF4-FFF2-40B4-BE49-F238E27FC236}">
                <a16:creationId xmlns:a16="http://schemas.microsoft.com/office/drawing/2014/main" id="{0CF78AF9-6613-43BF-9AAA-78E980BC0564}"/>
              </a:ext>
            </a:extLst>
          </p:cNvPr>
          <p:cNvGrpSpPr/>
          <p:nvPr/>
        </p:nvGrpSpPr>
        <p:grpSpPr>
          <a:xfrm>
            <a:off x="9002854" y="3163554"/>
            <a:ext cx="748886" cy="748886"/>
            <a:chOff x="3070889" y="2326864"/>
            <a:chExt cx="748886" cy="748886"/>
          </a:xfrm>
        </p:grpSpPr>
        <p:sp>
          <p:nvSpPr>
            <p:cNvPr id="226" name="ïsḻíḑé">
              <a:extLst>
                <a:ext uri="{FF2B5EF4-FFF2-40B4-BE49-F238E27FC236}">
                  <a16:creationId xmlns:a16="http://schemas.microsoft.com/office/drawing/2014/main" id="{D045F06C-A61E-4F2F-94EC-0D4B5D31B811}"/>
                </a:ext>
              </a:extLst>
            </p:cNvPr>
            <p:cNvSpPr/>
            <p:nvPr/>
          </p:nvSpPr>
          <p:spPr bwMode="auto">
            <a:xfrm>
              <a:off x="3070889" y="2326864"/>
              <a:ext cx="748886" cy="748886"/>
            </a:xfrm>
            <a:prstGeom prst="ellipse">
              <a:avLst/>
            </a:prstGeom>
            <a:solidFill>
              <a:schemeClr val="tx1">
                <a:lumMod val="50000"/>
                <a:lumOff val="50000"/>
              </a:schemeClr>
            </a:solidFill>
            <a:ln w="38100">
              <a:solidFill>
                <a:schemeClr val="bg1"/>
              </a:solid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27" name="iŝḷíḑe">
              <a:extLst>
                <a:ext uri="{FF2B5EF4-FFF2-40B4-BE49-F238E27FC236}">
                  <a16:creationId xmlns:a16="http://schemas.microsoft.com/office/drawing/2014/main" id="{8C07127D-37DC-403C-8653-5B9750AD32CA}"/>
                </a:ext>
              </a:extLst>
            </p:cNvPr>
            <p:cNvSpPr/>
            <p:nvPr/>
          </p:nvSpPr>
          <p:spPr bwMode="auto">
            <a:xfrm>
              <a:off x="3262150" y="2518395"/>
              <a:ext cx="366362" cy="365823"/>
            </a:xfrm>
            <a:custGeom>
              <a:avLst/>
              <a:gdLst>
                <a:gd name="T0" fmla="*/ 5325 w 5608"/>
                <a:gd name="T1" fmla="*/ 2335 h 5608"/>
                <a:gd name="T2" fmla="*/ 4864 w 5608"/>
                <a:gd name="T3" fmla="*/ 1873 h 5608"/>
                <a:gd name="T4" fmla="*/ 5001 w 5608"/>
                <a:gd name="T5" fmla="*/ 1736 h 5608"/>
                <a:gd name="T6" fmla="*/ 5001 w 5608"/>
                <a:gd name="T7" fmla="*/ 710 h 5608"/>
                <a:gd name="T8" fmla="*/ 4899 w 5608"/>
                <a:gd name="T9" fmla="*/ 607 h 5608"/>
                <a:gd name="T10" fmla="*/ 3873 w 5608"/>
                <a:gd name="T11" fmla="*/ 607 h 5608"/>
                <a:gd name="T12" fmla="*/ 3735 w 5608"/>
                <a:gd name="T13" fmla="*/ 745 h 5608"/>
                <a:gd name="T14" fmla="*/ 3274 w 5608"/>
                <a:gd name="T15" fmla="*/ 283 h 5608"/>
                <a:gd name="T16" fmla="*/ 2248 w 5608"/>
                <a:gd name="T17" fmla="*/ 283 h 5608"/>
                <a:gd name="T18" fmla="*/ 1830 w 5608"/>
                <a:gd name="T19" fmla="*/ 702 h 5608"/>
                <a:gd name="T20" fmla="*/ 2144 w 5608"/>
                <a:gd name="T21" fmla="*/ 1015 h 5608"/>
                <a:gd name="T22" fmla="*/ 2144 w 5608"/>
                <a:gd name="T23" fmla="*/ 2041 h 5608"/>
                <a:gd name="T24" fmla="*/ 2041 w 5608"/>
                <a:gd name="T25" fmla="*/ 2144 h 5608"/>
                <a:gd name="T26" fmla="*/ 1015 w 5608"/>
                <a:gd name="T27" fmla="*/ 2144 h 5608"/>
                <a:gd name="T28" fmla="*/ 702 w 5608"/>
                <a:gd name="T29" fmla="*/ 1830 h 5608"/>
                <a:gd name="T30" fmla="*/ 283 w 5608"/>
                <a:gd name="T31" fmla="*/ 2248 h 5608"/>
                <a:gd name="T32" fmla="*/ 283 w 5608"/>
                <a:gd name="T33" fmla="*/ 3274 h 5608"/>
                <a:gd name="T34" fmla="*/ 745 w 5608"/>
                <a:gd name="T35" fmla="*/ 3735 h 5608"/>
                <a:gd name="T36" fmla="*/ 1042 w 5608"/>
                <a:gd name="T37" fmla="*/ 3439 h 5608"/>
                <a:gd name="T38" fmla="*/ 2068 w 5608"/>
                <a:gd name="T39" fmla="*/ 3439 h 5608"/>
                <a:gd name="T40" fmla="*/ 2170 w 5608"/>
                <a:gd name="T41" fmla="*/ 3541 h 5608"/>
                <a:gd name="T42" fmla="*/ 2170 w 5608"/>
                <a:gd name="T43" fmla="*/ 4567 h 5608"/>
                <a:gd name="T44" fmla="*/ 1873 w 5608"/>
                <a:gd name="T45" fmla="*/ 4864 h 5608"/>
                <a:gd name="T46" fmla="*/ 2335 w 5608"/>
                <a:gd name="T47" fmla="*/ 5325 h 5608"/>
                <a:gd name="T48" fmla="*/ 3361 w 5608"/>
                <a:gd name="T49" fmla="*/ 5325 h 5608"/>
                <a:gd name="T50" fmla="*/ 3779 w 5608"/>
                <a:gd name="T51" fmla="*/ 4907 h 5608"/>
                <a:gd name="T52" fmla="*/ 3956 w 5608"/>
                <a:gd name="T53" fmla="*/ 5084 h 5608"/>
                <a:gd name="T54" fmla="*/ 4982 w 5608"/>
                <a:gd name="T55" fmla="*/ 5084 h 5608"/>
                <a:gd name="T56" fmla="*/ 5084 w 5608"/>
                <a:gd name="T57" fmla="*/ 4982 h 5608"/>
                <a:gd name="T58" fmla="*/ 5084 w 5608"/>
                <a:gd name="T59" fmla="*/ 3956 h 5608"/>
                <a:gd name="T60" fmla="*/ 4907 w 5608"/>
                <a:gd name="T61" fmla="*/ 3779 h 5608"/>
                <a:gd name="T62" fmla="*/ 5325 w 5608"/>
                <a:gd name="T63" fmla="*/ 3361 h 5608"/>
                <a:gd name="T64" fmla="*/ 5325 w 5608"/>
                <a:gd name="T65" fmla="*/ 2335 h 5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08" h="5608">
                  <a:moveTo>
                    <a:pt x="5325" y="2335"/>
                  </a:moveTo>
                  <a:lnTo>
                    <a:pt x="4864" y="1873"/>
                  </a:lnTo>
                  <a:lnTo>
                    <a:pt x="5001" y="1736"/>
                  </a:lnTo>
                  <a:cubicBezTo>
                    <a:pt x="5285" y="1452"/>
                    <a:pt x="5285" y="993"/>
                    <a:pt x="5001" y="710"/>
                  </a:cubicBezTo>
                  <a:lnTo>
                    <a:pt x="4899" y="607"/>
                  </a:lnTo>
                  <a:cubicBezTo>
                    <a:pt x="4616" y="324"/>
                    <a:pt x="4156" y="324"/>
                    <a:pt x="3873" y="607"/>
                  </a:cubicBezTo>
                  <a:lnTo>
                    <a:pt x="3735" y="745"/>
                  </a:lnTo>
                  <a:lnTo>
                    <a:pt x="3274" y="283"/>
                  </a:lnTo>
                  <a:cubicBezTo>
                    <a:pt x="2991" y="0"/>
                    <a:pt x="2531" y="0"/>
                    <a:pt x="2248" y="283"/>
                  </a:cubicBezTo>
                  <a:lnTo>
                    <a:pt x="1830" y="702"/>
                  </a:lnTo>
                  <a:lnTo>
                    <a:pt x="2144" y="1015"/>
                  </a:lnTo>
                  <a:cubicBezTo>
                    <a:pt x="2427" y="1299"/>
                    <a:pt x="2427" y="1758"/>
                    <a:pt x="2144" y="2041"/>
                  </a:cubicBezTo>
                  <a:lnTo>
                    <a:pt x="2041" y="2144"/>
                  </a:lnTo>
                  <a:cubicBezTo>
                    <a:pt x="1758" y="2427"/>
                    <a:pt x="1299" y="2427"/>
                    <a:pt x="1015" y="2144"/>
                  </a:cubicBezTo>
                  <a:lnTo>
                    <a:pt x="702" y="1830"/>
                  </a:lnTo>
                  <a:lnTo>
                    <a:pt x="283" y="2248"/>
                  </a:lnTo>
                  <a:cubicBezTo>
                    <a:pt x="0" y="2531"/>
                    <a:pt x="0" y="2991"/>
                    <a:pt x="283" y="3274"/>
                  </a:cubicBezTo>
                  <a:lnTo>
                    <a:pt x="745" y="3735"/>
                  </a:lnTo>
                  <a:lnTo>
                    <a:pt x="1042" y="3439"/>
                  </a:lnTo>
                  <a:cubicBezTo>
                    <a:pt x="1325" y="3155"/>
                    <a:pt x="1784" y="3155"/>
                    <a:pt x="2068" y="3439"/>
                  </a:cubicBezTo>
                  <a:lnTo>
                    <a:pt x="2170" y="3541"/>
                  </a:lnTo>
                  <a:cubicBezTo>
                    <a:pt x="2453" y="3824"/>
                    <a:pt x="2453" y="4284"/>
                    <a:pt x="2170" y="4567"/>
                  </a:cubicBezTo>
                  <a:lnTo>
                    <a:pt x="1873" y="4864"/>
                  </a:lnTo>
                  <a:lnTo>
                    <a:pt x="2335" y="5325"/>
                  </a:lnTo>
                  <a:cubicBezTo>
                    <a:pt x="2618" y="5608"/>
                    <a:pt x="3077" y="5608"/>
                    <a:pt x="3361" y="5325"/>
                  </a:cubicBezTo>
                  <a:lnTo>
                    <a:pt x="3779" y="4907"/>
                  </a:lnTo>
                  <a:lnTo>
                    <a:pt x="3956" y="5084"/>
                  </a:lnTo>
                  <a:cubicBezTo>
                    <a:pt x="4239" y="5367"/>
                    <a:pt x="4698" y="5367"/>
                    <a:pt x="4982" y="5084"/>
                  </a:cubicBezTo>
                  <a:lnTo>
                    <a:pt x="5084" y="4982"/>
                  </a:lnTo>
                  <a:cubicBezTo>
                    <a:pt x="5367" y="4698"/>
                    <a:pt x="5367" y="4239"/>
                    <a:pt x="5084" y="3956"/>
                  </a:cubicBezTo>
                  <a:lnTo>
                    <a:pt x="4907" y="3779"/>
                  </a:lnTo>
                  <a:lnTo>
                    <a:pt x="5325" y="3361"/>
                  </a:lnTo>
                  <a:cubicBezTo>
                    <a:pt x="5608" y="3077"/>
                    <a:pt x="5608" y="2618"/>
                    <a:pt x="5325" y="2335"/>
                  </a:cubicBezTo>
                  <a:close/>
                </a:path>
              </a:pathLst>
            </a:custGeom>
            <a:solidFill>
              <a:schemeClr val="bg1"/>
            </a:solidFill>
            <a:ln w="9525">
              <a:noFill/>
              <a:round/>
              <a:headEnd/>
              <a:tailE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17" name="íŝļîḓé">
            <a:extLst>
              <a:ext uri="{FF2B5EF4-FFF2-40B4-BE49-F238E27FC236}">
                <a16:creationId xmlns:a16="http://schemas.microsoft.com/office/drawing/2014/main" id="{FFC50103-67A5-4912-A2A4-2C7E724108BA}"/>
              </a:ext>
            </a:extLst>
          </p:cNvPr>
          <p:cNvGrpSpPr/>
          <p:nvPr/>
        </p:nvGrpSpPr>
        <p:grpSpPr>
          <a:xfrm>
            <a:off x="9232060" y="4326500"/>
            <a:ext cx="2089036" cy="1041396"/>
            <a:chOff x="812245" y="4659298"/>
            <a:chExt cx="2089036" cy="1041396"/>
          </a:xfrm>
        </p:grpSpPr>
        <p:sp>
          <p:nvSpPr>
            <p:cNvPr id="18" name="îśḷîḓé">
              <a:extLst>
                <a:ext uri="{FF2B5EF4-FFF2-40B4-BE49-F238E27FC236}">
                  <a16:creationId xmlns:a16="http://schemas.microsoft.com/office/drawing/2014/main" id="{388C33E0-C2B7-4985-BF72-B320FC0993EC}"/>
                </a:ext>
              </a:extLst>
            </p:cNvPr>
            <p:cNvSpPr/>
            <p:nvPr/>
          </p:nvSpPr>
          <p:spPr bwMode="auto">
            <a:xfrm>
              <a:off x="812245" y="5082915"/>
              <a:ext cx="2089036" cy="617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100" dirty="0"/>
                <a:t>将用于设计模式恢复的</a:t>
              </a:r>
              <a:r>
                <a:rPr lang="en-US" altLang="zh-CN" sz="1100" dirty="0"/>
                <a:t>Eclipse</a:t>
              </a:r>
              <a:r>
                <a:rPr lang="zh-CN" altLang="en-US" sz="1100" dirty="0"/>
                <a:t>插件</a:t>
              </a:r>
              <a:r>
                <a:rPr lang="en-US" altLang="zh-CN" sz="1100" dirty="0" err="1"/>
                <a:t>ePAD</a:t>
              </a:r>
              <a:r>
                <a:rPr lang="zh-CN" altLang="en-US" sz="1100" dirty="0"/>
                <a:t>应用于八个软件系统。</a:t>
              </a:r>
              <a:endParaRPr lang="en-US" altLang="zh-CN" sz="1100" dirty="0"/>
            </a:p>
          </p:txBody>
        </p:sp>
        <p:sp>
          <p:nvSpPr>
            <p:cNvPr id="19" name="íśļiḓe">
              <a:extLst>
                <a:ext uri="{FF2B5EF4-FFF2-40B4-BE49-F238E27FC236}">
                  <a16:creationId xmlns:a16="http://schemas.microsoft.com/office/drawing/2014/main" id="{49FAFCE2-9516-4EC7-8DF6-6AD6BD37C552}"/>
                </a:ext>
              </a:extLst>
            </p:cNvPr>
            <p:cNvSpPr txBox="1"/>
            <p:nvPr/>
          </p:nvSpPr>
          <p:spPr bwMode="auto">
            <a:xfrm>
              <a:off x="812245" y="4659298"/>
              <a:ext cx="2007132" cy="423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1400" b="1" dirty="0"/>
                <a:t>应用</a:t>
              </a:r>
              <a:r>
                <a:rPr lang="en-US" altLang="zh-CN" sz="1400" b="1" dirty="0" err="1"/>
                <a:t>ePAD</a:t>
              </a:r>
              <a:r>
                <a:rPr lang="zh-CN" altLang="en-US" sz="1400" b="1" dirty="0"/>
                <a:t>插件</a:t>
              </a:r>
              <a:r>
                <a:rPr lang="en-US" altLang="zh-CN" sz="1400" b="1" dirty="0"/>
                <a:t> </a:t>
              </a:r>
            </a:p>
          </p:txBody>
        </p:sp>
      </p:grpSp>
      <p:grpSp>
        <p:nvGrpSpPr>
          <p:cNvPr id="2" name="组合 1">
            <a:extLst>
              <a:ext uri="{FF2B5EF4-FFF2-40B4-BE49-F238E27FC236}">
                <a16:creationId xmlns:a16="http://schemas.microsoft.com/office/drawing/2014/main" id="{87E85CBC-EBD8-4061-8B4B-5F360C111555}"/>
              </a:ext>
            </a:extLst>
          </p:cNvPr>
          <p:cNvGrpSpPr/>
          <p:nvPr/>
        </p:nvGrpSpPr>
        <p:grpSpPr>
          <a:xfrm>
            <a:off x="0" y="-2985"/>
            <a:ext cx="3449038" cy="2522514"/>
            <a:chOff x="0" y="-2985"/>
            <a:chExt cx="3449038" cy="2522514"/>
          </a:xfrm>
        </p:grpSpPr>
        <p:grpSp>
          <p:nvGrpSpPr>
            <p:cNvPr id="208" name="组合 207">
              <a:extLst>
                <a:ext uri="{FF2B5EF4-FFF2-40B4-BE49-F238E27FC236}">
                  <a16:creationId xmlns:a16="http://schemas.microsoft.com/office/drawing/2014/main" id="{DDD6EABC-6800-4069-994E-F3D531B082A4}"/>
                </a:ext>
              </a:extLst>
            </p:cNvPr>
            <p:cNvGrpSpPr/>
            <p:nvPr/>
          </p:nvGrpSpPr>
          <p:grpSpPr>
            <a:xfrm rot="5400000" flipH="1" flipV="1">
              <a:off x="463262" y="-466247"/>
              <a:ext cx="2522514" cy="3449038"/>
              <a:chOff x="7002463" y="0"/>
              <a:chExt cx="5189538" cy="6351588"/>
            </a:xfrm>
          </p:grpSpPr>
          <p:sp>
            <p:nvSpPr>
              <p:cNvPr id="209" name="Freeform 8">
                <a:extLst>
                  <a:ext uri="{FF2B5EF4-FFF2-40B4-BE49-F238E27FC236}">
                    <a16:creationId xmlns:a16="http://schemas.microsoft.com/office/drawing/2014/main" id="{7E3310DD-91EE-4102-AD3D-24E5CBC9BF1F}"/>
                  </a:ext>
                </a:extLst>
              </p:cNvPr>
              <p:cNvSpPr>
                <a:spLocks/>
              </p:cNvSpPr>
              <p:nvPr userDrawn="1"/>
            </p:nvSpPr>
            <p:spPr bwMode="auto">
              <a:xfrm>
                <a:off x="7237413" y="0"/>
                <a:ext cx="4954588" cy="4941888"/>
              </a:xfrm>
              <a:custGeom>
                <a:avLst/>
                <a:gdLst>
                  <a:gd name="T0" fmla="*/ 1501 w 1501"/>
                  <a:gd name="T1" fmla="*/ 0 h 1500"/>
                  <a:gd name="T2" fmla="*/ 267 w 1501"/>
                  <a:gd name="T3" fmla="*/ 0 h 1500"/>
                  <a:gd name="T4" fmla="*/ 517 w 1501"/>
                  <a:gd name="T5" fmla="*/ 960 h 1500"/>
                  <a:gd name="T6" fmla="*/ 1501 w 1501"/>
                  <a:gd name="T7" fmla="*/ 1500 h 1500"/>
                  <a:gd name="T8" fmla="*/ 1501 w 1501"/>
                  <a:gd name="T9" fmla="*/ 0 h 1500"/>
                </a:gdLst>
                <a:ahLst/>
                <a:cxnLst>
                  <a:cxn ang="0">
                    <a:pos x="T0" y="T1"/>
                  </a:cxn>
                  <a:cxn ang="0">
                    <a:pos x="T2" y="T3"/>
                  </a:cxn>
                  <a:cxn ang="0">
                    <a:pos x="T4" y="T5"/>
                  </a:cxn>
                  <a:cxn ang="0">
                    <a:pos x="T6" y="T7"/>
                  </a:cxn>
                  <a:cxn ang="0">
                    <a:pos x="T8" y="T9"/>
                  </a:cxn>
                </a:cxnLst>
                <a:rect l="0" t="0" r="r" b="b"/>
                <a:pathLst>
                  <a:path w="1501" h="1500">
                    <a:moveTo>
                      <a:pt x="1501" y="0"/>
                    </a:moveTo>
                    <a:cubicBezTo>
                      <a:pt x="267" y="0"/>
                      <a:pt x="267" y="0"/>
                      <a:pt x="267" y="0"/>
                    </a:cubicBezTo>
                    <a:cubicBezTo>
                      <a:pt x="102" y="234"/>
                      <a:pt x="0" y="599"/>
                      <a:pt x="517" y="960"/>
                    </a:cubicBezTo>
                    <a:cubicBezTo>
                      <a:pt x="894" y="1224"/>
                      <a:pt x="1236" y="1393"/>
                      <a:pt x="1501" y="1500"/>
                    </a:cubicBezTo>
                    <a:lnTo>
                      <a:pt x="1501" y="0"/>
                    </a:lnTo>
                    <a:close/>
                  </a:path>
                </a:pathLst>
              </a:custGeom>
              <a:solidFill>
                <a:srgbClr val="113583">
                  <a:alpha val="30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210" name="Freeform 7">
                <a:extLst>
                  <a:ext uri="{FF2B5EF4-FFF2-40B4-BE49-F238E27FC236}">
                    <a16:creationId xmlns:a16="http://schemas.microsoft.com/office/drawing/2014/main" id="{8487673F-E4EE-47B3-BD97-BD5131267134}"/>
                  </a:ext>
                </a:extLst>
              </p:cNvPr>
              <p:cNvSpPr>
                <a:spLocks/>
              </p:cNvSpPr>
              <p:nvPr userDrawn="1"/>
            </p:nvSpPr>
            <p:spPr bwMode="auto">
              <a:xfrm>
                <a:off x="7332663" y="0"/>
                <a:ext cx="4859338" cy="6351588"/>
              </a:xfrm>
              <a:custGeom>
                <a:avLst/>
                <a:gdLst>
                  <a:gd name="T0" fmla="*/ 1472 w 1472"/>
                  <a:gd name="T1" fmla="*/ 0 h 1928"/>
                  <a:gd name="T2" fmla="*/ 372 w 1472"/>
                  <a:gd name="T3" fmla="*/ 0 h 1928"/>
                  <a:gd name="T4" fmla="*/ 284 w 1472"/>
                  <a:gd name="T5" fmla="*/ 296 h 1928"/>
                  <a:gd name="T6" fmla="*/ 404 w 1472"/>
                  <a:gd name="T7" fmla="*/ 1260 h 1928"/>
                  <a:gd name="T8" fmla="*/ 1140 w 1472"/>
                  <a:gd name="T9" fmla="*/ 1900 h 1928"/>
                  <a:gd name="T10" fmla="*/ 1472 w 1472"/>
                  <a:gd name="T11" fmla="*/ 1796 h 1928"/>
                  <a:gd name="T12" fmla="*/ 1472 w 1472"/>
                  <a:gd name="T13" fmla="*/ 0 h 1928"/>
                </a:gdLst>
                <a:ahLst/>
                <a:cxnLst>
                  <a:cxn ang="0">
                    <a:pos x="T0" y="T1"/>
                  </a:cxn>
                  <a:cxn ang="0">
                    <a:pos x="T2" y="T3"/>
                  </a:cxn>
                  <a:cxn ang="0">
                    <a:pos x="T4" y="T5"/>
                  </a:cxn>
                  <a:cxn ang="0">
                    <a:pos x="T6" y="T7"/>
                  </a:cxn>
                  <a:cxn ang="0">
                    <a:pos x="T8" y="T9"/>
                  </a:cxn>
                  <a:cxn ang="0">
                    <a:pos x="T10" y="T11"/>
                  </a:cxn>
                  <a:cxn ang="0">
                    <a:pos x="T12" y="T13"/>
                  </a:cxn>
                </a:cxnLst>
                <a:rect l="0" t="0" r="r" b="b"/>
                <a:pathLst>
                  <a:path w="1472" h="1928">
                    <a:moveTo>
                      <a:pt x="1472" y="0"/>
                    </a:moveTo>
                    <a:cubicBezTo>
                      <a:pt x="372" y="0"/>
                      <a:pt x="372" y="0"/>
                      <a:pt x="372" y="0"/>
                    </a:cubicBezTo>
                    <a:cubicBezTo>
                      <a:pt x="409" y="90"/>
                      <a:pt x="410" y="200"/>
                      <a:pt x="284" y="296"/>
                    </a:cubicBezTo>
                    <a:cubicBezTo>
                      <a:pt x="16" y="500"/>
                      <a:pt x="0" y="1068"/>
                      <a:pt x="404" y="1260"/>
                    </a:cubicBezTo>
                    <a:cubicBezTo>
                      <a:pt x="808" y="1452"/>
                      <a:pt x="760" y="1928"/>
                      <a:pt x="1140" y="1900"/>
                    </a:cubicBezTo>
                    <a:cubicBezTo>
                      <a:pt x="1246" y="1892"/>
                      <a:pt x="1361" y="1851"/>
                      <a:pt x="1472" y="1796"/>
                    </a:cubicBezTo>
                    <a:lnTo>
                      <a:pt x="1472" y="0"/>
                    </a:lnTo>
                    <a:close/>
                  </a:path>
                </a:pathLst>
              </a:custGeom>
              <a:solidFill>
                <a:srgbClr val="113583">
                  <a:alpha val="75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211" name="Freeform 6">
                <a:extLst>
                  <a:ext uri="{FF2B5EF4-FFF2-40B4-BE49-F238E27FC236}">
                    <a16:creationId xmlns:a16="http://schemas.microsoft.com/office/drawing/2014/main" id="{3A144A3D-057F-4E4E-9515-580C7B083676}"/>
                  </a:ext>
                </a:extLst>
              </p:cNvPr>
              <p:cNvSpPr>
                <a:spLocks/>
              </p:cNvSpPr>
              <p:nvPr userDrawn="1"/>
            </p:nvSpPr>
            <p:spPr bwMode="auto">
              <a:xfrm>
                <a:off x="7094538" y="0"/>
                <a:ext cx="5097463" cy="6064250"/>
              </a:xfrm>
              <a:custGeom>
                <a:avLst/>
                <a:gdLst>
                  <a:gd name="T0" fmla="*/ 888 w 1544"/>
                  <a:gd name="T1" fmla="*/ 112 h 1841"/>
                  <a:gd name="T2" fmla="*/ 280 w 1544"/>
                  <a:gd name="T3" fmla="*/ 972 h 1841"/>
                  <a:gd name="T4" fmla="*/ 624 w 1544"/>
                  <a:gd name="T5" fmla="*/ 1784 h 1841"/>
                  <a:gd name="T6" fmla="*/ 1544 w 1544"/>
                  <a:gd name="T7" fmla="*/ 1554 h 1841"/>
                  <a:gd name="T8" fmla="*/ 1544 w 1544"/>
                  <a:gd name="T9" fmla="*/ 0 h 1841"/>
                  <a:gd name="T10" fmla="*/ 1248 w 1544"/>
                  <a:gd name="T11" fmla="*/ 0 h 1841"/>
                  <a:gd name="T12" fmla="*/ 888 w 1544"/>
                  <a:gd name="T13" fmla="*/ 112 h 1841"/>
                </a:gdLst>
                <a:ahLst/>
                <a:cxnLst>
                  <a:cxn ang="0">
                    <a:pos x="T0" y="T1"/>
                  </a:cxn>
                  <a:cxn ang="0">
                    <a:pos x="T2" y="T3"/>
                  </a:cxn>
                  <a:cxn ang="0">
                    <a:pos x="T4" y="T5"/>
                  </a:cxn>
                  <a:cxn ang="0">
                    <a:pos x="T6" y="T7"/>
                  </a:cxn>
                  <a:cxn ang="0">
                    <a:pos x="T8" y="T9"/>
                  </a:cxn>
                  <a:cxn ang="0">
                    <a:pos x="T10" y="T11"/>
                  </a:cxn>
                  <a:cxn ang="0">
                    <a:pos x="T12" y="T13"/>
                  </a:cxn>
                </a:cxnLst>
                <a:rect l="0" t="0" r="r" b="b"/>
                <a:pathLst>
                  <a:path w="1544" h="1841">
                    <a:moveTo>
                      <a:pt x="888" y="112"/>
                    </a:moveTo>
                    <a:cubicBezTo>
                      <a:pt x="360" y="164"/>
                      <a:pt x="256" y="764"/>
                      <a:pt x="280" y="972"/>
                    </a:cubicBezTo>
                    <a:cubicBezTo>
                      <a:pt x="304" y="1180"/>
                      <a:pt x="0" y="1696"/>
                      <a:pt x="624" y="1784"/>
                    </a:cubicBezTo>
                    <a:cubicBezTo>
                      <a:pt x="1031" y="1841"/>
                      <a:pt x="1322" y="1647"/>
                      <a:pt x="1544" y="1554"/>
                    </a:cubicBezTo>
                    <a:cubicBezTo>
                      <a:pt x="1544" y="0"/>
                      <a:pt x="1544" y="0"/>
                      <a:pt x="1544" y="0"/>
                    </a:cubicBezTo>
                    <a:cubicBezTo>
                      <a:pt x="1248" y="0"/>
                      <a:pt x="1248" y="0"/>
                      <a:pt x="1248" y="0"/>
                    </a:cubicBezTo>
                    <a:cubicBezTo>
                      <a:pt x="1170" y="52"/>
                      <a:pt x="1056" y="95"/>
                      <a:pt x="888" y="112"/>
                    </a:cubicBezTo>
                    <a:close/>
                  </a:path>
                </a:pathLst>
              </a:custGeom>
              <a:solidFill>
                <a:srgbClr val="113583">
                  <a:alpha val="54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212" name="Freeform 5">
                <a:extLst>
                  <a:ext uri="{FF2B5EF4-FFF2-40B4-BE49-F238E27FC236}">
                    <a16:creationId xmlns:a16="http://schemas.microsoft.com/office/drawing/2014/main" id="{765BCF33-078F-4A16-AA33-8731501CE768}"/>
                  </a:ext>
                </a:extLst>
              </p:cNvPr>
              <p:cNvSpPr>
                <a:spLocks/>
              </p:cNvSpPr>
              <p:nvPr userDrawn="1"/>
            </p:nvSpPr>
            <p:spPr bwMode="auto">
              <a:xfrm>
                <a:off x="7332663" y="231663"/>
                <a:ext cx="4859337" cy="5521325"/>
              </a:xfrm>
              <a:custGeom>
                <a:avLst/>
                <a:gdLst>
                  <a:gd name="T0" fmla="*/ 1572 w 1572"/>
                  <a:gd name="T1" fmla="*/ 397 h 1676"/>
                  <a:gd name="T2" fmla="*/ 748 w 1572"/>
                  <a:gd name="T3" fmla="*/ 192 h 1676"/>
                  <a:gd name="T4" fmla="*/ 900 w 1572"/>
                  <a:gd name="T5" fmla="*/ 1504 h 1676"/>
                  <a:gd name="T6" fmla="*/ 1572 w 1572"/>
                  <a:gd name="T7" fmla="*/ 1281 h 1676"/>
                  <a:gd name="T8" fmla="*/ 1572 w 1572"/>
                  <a:gd name="T9" fmla="*/ 397 h 1676"/>
                </a:gdLst>
                <a:ahLst/>
                <a:cxnLst>
                  <a:cxn ang="0">
                    <a:pos x="T0" y="T1"/>
                  </a:cxn>
                  <a:cxn ang="0">
                    <a:pos x="T2" y="T3"/>
                  </a:cxn>
                  <a:cxn ang="0">
                    <a:pos x="T4" y="T5"/>
                  </a:cxn>
                  <a:cxn ang="0">
                    <a:pos x="T6" y="T7"/>
                  </a:cxn>
                  <a:cxn ang="0">
                    <a:pos x="T8" y="T9"/>
                  </a:cxn>
                </a:cxnLst>
                <a:rect l="0" t="0" r="r" b="b"/>
                <a:pathLst>
                  <a:path w="1572" h="1676">
                    <a:moveTo>
                      <a:pt x="1572" y="397"/>
                    </a:moveTo>
                    <a:cubicBezTo>
                      <a:pt x="1343" y="225"/>
                      <a:pt x="964" y="0"/>
                      <a:pt x="748" y="192"/>
                    </a:cubicBezTo>
                    <a:cubicBezTo>
                      <a:pt x="424" y="480"/>
                      <a:pt x="0" y="1676"/>
                      <a:pt x="900" y="1504"/>
                    </a:cubicBezTo>
                    <a:cubicBezTo>
                      <a:pt x="1201" y="1447"/>
                      <a:pt x="1417" y="1364"/>
                      <a:pt x="1572" y="1281"/>
                    </a:cubicBezTo>
                    <a:lnTo>
                      <a:pt x="1572" y="397"/>
                    </a:lnTo>
                    <a:close/>
                  </a:path>
                </a:pathLst>
              </a:custGeom>
              <a:solidFill>
                <a:srgbClr val="263183">
                  <a:alpha val="28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13" name="Freeform 5">
                <a:extLst>
                  <a:ext uri="{FF2B5EF4-FFF2-40B4-BE49-F238E27FC236}">
                    <a16:creationId xmlns:a16="http://schemas.microsoft.com/office/drawing/2014/main" id="{75ADE30F-403E-483F-A345-4CCE96CDBC9F}"/>
                  </a:ext>
                </a:extLst>
              </p:cNvPr>
              <p:cNvSpPr>
                <a:spLocks/>
              </p:cNvSpPr>
              <p:nvPr userDrawn="1"/>
            </p:nvSpPr>
            <p:spPr bwMode="auto">
              <a:xfrm>
                <a:off x="7002463" y="487363"/>
                <a:ext cx="5189538" cy="5521325"/>
              </a:xfrm>
              <a:custGeom>
                <a:avLst/>
                <a:gdLst>
                  <a:gd name="T0" fmla="*/ 1572 w 1572"/>
                  <a:gd name="T1" fmla="*/ 397 h 1676"/>
                  <a:gd name="T2" fmla="*/ 748 w 1572"/>
                  <a:gd name="T3" fmla="*/ 192 h 1676"/>
                  <a:gd name="T4" fmla="*/ 900 w 1572"/>
                  <a:gd name="T5" fmla="*/ 1504 h 1676"/>
                  <a:gd name="T6" fmla="*/ 1572 w 1572"/>
                  <a:gd name="T7" fmla="*/ 1281 h 1676"/>
                  <a:gd name="T8" fmla="*/ 1572 w 1572"/>
                  <a:gd name="T9" fmla="*/ 397 h 1676"/>
                </a:gdLst>
                <a:ahLst/>
                <a:cxnLst>
                  <a:cxn ang="0">
                    <a:pos x="T0" y="T1"/>
                  </a:cxn>
                  <a:cxn ang="0">
                    <a:pos x="T2" y="T3"/>
                  </a:cxn>
                  <a:cxn ang="0">
                    <a:pos x="T4" y="T5"/>
                  </a:cxn>
                  <a:cxn ang="0">
                    <a:pos x="T6" y="T7"/>
                  </a:cxn>
                  <a:cxn ang="0">
                    <a:pos x="T8" y="T9"/>
                  </a:cxn>
                </a:cxnLst>
                <a:rect l="0" t="0" r="r" b="b"/>
                <a:pathLst>
                  <a:path w="1572" h="1676">
                    <a:moveTo>
                      <a:pt x="1572" y="397"/>
                    </a:moveTo>
                    <a:cubicBezTo>
                      <a:pt x="1343" y="225"/>
                      <a:pt x="964" y="0"/>
                      <a:pt x="748" y="192"/>
                    </a:cubicBezTo>
                    <a:cubicBezTo>
                      <a:pt x="424" y="480"/>
                      <a:pt x="0" y="1676"/>
                      <a:pt x="900" y="1504"/>
                    </a:cubicBezTo>
                    <a:cubicBezTo>
                      <a:pt x="1201" y="1447"/>
                      <a:pt x="1417" y="1364"/>
                      <a:pt x="1572" y="1281"/>
                    </a:cubicBezTo>
                    <a:lnTo>
                      <a:pt x="1572" y="397"/>
                    </a:lnTo>
                    <a:close/>
                  </a:path>
                </a:pathLst>
              </a:custGeom>
              <a:solidFill>
                <a:srgbClr val="113583"/>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grpSp>
        <p:sp>
          <p:nvSpPr>
            <p:cNvPr id="204" name="iṧliḍé">
              <a:extLst>
                <a:ext uri="{FF2B5EF4-FFF2-40B4-BE49-F238E27FC236}">
                  <a16:creationId xmlns:a16="http://schemas.microsoft.com/office/drawing/2014/main" id="{7F72208F-CFF1-4FDF-BBF4-2FACE6D4307E}"/>
                </a:ext>
              </a:extLst>
            </p:cNvPr>
            <p:cNvSpPr txBox="1"/>
            <p:nvPr/>
          </p:nvSpPr>
          <p:spPr bwMode="auto">
            <a:xfrm>
              <a:off x="806260" y="738474"/>
              <a:ext cx="2007132" cy="423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fontScale="92500"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sz="2400" b="1" dirty="0">
                  <a:solidFill>
                    <a:schemeClr val="bg1"/>
                  </a:solidFill>
                </a:rPr>
                <a:t>主要工作</a:t>
              </a:r>
              <a:endParaRPr lang="en-US" altLang="zh-CN" sz="2400" b="1" dirty="0">
                <a:solidFill>
                  <a:schemeClr val="bg1"/>
                </a:solidFill>
              </a:endParaRPr>
            </a:p>
          </p:txBody>
        </p:sp>
      </p:grpSp>
    </p:spTree>
    <p:extLst>
      <p:ext uri="{BB962C8B-B14F-4D97-AF65-F5344CB8AC3E}">
        <p14:creationId xmlns:p14="http://schemas.microsoft.com/office/powerpoint/2010/main" val="370663892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2" presetClass="entr" presetSubtype="4" accel="10000" fill="hold" grpId="0" nodeType="withEffect" p14:presetBounceEnd="20000">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14:bounceEnd="20000">
                                          <p:cBhvr additive="base">
                                            <p:cTn id="13" dur="500" fill="hold"/>
                                            <p:tgtEl>
                                              <p:spTgt spid="9"/>
                                            </p:tgtEl>
                                            <p:attrNameLst>
                                              <p:attrName>ppt_x</p:attrName>
                                            </p:attrNameLst>
                                          </p:cBhvr>
                                          <p:tavLst>
                                            <p:tav tm="0">
                                              <p:val>
                                                <p:strVal val="#ppt_x"/>
                                              </p:val>
                                            </p:tav>
                                            <p:tav tm="100000">
                                              <p:val>
                                                <p:strVal val="#ppt_x"/>
                                              </p:val>
                                            </p:tav>
                                          </p:tavLst>
                                        </p:anim>
                                        <p:anim calcmode="lin" valueType="num" p14:bounceEnd="20000">
                                          <p:cBhvr additive="base">
                                            <p:cTn id="14" dur="500" fill="hold"/>
                                            <p:tgtEl>
                                              <p:spTgt spid="9"/>
                                            </p:tgtEl>
                                            <p:attrNameLst>
                                              <p:attrName>ppt_y</p:attrName>
                                            </p:attrNameLst>
                                          </p:cBhvr>
                                          <p:tavLst>
                                            <p:tav tm="0">
                                              <p:val>
                                                <p:strVal val="1+#ppt_h/2"/>
                                              </p:val>
                                            </p:tav>
                                            <p:tav tm="100000">
                                              <p:val>
                                                <p:strVal val="#ppt_y"/>
                                              </p:val>
                                            </p:tav>
                                          </p:tavLst>
                                        </p:anim>
                                      </p:childTnLst>
                                    </p:cTn>
                                  </p:par>
                                  <p:par>
                                    <p:cTn id="15" presetID="22" presetClass="entr" presetSubtype="8"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left)">
                                          <p:cBhvr>
                                            <p:cTn id="17" dur="3000"/>
                                            <p:tgtEl>
                                              <p:spTgt spid="5"/>
                                            </p:tgtEl>
                                          </p:cBhvr>
                                        </p:animEffect>
                                      </p:childTnLst>
                                    </p:cTn>
                                  </p:par>
                                  <p:par>
                                    <p:cTn id="18" presetID="2" presetClass="entr" presetSubtype="4" accel="12000" fill="hold" nodeType="withEffect" p14:presetBounceEnd="20000">
                                      <p:stCondLst>
                                        <p:cond delay="300"/>
                                      </p:stCondLst>
                                      <p:childTnLst>
                                        <p:set>
                                          <p:cBhvr>
                                            <p:cTn id="19" dur="1" fill="hold">
                                              <p:stCondLst>
                                                <p:cond delay="0"/>
                                              </p:stCondLst>
                                            </p:cTn>
                                            <p:tgtEl>
                                              <p:spTgt spid="219"/>
                                            </p:tgtEl>
                                            <p:attrNameLst>
                                              <p:attrName>style.visibility</p:attrName>
                                            </p:attrNameLst>
                                          </p:cBhvr>
                                          <p:to>
                                            <p:strVal val="visible"/>
                                          </p:to>
                                        </p:set>
                                        <p:anim calcmode="lin" valueType="num" p14:bounceEnd="20000">
                                          <p:cBhvr additive="base">
                                            <p:cTn id="20" dur="500" fill="hold"/>
                                            <p:tgtEl>
                                              <p:spTgt spid="219"/>
                                            </p:tgtEl>
                                            <p:attrNameLst>
                                              <p:attrName>ppt_x</p:attrName>
                                            </p:attrNameLst>
                                          </p:cBhvr>
                                          <p:tavLst>
                                            <p:tav tm="0">
                                              <p:val>
                                                <p:strVal val="#ppt_x"/>
                                              </p:val>
                                            </p:tav>
                                            <p:tav tm="100000">
                                              <p:val>
                                                <p:strVal val="#ppt_x"/>
                                              </p:val>
                                            </p:tav>
                                          </p:tavLst>
                                        </p:anim>
                                        <p:anim calcmode="lin" valueType="num" p14:bounceEnd="20000">
                                          <p:cBhvr additive="base">
                                            <p:cTn id="21" dur="500" fill="hold"/>
                                            <p:tgtEl>
                                              <p:spTgt spid="219"/>
                                            </p:tgtEl>
                                            <p:attrNameLst>
                                              <p:attrName>ppt_y</p:attrName>
                                            </p:attrNameLst>
                                          </p:cBhvr>
                                          <p:tavLst>
                                            <p:tav tm="0">
                                              <p:val>
                                                <p:strVal val="1+#ppt_h/2"/>
                                              </p:val>
                                            </p:tav>
                                            <p:tav tm="100000">
                                              <p:val>
                                                <p:strVal val="#ppt_y"/>
                                              </p:val>
                                            </p:tav>
                                          </p:tavLst>
                                        </p:anim>
                                      </p:childTnLst>
                                    </p:cTn>
                                  </p:par>
                                  <p:par>
                                    <p:cTn id="22" presetID="2" presetClass="entr" presetSubtype="8" accel="12000" fill="hold" nodeType="withEffect" p14:presetBounceEnd="20000">
                                      <p:stCondLst>
                                        <p:cond delay="700"/>
                                      </p:stCondLst>
                                      <p:childTnLst>
                                        <p:set>
                                          <p:cBhvr>
                                            <p:cTn id="23" dur="1" fill="hold">
                                              <p:stCondLst>
                                                <p:cond delay="0"/>
                                              </p:stCondLst>
                                            </p:cTn>
                                            <p:tgtEl>
                                              <p:spTgt spid="13"/>
                                            </p:tgtEl>
                                            <p:attrNameLst>
                                              <p:attrName>style.visibility</p:attrName>
                                            </p:attrNameLst>
                                          </p:cBhvr>
                                          <p:to>
                                            <p:strVal val="visible"/>
                                          </p:to>
                                        </p:set>
                                        <p:anim calcmode="lin" valueType="num" p14:bounceEnd="20000">
                                          <p:cBhvr additive="base">
                                            <p:cTn id="24" dur="500" fill="hold"/>
                                            <p:tgtEl>
                                              <p:spTgt spid="13"/>
                                            </p:tgtEl>
                                            <p:attrNameLst>
                                              <p:attrName>ppt_x</p:attrName>
                                            </p:attrNameLst>
                                          </p:cBhvr>
                                          <p:tavLst>
                                            <p:tav tm="0">
                                              <p:val>
                                                <p:strVal val="0-#ppt_w/2"/>
                                              </p:val>
                                            </p:tav>
                                            <p:tav tm="100000">
                                              <p:val>
                                                <p:strVal val="#ppt_x"/>
                                              </p:val>
                                            </p:tav>
                                          </p:tavLst>
                                        </p:anim>
                                        <p:anim calcmode="lin" valueType="num" p14:bounceEnd="20000">
                                          <p:cBhvr additive="base">
                                            <p:cTn id="25" dur="500" fill="hold"/>
                                            <p:tgtEl>
                                              <p:spTgt spid="13"/>
                                            </p:tgtEl>
                                            <p:attrNameLst>
                                              <p:attrName>ppt_y</p:attrName>
                                            </p:attrNameLst>
                                          </p:cBhvr>
                                          <p:tavLst>
                                            <p:tav tm="0">
                                              <p:val>
                                                <p:strVal val="#ppt_y"/>
                                              </p:val>
                                            </p:tav>
                                            <p:tav tm="100000">
                                              <p:val>
                                                <p:strVal val="#ppt_y"/>
                                              </p:val>
                                            </p:tav>
                                          </p:tavLst>
                                        </p:anim>
                                      </p:childTnLst>
                                    </p:cTn>
                                  </p:par>
                                  <p:par>
                                    <p:cTn id="26" presetID="2" presetClass="entr" presetSubtype="4" accel="12000" fill="hold" nodeType="withEffect" p14:presetBounceEnd="20000">
                                      <p:stCondLst>
                                        <p:cond delay="1100"/>
                                      </p:stCondLst>
                                      <p:childTnLst>
                                        <p:set>
                                          <p:cBhvr>
                                            <p:cTn id="27" dur="1" fill="hold">
                                              <p:stCondLst>
                                                <p:cond delay="0"/>
                                              </p:stCondLst>
                                            </p:cTn>
                                            <p:tgtEl>
                                              <p:spTgt spid="222"/>
                                            </p:tgtEl>
                                            <p:attrNameLst>
                                              <p:attrName>style.visibility</p:attrName>
                                            </p:attrNameLst>
                                          </p:cBhvr>
                                          <p:to>
                                            <p:strVal val="visible"/>
                                          </p:to>
                                        </p:set>
                                        <p:anim calcmode="lin" valueType="num" p14:bounceEnd="20000">
                                          <p:cBhvr additive="base">
                                            <p:cTn id="28" dur="500" fill="hold"/>
                                            <p:tgtEl>
                                              <p:spTgt spid="222"/>
                                            </p:tgtEl>
                                            <p:attrNameLst>
                                              <p:attrName>ppt_x</p:attrName>
                                            </p:attrNameLst>
                                          </p:cBhvr>
                                          <p:tavLst>
                                            <p:tav tm="0">
                                              <p:val>
                                                <p:strVal val="#ppt_x"/>
                                              </p:val>
                                            </p:tav>
                                            <p:tav tm="100000">
                                              <p:val>
                                                <p:strVal val="#ppt_x"/>
                                              </p:val>
                                            </p:tav>
                                          </p:tavLst>
                                        </p:anim>
                                        <p:anim calcmode="lin" valueType="num" p14:bounceEnd="20000">
                                          <p:cBhvr additive="base">
                                            <p:cTn id="29" dur="500" fill="hold"/>
                                            <p:tgtEl>
                                              <p:spTgt spid="222"/>
                                            </p:tgtEl>
                                            <p:attrNameLst>
                                              <p:attrName>ppt_y</p:attrName>
                                            </p:attrNameLst>
                                          </p:cBhvr>
                                          <p:tavLst>
                                            <p:tav tm="0">
                                              <p:val>
                                                <p:strVal val="1+#ppt_h/2"/>
                                              </p:val>
                                            </p:tav>
                                            <p:tav tm="100000">
                                              <p:val>
                                                <p:strVal val="#ppt_y"/>
                                              </p:val>
                                            </p:tav>
                                          </p:tavLst>
                                        </p:anim>
                                      </p:childTnLst>
                                    </p:cTn>
                                  </p:par>
                                  <p:par>
                                    <p:cTn id="30" presetID="2" presetClass="entr" presetSubtype="8" accel="12000" fill="hold" nodeType="withEffect" p14:presetBounceEnd="20000">
                                      <p:stCondLst>
                                        <p:cond delay="1500"/>
                                      </p:stCondLst>
                                      <p:childTnLst>
                                        <p:set>
                                          <p:cBhvr>
                                            <p:cTn id="31" dur="1" fill="hold">
                                              <p:stCondLst>
                                                <p:cond delay="0"/>
                                              </p:stCondLst>
                                            </p:cTn>
                                            <p:tgtEl>
                                              <p:spTgt spid="14"/>
                                            </p:tgtEl>
                                            <p:attrNameLst>
                                              <p:attrName>style.visibility</p:attrName>
                                            </p:attrNameLst>
                                          </p:cBhvr>
                                          <p:to>
                                            <p:strVal val="visible"/>
                                          </p:to>
                                        </p:set>
                                        <p:anim calcmode="lin" valueType="num" p14:bounceEnd="20000">
                                          <p:cBhvr additive="base">
                                            <p:cTn id="32" dur="500" fill="hold"/>
                                            <p:tgtEl>
                                              <p:spTgt spid="14"/>
                                            </p:tgtEl>
                                            <p:attrNameLst>
                                              <p:attrName>ppt_x</p:attrName>
                                            </p:attrNameLst>
                                          </p:cBhvr>
                                          <p:tavLst>
                                            <p:tav tm="0">
                                              <p:val>
                                                <p:strVal val="0-#ppt_w/2"/>
                                              </p:val>
                                            </p:tav>
                                            <p:tav tm="100000">
                                              <p:val>
                                                <p:strVal val="#ppt_x"/>
                                              </p:val>
                                            </p:tav>
                                          </p:tavLst>
                                        </p:anim>
                                        <p:anim calcmode="lin" valueType="num" p14:bounceEnd="20000">
                                          <p:cBhvr additive="base">
                                            <p:cTn id="33" dur="500" fill="hold"/>
                                            <p:tgtEl>
                                              <p:spTgt spid="14"/>
                                            </p:tgtEl>
                                            <p:attrNameLst>
                                              <p:attrName>ppt_y</p:attrName>
                                            </p:attrNameLst>
                                          </p:cBhvr>
                                          <p:tavLst>
                                            <p:tav tm="0">
                                              <p:val>
                                                <p:strVal val="#ppt_y"/>
                                              </p:val>
                                            </p:tav>
                                            <p:tav tm="100000">
                                              <p:val>
                                                <p:strVal val="#ppt_y"/>
                                              </p:val>
                                            </p:tav>
                                          </p:tavLst>
                                        </p:anim>
                                      </p:childTnLst>
                                    </p:cTn>
                                  </p:par>
                                  <p:par>
                                    <p:cTn id="34" presetID="2" presetClass="entr" presetSubtype="4" accel="12000" fill="hold" nodeType="withEffect" p14:presetBounceEnd="20000">
                                      <p:stCondLst>
                                        <p:cond delay="1900"/>
                                      </p:stCondLst>
                                      <p:childTnLst>
                                        <p:set>
                                          <p:cBhvr>
                                            <p:cTn id="35" dur="1" fill="hold">
                                              <p:stCondLst>
                                                <p:cond delay="0"/>
                                              </p:stCondLst>
                                            </p:cTn>
                                            <p:tgtEl>
                                              <p:spTgt spid="225"/>
                                            </p:tgtEl>
                                            <p:attrNameLst>
                                              <p:attrName>style.visibility</p:attrName>
                                            </p:attrNameLst>
                                          </p:cBhvr>
                                          <p:to>
                                            <p:strVal val="visible"/>
                                          </p:to>
                                        </p:set>
                                        <p:anim calcmode="lin" valueType="num" p14:bounceEnd="20000">
                                          <p:cBhvr additive="base">
                                            <p:cTn id="36" dur="500" fill="hold"/>
                                            <p:tgtEl>
                                              <p:spTgt spid="225"/>
                                            </p:tgtEl>
                                            <p:attrNameLst>
                                              <p:attrName>ppt_x</p:attrName>
                                            </p:attrNameLst>
                                          </p:cBhvr>
                                          <p:tavLst>
                                            <p:tav tm="0">
                                              <p:val>
                                                <p:strVal val="#ppt_x"/>
                                              </p:val>
                                            </p:tav>
                                            <p:tav tm="100000">
                                              <p:val>
                                                <p:strVal val="#ppt_x"/>
                                              </p:val>
                                            </p:tav>
                                          </p:tavLst>
                                        </p:anim>
                                        <p:anim calcmode="lin" valueType="num" p14:bounceEnd="20000">
                                          <p:cBhvr additive="base">
                                            <p:cTn id="37" dur="500" fill="hold"/>
                                            <p:tgtEl>
                                              <p:spTgt spid="225"/>
                                            </p:tgtEl>
                                            <p:attrNameLst>
                                              <p:attrName>ppt_y</p:attrName>
                                            </p:attrNameLst>
                                          </p:cBhvr>
                                          <p:tavLst>
                                            <p:tav tm="0">
                                              <p:val>
                                                <p:strVal val="1+#ppt_h/2"/>
                                              </p:val>
                                            </p:tav>
                                            <p:tav tm="100000">
                                              <p:val>
                                                <p:strVal val="#ppt_y"/>
                                              </p:val>
                                            </p:tav>
                                          </p:tavLst>
                                        </p:anim>
                                      </p:childTnLst>
                                    </p:cTn>
                                  </p:par>
                                  <p:par>
                                    <p:cTn id="38" presetID="2" presetClass="entr" presetSubtype="8" accel="12000" fill="hold" nodeType="withEffect" p14:presetBounceEnd="20000">
                                      <p:stCondLst>
                                        <p:cond delay="2200"/>
                                      </p:stCondLst>
                                      <p:childTnLst>
                                        <p:set>
                                          <p:cBhvr>
                                            <p:cTn id="39" dur="1" fill="hold">
                                              <p:stCondLst>
                                                <p:cond delay="0"/>
                                              </p:stCondLst>
                                            </p:cTn>
                                            <p:tgtEl>
                                              <p:spTgt spid="17"/>
                                            </p:tgtEl>
                                            <p:attrNameLst>
                                              <p:attrName>style.visibility</p:attrName>
                                            </p:attrNameLst>
                                          </p:cBhvr>
                                          <p:to>
                                            <p:strVal val="visible"/>
                                          </p:to>
                                        </p:set>
                                        <p:anim calcmode="lin" valueType="num" p14:bounceEnd="20000">
                                          <p:cBhvr additive="base">
                                            <p:cTn id="40" dur="500" fill="hold"/>
                                            <p:tgtEl>
                                              <p:spTgt spid="17"/>
                                            </p:tgtEl>
                                            <p:attrNameLst>
                                              <p:attrName>ppt_x</p:attrName>
                                            </p:attrNameLst>
                                          </p:cBhvr>
                                          <p:tavLst>
                                            <p:tav tm="0">
                                              <p:val>
                                                <p:strVal val="0-#ppt_w/2"/>
                                              </p:val>
                                            </p:tav>
                                            <p:tav tm="100000">
                                              <p:val>
                                                <p:strVal val="#ppt_x"/>
                                              </p:val>
                                            </p:tav>
                                          </p:tavLst>
                                        </p:anim>
                                        <p:anim calcmode="lin" valueType="num" p14:bounceEnd="20000">
                                          <p:cBhvr additive="base">
                                            <p:cTn id="41" dur="500" fill="hold"/>
                                            <p:tgtEl>
                                              <p:spTgt spid="17"/>
                                            </p:tgtEl>
                                            <p:attrNameLst>
                                              <p:attrName>ppt_y</p:attrName>
                                            </p:attrNameLst>
                                          </p:cBhvr>
                                          <p:tavLst>
                                            <p:tav tm="0">
                                              <p:val>
                                                <p:strVal val="#ppt_y"/>
                                              </p:val>
                                            </p:tav>
                                            <p:tav tm="100000">
                                              <p:val>
                                                <p:strVal val="#ppt_y"/>
                                              </p:val>
                                            </p:tav>
                                          </p:tavLst>
                                        </p:anim>
                                      </p:childTnLst>
                                    </p:cTn>
                                  </p:par>
                                  <p:par>
                                    <p:cTn id="42" presetID="2" presetClass="entr" presetSubtype="4" accel="12000" fill="hold" nodeType="withEffect" p14:presetBounceEnd="20000">
                                      <p:stCondLst>
                                        <p:cond delay="2500"/>
                                      </p:stCondLst>
                                      <p:childTnLst>
                                        <p:set>
                                          <p:cBhvr>
                                            <p:cTn id="43" dur="1" fill="hold">
                                              <p:stCondLst>
                                                <p:cond delay="0"/>
                                              </p:stCondLst>
                                            </p:cTn>
                                            <p:tgtEl>
                                              <p:spTgt spid="228"/>
                                            </p:tgtEl>
                                            <p:attrNameLst>
                                              <p:attrName>style.visibility</p:attrName>
                                            </p:attrNameLst>
                                          </p:cBhvr>
                                          <p:to>
                                            <p:strVal val="visible"/>
                                          </p:to>
                                        </p:set>
                                        <p:anim calcmode="lin" valueType="num" p14:bounceEnd="20000">
                                          <p:cBhvr additive="base">
                                            <p:cTn id="44" dur="500" fill="hold"/>
                                            <p:tgtEl>
                                              <p:spTgt spid="228"/>
                                            </p:tgtEl>
                                            <p:attrNameLst>
                                              <p:attrName>ppt_x</p:attrName>
                                            </p:attrNameLst>
                                          </p:cBhvr>
                                          <p:tavLst>
                                            <p:tav tm="0">
                                              <p:val>
                                                <p:strVal val="#ppt_x"/>
                                              </p:val>
                                            </p:tav>
                                            <p:tav tm="100000">
                                              <p:val>
                                                <p:strVal val="#ppt_x"/>
                                              </p:val>
                                            </p:tav>
                                          </p:tavLst>
                                        </p:anim>
                                        <p:anim calcmode="lin" valueType="num" p14:bounceEnd="20000">
                                          <p:cBhvr additive="base">
                                            <p:cTn id="45" dur="500" fill="hold"/>
                                            <p:tgtEl>
                                              <p:spTgt spid="228"/>
                                            </p:tgtEl>
                                            <p:attrNameLst>
                                              <p:attrName>ppt_y</p:attrName>
                                            </p:attrNameLst>
                                          </p:cBhvr>
                                          <p:tavLst>
                                            <p:tav tm="0">
                                              <p:val>
                                                <p:strVal val="1+#ppt_h/2"/>
                                              </p:val>
                                            </p:tav>
                                            <p:tav tm="100000">
                                              <p:val>
                                                <p:strVal val="#ppt_y"/>
                                              </p:val>
                                            </p:tav>
                                          </p:tavLst>
                                        </p:anim>
                                      </p:childTnLst>
                                    </p:cTn>
                                  </p:par>
                                  <p:par>
                                    <p:cTn id="46" presetID="2" presetClass="entr" presetSubtype="8" accel="12000" fill="hold" nodeType="withEffect" p14:presetBounceEnd="20000">
                                      <p:stCondLst>
                                        <p:cond delay="2800"/>
                                      </p:stCondLst>
                                      <p:childTnLst>
                                        <p:set>
                                          <p:cBhvr>
                                            <p:cTn id="47" dur="1" fill="hold">
                                              <p:stCondLst>
                                                <p:cond delay="0"/>
                                              </p:stCondLst>
                                            </p:cTn>
                                            <p:tgtEl>
                                              <p:spTgt spid="15"/>
                                            </p:tgtEl>
                                            <p:attrNameLst>
                                              <p:attrName>style.visibility</p:attrName>
                                            </p:attrNameLst>
                                          </p:cBhvr>
                                          <p:to>
                                            <p:strVal val="visible"/>
                                          </p:to>
                                        </p:set>
                                        <p:anim calcmode="lin" valueType="num" p14:bounceEnd="20000">
                                          <p:cBhvr additive="base">
                                            <p:cTn id="48" dur="500" fill="hold"/>
                                            <p:tgtEl>
                                              <p:spTgt spid="15"/>
                                            </p:tgtEl>
                                            <p:attrNameLst>
                                              <p:attrName>ppt_x</p:attrName>
                                            </p:attrNameLst>
                                          </p:cBhvr>
                                          <p:tavLst>
                                            <p:tav tm="0">
                                              <p:val>
                                                <p:strVal val="0-#ppt_w/2"/>
                                              </p:val>
                                            </p:tav>
                                            <p:tav tm="100000">
                                              <p:val>
                                                <p:strVal val="#ppt_x"/>
                                              </p:val>
                                            </p:tav>
                                          </p:tavLst>
                                        </p:anim>
                                        <p:anim calcmode="lin" valueType="num" p14:bounceEnd="20000">
                                          <p:cBhvr additive="base">
                                            <p:cTn id="49"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2" presetClass="entr" presetSubtype="4" accel="1000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par>
                                    <p:cTn id="15" presetID="22" presetClass="entr" presetSubtype="8"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left)">
                                          <p:cBhvr>
                                            <p:cTn id="17" dur="3000"/>
                                            <p:tgtEl>
                                              <p:spTgt spid="5"/>
                                            </p:tgtEl>
                                          </p:cBhvr>
                                        </p:animEffect>
                                      </p:childTnLst>
                                    </p:cTn>
                                  </p:par>
                                  <p:par>
                                    <p:cTn id="18" presetID="2" presetClass="entr" presetSubtype="4" accel="12000" fill="hold" nodeType="withEffect">
                                      <p:stCondLst>
                                        <p:cond delay="300"/>
                                      </p:stCondLst>
                                      <p:childTnLst>
                                        <p:set>
                                          <p:cBhvr>
                                            <p:cTn id="19" dur="1" fill="hold">
                                              <p:stCondLst>
                                                <p:cond delay="0"/>
                                              </p:stCondLst>
                                            </p:cTn>
                                            <p:tgtEl>
                                              <p:spTgt spid="219"/>
                                            </p:tgtEl>
                                            <p:attrNameLst>
                                              <p:attrName>style.visibility</p:attrName>
                                            </p:attrNameLst>
                                          </p:cBhvr>
                                          <p:to>
                                            <p:strVal val="visible"/>
                                          </p:to>
                                        </p:set>
                                        <p:anim calcmode="lin" valueType="num">
                                          <p:cBhvr additive="base">
                                            <p:cTn id="20" dur="500" fill="hold"/>
                                            <p:tgtEl>
                                              <p:spTgt spid="219"/>
                                            </p:tgtEl>
                                            <p:attrNameLst>
                                              <p:attrName>ppt_x</p:attrName>
                                            </p:attrNameLst>
                                          </p:cBhvr>
                                          <p:tavLst>
                                            <p:tav tm="0">
                                              <p:val>
                                                <p:strVal val="#ppt_x"/>
                                              </p:val>
                                            </p:tav>
                                            <p:tav tm="100000">
                                              <p:val>
                                                <p:strVal val="#ppt_x"/>
                                              </p:val>
                                            </p:tav>
                                          </p:tavLst>
                                        </p:anim>
                                        <p:anim calcmode="lin" valueType="num">
                                          <p:cBhvr additive="base">
                                            <p:cTn id="21" dur="500" fill="hold"/>
                                            <p:tgtEl>
                                              <p:spTgt spid="219"/>
                                            </p:tgtEl>
                                            <p:attrNameLst>
                                              <p:attrName>ppt_y</p:attrName>
                                            </p:attrNameLst>
                                          </p:cBhvr>
                                          <p:tavLst>
                                            <p:tav tm="0">
                                              <p:val>
                                                <p:strVal val="1+#ppt_h/2"/>
                                              </p:val>
                                            </p:tav>
                                            <p:tav tm="100000">
                                              <p:val>
                                                <p:strVal val="#ppt_y"/>
                                              </p:val>
                                            </p:tav>
                                          </p:tavLst>
                                        </p:anim>
                                      </p:childTnLst>
                                    </p:cTn>
                                  </p:par>
                                  <p:par>
                                    <p:cTn id="22" presetID="2" presetClass="entr" presetSubtype="8" accel="12000" fill="hold" nodeType="withEffect">
                                      <p:stCondLst>
                                        <p:cond delay="700"/>
                                      </p:stCondLst>
                                      <p:childTnLst>
                                        <p:set>
                                          <p:cBhvr>
                                            <p:cTn id="23" dur="1" fill="hold">
                                              <p:stCondLst>
                                                <p:cond delay="0"/>
                                              </p:stCondLst>
                                            </p:cTn>
                                            <p:tgtEl>
                                              <p:spTgt spid="13"/>
                                            </p:tgtEl>
                                            <p:attrNameLst>
                                              <p:attrName>style.visibility</p:attrName>
                                            </p:attrNameLst>
                                          </p:cBhvr>
                                          <p:to>
                                            <p:strVal val="visible"/>
                                          </p:to>
                                        </p:set>
                                        <p:anim calcmode="lin" valueType="num">
                                          <p:cBhvr additive="base">
                                            <p:cTn id="24" dur="500" fill="hold"/>
                                            <p:tgtEl>
                                              <p:spTgt spid="13"/>
                                            </p:tgtEl>
                                            <p:attrNameLst>
                                              <p:attrName>ppt_x</p:attrName>
                                            </p:attrNameLst>
                                          </p:cBhvr>
                                          <p:tavLst>
                                            <p:tav tm="0">
                                              <p:val>
                                                <p:strVal val="0-#ppt_w/2"/>
                                              </p:val>
                                            </p:tav>
                                            <p:tav tm="100000">
                                              <p:val>
                                                <p:strVal val="#ppt_x"/>
                                              </p:val>
                                            </p:tav>
                                          </p:tavLst>
                                        </p:anim>
                                        <p:anim calcmode="lin" valueType="num">
                                          <p:cBhvr additive="base">
                                            <p:cTn id="25" dur="500" fill="hold"/>
                                            <p:tgtEl>
                                              <p:spTgt spid="13"/>
                                            </p:tgtEl>
                                            <p:attrNameLst>
                                              <p:attrName>ppt_y</p:attrName>
                                            </p:attrNameLst>
                                          </p:cBhvr>
                                          <p:tavLst>
                                            <p:tav tm="0">
                                              <p:val>
                                                <p:strVal val="#ppt_y"/>
                                              </p:val>
                                            </p:tav>
                                            <p:tav tm="100000">
                                              <p:val>
                                                <p:strVal val="#ppt_y"/>
                                              </p:val>
                                            </p:tav>
                                          </p:tavLst>
                                        </p:anim>
                                      </p:childTnLst>
                                    </p:cTn>
                                  </p:par>
                                  <p:par>
                                    <p:cTn id="26" presetID="2" presetClass="entr" presetSubtype="4" accel="12000" fill="hold" nodeType="withEffect">
                                      <p:stCondLst>
                                        <p:cond delay="1100"/>
                                      </p:stCondLst>
                                      <p:childTnLst>
                                        <p:set>
                                          <p:cBhvr>
                                            <p:cTn id="27" dur="1" fill="hold">
                                              <p:stCondLst>
                                                <p:cond delay="0"/>
                                              </p:stCondLst>
                                            </p:cTn>
                                            <p:tgtEl>
                                              <p:spTgt spid="222"/>
                                            </p:tgtEl>
                                            <p:attrNameLst>
                                              <p:attrName>style.visibility</p:attrName>
                                            </p:attrNameLst>
                                          </p:cBhvr>
                                          <p:to>
                                            <p:strVal val="visible"/>
                                          </p:to>
                                        </p:set>
                                        <p:anim calcmode="lin" valueType="num">
                                          <p:cBhvr additive="base">
                                            <p:cTn id="28" dur="500" fill="hold"/>
                                            <p:tgtEl>
                                              <p:spTgt spid="222"/>
                                            </p:tgtEl>
                                            <p:attrNameLst>
                                              <p:attrName>ppt_x</p:attrName>
                                            </p:attrNameLst>
                                          </p:cBhvr>
                                          <p:tavLst>
                                            <p:tav tm="0">
                                              <p:val>
                                                <p:strVal val="#ppt_x"/>
                                              </p:val>
                                            </p:tav>
                                            <p:tav tm="100000">
                                              <p:val>
                                                <p:strVal val="#ppt_x"/>
                                              </p:val>
                                            </p:tav>
                                          </p:tavLst>
                                        </p:anim>
                                        <p:anim calcmode="lin" valueType="num">
                                          <p:cBhvr additive="base">
                                            <p:cTn id="29" dur="500" fill="hold"/>
                                            <p:tgtEl>
                                              <p:spTgt spid="222"/>
                                            </p:tgtEl>
                                            <p:attrNameLst>
                                              <p:attrName>ppt_y</p:attrName>
                                            </p:attrNameLst>
                                          </p:cBhvr>
                                          <p:tavLst>
                                            <p:tav tm="0">
                                              <p:val>
                                                <p:strVal val="1+#ppt_h/2"/>
                                              </p:val>
                                            </p:tav>
                                            <p:tav tm="100000">
                                              <p:val>
                                                <p:strVal val="#ppt_y"/>
                                              </p:val>
                                            </p:tav>
                                          </p:tavLst>
                                        </p:anim>
                                      </p:childTnLst>
                                    </p:cTn>
                                  </p:par>
                                  <p:par>
                                    <p:cTn id="30" presetID="2" presetClass="entr" presetSubtype="8" accel="12000" fill="hold" nodeType="withEffect">
                                      <p:stCondLst>
                                        <p:cond delay="1500"/>
                                      </p:stCondLst>
                                      <p:childTnLst>
                                        <p:set>
                                          <p:cBhvr>
                                            <p:cTn id="31" dur="1" fill="hold">
                                              <p:stCondLst>
                                                <p:cond delay="0"/>
                                              </p:stCondLst>
                                            </p:cTn>
                                            <p:tgtEl>
                                              <p:spTgt spid="14"/>
                                            </p:tgtEl>
                                            <p:attrNameLst>
                                              <p:attrName>style.visibility</p:attrName>
                                            </p:attrNameLst>
                                          </p:cBhvr>
                                          <p:to>
                                            <p:strVal val="visible"/>
                                          </p:to>
                                        </p:set>
                                        <p:anim calcmode="lin" valueType="num">
                                          <p:cBhvr additive="base">
                                            <p:cTn id="32" dur="500" fill="hold"/>
                                            <p:tgtEl>
                                              <p:spTgt spid="14"/>
                                            </p:tgtEl>
                                            <p:attrNameLst>
                                              <p:attrName>ppt_x</p:attrName>
                                            </p:attrNameLst>
                                          </p:cBhvr>
                                          <p:tavLst>
                                            <p:tav tm="0">
                                              <p:val>
                                                <p:strVal val="0-#ppt_w/2"/>
                                              </p:val>
                                            </p:tav>
                                            <p:tav tm="100000">
                                              <p:val>
                                                <p:strVal val="#ppt_x"/>
                                              </p:val>
                                            </p:tav>
                                          </p:tavLst>
                                        </p:anim>
                                        <p:anim calcmode="lin" valueType="num">
                                          <p:cBhvr additive="base">
                                            <p:cTn id="33" dur="500" fill="hold"/>
                                            <p:tgtEl>
                                              <p:spTgt spid="14"/>
                                            </p:tgtEl>
                                            <p:attrNameLst>
                                              <p:attrName>ppt_y</p:attrName>
                                            </p:attrNameLst>
                                          </p:cBhvr>
                                          <p:tavLst>
                                            <p:tav tm="0">
                                              <p:val>
                                                <p:strVal val="#ppt_y"/>
                                              </p:val>
                                            </p:tav>
                                            <p:tav tm="100000">
                                              <p:val>
                                                <p:strVal val="#ppt_y"/>
                                              </p:val>
                                            </p:tav>
                                          </p:tavLst>
                                        </p:anim>
                                      </p:childTnLst>
                                    </p:cTn>
                                  </p:par>
                                  <p:par>
                                    <p:cTn id="34" presetID="2" presetClass="entr" presetSubtype="4" accel="12000" fill="hold" nodeType="withEffect">
                                      <p:stCondLst>
                                        <p:cond delay="1900"/>
                                      </p:stCondLst>
                                      <p:childTnLst>
                                        <p:set>
                                          <p:cBhvr>
                                            <p:cTn id="35" dur="1" fill="hold">
                                              <p:stCondLst>
                                                <p:cond delay="0"/>
                                              </p:stCondLst>
                                            </p:cTn>
                                            <p:tgtEl>
                                              <p:spTgt spid="225"/>
                                            </p:tgtEl>
                                            <p:attrNameLst>
                                              <p:attrName>style.visibility</p:attrName>
                                            </p:attrNameLst>
                                          </p:cBhvr>
                                          <p:to>
                                            <p:strVal val="visible"/>
                                          </p:to>
                                        </p:set>
                                        <p:anim calcmode="lin" valueType="num">
                                          <p:cBhvr additive="base">
                                            <p:cTn id="36" dur="500" fill="hold"/>
                                            <p:tgtEl>
                                              <p:spTgt spid="225"/>
                                            </p:tgtEl>
                                            <p:attrNameLst>
                                              <p:attrName>ppt_x</p:attrName>
                                            </p:attrNameLst>
                                          </p:cBhvr>
                                          <p:tavLst>
                                            <p:tav tm="0">
                                              <p:val>
                                                <p:strVal val="#ppt_x"/>
                                              </p:val>
                                            </p:tav>
                                            <p:tav tm="100000">
                                              <p:val>
                                                <p:strVal val="#ppt_x"/>
                                              </p:val>
                                            </p:tav>
                                          </p:tavLst>
                                        </p:anim>
                                        <p:anim calcmode="lin" valueType="num">
                                          <p:cBhvr additive="base">
                                            <p:cTn id="37" dur="500" fill="hold"/>
                                            <p:tgtEl>
                                              <p:spTgt spid="225"/>
                                            </p:tgtEl>
                                            <p:attrNameLst>
                                              <p:attrName>ppt_y</p:attrName>
                                            </p:attrNameLst>
                                          </p:cBhvr>
                                          <p:tavLst>
                                            <p:tav tm="0">
                                              <p:val>
                                                <p:strVal val="1+#ppt_h/2"/>
                                              </p:val>
                                            </p:tav>
                                            <p:tav tm="100000">
                                              <p:val>
                                                <p:strVal val="#ppt_y"/>
                                              </p:val>
                                            </p:tav>
                                          </p:tavLst>
                                        </p:anim>
                                      </p:childTnLst>
                                    </p:cTn>
                                  </p:par>
                                  <p:par>
                                    <p:cTn id="38" presetID="2" presetClass="entr" presetSubtype="8" accel="12000" fill="hold" nodeType="withEffect">
                                      <p:stCondLst>
                                        <p:cond delay="2200"/>
                                      </p:stCondLst>
                                      <p:childTnLst>
                                        <p:set>
                                          <p:cBhvr>
                                            <p:cTn id="39" dur="1" fill="hold">
                                              <p:stCondLst>
                                                <p:cond delay="0"/>
                                              </p:stCondLst>
                                            </p:cTn>
                                            <p:tgtEl>
                                              <p:spTgt spid="17"/>
                                            </p:tgtEl>
                                            <p:attrNameLst>
                                              <p:attrName>style.visibility</p:attrName>
                                            </p:attrNameLst>
                                          </p:cBhvr>
                                          <p:to>
                                            <p:strVal val="visible"/>
                                          </p:to>
                                        </p:set>
                                        <p:anim calcmode="lin" valueType="num">
                                          <p:cBhvr additive="base">
                                            <p:cTn id="40" dur="500" fill="hold"/>
                                            <p:tgtEl>
                                              <p:spTgt spid="17"/>
                                            </p:tgtEl>
                                            <p:attrNameLst>
                                              <p:attrName>ppt_x</p:attrName>
                                            </p:attrNameLst>
                                          </p:cBhvr>
                                          <p:tavLst>
                                            <p:tav tm="0">
                                              <p:val>
                                                <p:strVal val="0-#ppt_w/2"/>
                                              </p:val>
                                            </p:tav>
                                            <p:tav tm="100000">
                                              <p:val>
                                                <p:strVal val="#ppt_x"/>
                                              </p:val>
                                            </p:tav>
                                          </p:tavLst>
                                        </p:anim>
                                        <p:anim calcmode="lin" valueType="num">
                                          <p:cBhvr additive="base">
                                            <p:cTn id="41" dur="500" fill="hold"/>
                                            <p:tgtEl>
                                              <p:spTgt spid="17"/>
                                            </p:tgtEl>
                                            <p:attrNameLst>
                                              <p:attrName>ppt_y</p:attrName>
                                            </p:attrNameLst>
                                          </p:cBhvr>
                                          <p:tavLst>
                                            <p:tav tm="0">
                                              <p:val>
                                                <p:strVal val="#ppt_y"/>
                                              </p:val>
                                            </p:tav>
                                            <p:tav tm="100000">
                                              <p:val>
                                                <p:strVal val="#ppt_y"/>
                                              </p:val>
                                            </p:tav>
                                          </p:tavLst>
                                        </p:anim>
                                      </p:childTnLst>
                                    </p:cTn>
                                  </p:par>
                                  <p:par>
                                    <p:cTn id="42" presetID="2" presetClass="entr" presetSubtype="4" accel="12000" fill="hold" nodeType="withEffect">
                                      <p:stCondLst>
                                        <p:cond delay="2500"/>
                                      </p:stCondLst>
                                      <p:childTnLst>
                                        <p:set>
                                          <p:cBhvr>
                                            <p:cTn id="43" dur="1" fill="hold">
                                              <p:stCondLst>
                                                <p:cond delay="0"/>
                                              </p:stCondLst>
                                            </p:cTn>
                                            <p:tgtEl>
                                              <p:spTgt spid="228"/>
                                            </p:tgtEl>
                                            <p:attrNameLst>
                                              <p:attrName>style.visibility</p:attrName>
                                            </p:attrNameLst>
                                          </p:cBhvr>
                                          <p:to>
                                            <p:strVal val="visible"/>
                                          </p:to>
                                        </p:set>
                                        <p:anim calcmode="lin" valueType="num">
                                          <p:cBhvr additive="base">
                                            <p:cTn id="44" dur="500" fill="hold"/>
                                            <p:tgtEl>
                                              <p:spTgt spid="228"/>
                                            </p:tgtEl>
                                            <p:attrNameLst>
                                              <p:attrName>ppt_x</p:attrName>
                                            </p:attrNameLst>
                                          </p:cBhvr>
                                          <p:tavLst>
                                            <p:tav tm="0">
                                              <p:val>
                                                <p:strVal val="#ppt_x"/>
                                              </p:val>
                                            </p:tav>
                                            <p:tav tm="100000">
                                              <p:val>
                                                <p:strVal val="#ppt_x"/>
                                              </p:val>
                                            </p:tav>
                                          </p:tavLst>
                                        </p:anim>
                                        <p:anim calcmode="lin" valueType="num">
                                          <p:cBhvr additive="base">
                                            <p:cTn id="45" dur="500" fill="hold"/>
                                            <p:tgtEl>
                                              <p:spTgt spid="228"/>
                                            </p:tgtEl>
                                            <p:attrNameLst>
                                              <p:attrName>ppt_y</p:attrName>
                                            </p:attrNameLst>
                                          </p:cBhvr>
                                          <p:tavLst>
                                            <p:tav tm="0">
                                              <p:val>
                                                <p:strVal val="1+#ppt_h/2"/>
                                              </p:val>
                                            </p:tav>
                                            <p:tav tm="100000">
                                              <p:val>
                                                <p:strVal val="#ppt_y"/>
                                              </p:val>
                                            </p:tav>
                                          </p:tavLst>
                                        </p:anim>
                                      </p:childTnLst>
                                    </p:cTn>
                                  </p:par>
                                  <p:par>
                                    <p:cTn id="46" presetID="2" presetClass="entr" presetSubtype="8" accel="12000" fill="hold" nodeType="withEffect">
                                      <p:stCondLst>
                                        <p:cond delay="2800"/>
                                      </p:stCondLst>
                                      <p:childTnLst>
                                        <p:set>
                                          <p:cBhvr>
                                            <p:cTn id="47" dur="1" fill="hold">
                                              <p:stCondLst>
                                                <p:cond delay="0"/>
                                              </p:stCondLst>
                                            </p:cTn>
                                            <p:tgtEl>
                                              <p:spTgt spid="15"/>
                                            </p:tgtEl>
                                            <p:attrNameLst>
                                              <p:attrName>style.visibility</p:attrName>
                                            </p:attrNameLst>
                                          </p:cBhvr>
                                          <p:to>
                                            <p:strVal val="visible"/>
                                          </p:to>
                                        </p:set>
                                        <p:anim calcmode="lin" valueType="num">
                                          <p:cBhvr additive="base">
                                            <p:cTn id="48" dur="500" fill="hold"/>
                                            <p:tgtEl>
                                              <p:spTgt spid="15"/>
                                            </p:tgtEl>
                                            <p:attrNameLst>
                                              <p:attrName>ppt_x</p:attrName>
                                            </p:attrNameLst>
                                          </p:cBhvr>
                                          <p:tavLst>
                                            <p:tav tm="0">
                                              <p:val>
                                                <p:strVal val="0-#ppt_w/2"/>
                                              </p:val>
                                            </p:tav>
                                            <p:tav tm="100000">
                                              <p:val>
                                                <p:strVal val="#ppt_x"/>
                                              </p:val>
                                            </p:tav>
                                          </p:tavLst>
                                        </p:anim>
                                        <p:anim calcmode="lin" valueType="num">
                                          <p:cBhvr additive="base">
                                            <p:cTn id="49"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图片 21">
            <a:extLst>
              <a:ext uri="{FF2B5EF4-FFF2-40B4-BE49-F238E27FC236}">
                <a16:creationId xmlns:a16="http://schemas.microsoft.com/office/drawing/2014/main" id="{F21180D5-BEAA-49F8-A7E3-653236A100A0}"/>
              </a:ext>
            </a:extLst>
          </p:cNvPr>
          <p:cNvPicPr/>
          <p:nvPr/>
        </p:nvPicPr>
        <p:blipFill>
          <a:blip r:embed="rId3"/>
          <a:stretch>
            <a:fillRect/>
          </a:stretch>
        </p:blipFill>
        <p:spPr>
          <a:xfrm>
            <a:off x="1036320" y="1452126"/>
            <a:ext cx="4853562" cy="2309015"/>
          </a:xfrm>
          <a:prstGeom prst="rect">
            <a:avLst/>
          </a:prstGeom>
        </p:spPr>
      </p:pic>
      <p:grpSp>
        <p:nvGrpSpPr>
          <p:cNvPr id="24" name="ïşḻïḑè">
            <a:extLst>
              <a:ext uri="{FF2B5EF4-FFF2-40B4-BE49-F238E27FC236}">
                <a16:creationId xmlns:a16="http://schemas.microsoft.com/office/drawing/2014/main" id="{04152886-88D2-4738-B61A-834B26C79CD7}"/>
              </a:ext>
            </a:extLst>
          </p:cNvPr>
          <p:cNvGrpSpPr/>
          <p:nvPr/>
        </p:nvGrpSpPr>
        <p:grpSpPr>
          <a:xfrm>
            <a:off x="1028700" y="4046254"/>
            <a:ext cx="3824319" cy="909245"/>
            <a:chOff x="7694581" y="1470933"/>
            <a:chExt cx="3824319" cy="909245"/>
          </a:xfrm>
        </p:grpSpPr>
        <p:grpSp>
          <p:nvGrpSpPr>
            <p:cNvPr id="25" name="íSļiḍè">
              <a:extLst>
                <a:ext uri="{FF2B5EF4-FFF2-40B4-BE49-F238E27FC236}">
                  <a16:creationId xmlns:a16="http://schemas.microsoft.com/office/drawing/2014/main" id="{2EE3FE26-F0A3-45A0-8BE5-05C58C4CD8C9}"/>
                </a:ext>
              </a:extLst>
            </p:cNvPr>
            <p:cNvGrpSpPr/>
            <p:nvPr/>
          </p:nvGrpSpPr>
          <p:grpSpPr>
            <a:xfrm>
              <a:off x="8179431" y="1470933"/>
              <a:ext cx="3339469" cy="909245"/>
              <a:chOff x="6146198" y="3135241"/>
              <a:chExt cx="2740349" cy="909245"/>
            </a:xfrm>
          </p:grpSpPr>
          <p:sp>
            <p:nvSpPr>
              <p:cNvPr id="27" name="ïṣľídê">
                <a:extLst>
                  <a:ext uri="{FF2B5EF4-FFF2-40B4-BE49-F238E27FC236}">
                    <a16:creationId xmlns:a16="http://schemas.microsoft.com/office/drawing/2014/main" id="{FDE74E38-A725-4453-AA9F-297B55FA45EF}"/>
                  </a:ext>
                </a:extLst>
              </p:cNvPr>
              <p:cNvSpPr txBox="1"/>
              <p:nvPr/>
            </p:nvSpPr>
            <p:spPr>
              <a:xfrm>
                <a:off x="6146198" y="3135241"/>
                <a:ext cx="2740349" cy="510597"/>
              </a:xfrm>
              <a:prstGeom prst="rect">
                <a:avLst/>
              </a:prstGeom>
              <a:no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b="1" dirty="0"/>
                  <a:t>Add NC</a:t>
                </a:r>
                <a:endParaRPr lang="id-ID" sz="1600" b="1" dirty="0"/>
              </a:p>
            </p:txBody>
          </p:sp>
          <p:sp>
            <p:nvSpPr>
              <p:cNvPr id="28" name="ïṧľîḋè">
                <a:extLst>
                  <a:ext uri="{FF2B5EF4-FFF2-40B4-BE49-F238E27FC236}">
                    <a16:creationId xmlns:a16="http://schemas.microsoft.com/office/drawing/2014/main" id="{4B778AD4-B1E3-47C9-B874-AD733A2C51FD}"/>
                  </a:ext>
                </a:extLst>
              </p:cNvPr>
              <p:cNvSpPr/>
              <p:nvPr/>
            </p:nvSpPr>
            <p:spPr bwMode="auto">
              <a:xfrm>
                <a:off x="6146198" y="3424860"/>
                <a:ext cx="2740349" cy="619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dirty="0"/>
                  <a:t>引入</a:t>
                </a:r>
                <a:r>
                  <a:rPr lang="en-US" altLang="zh-CN" sz="1100" dirty="0"/>
                  <a:t>NC</a:t>
                </a:r>
                <a:r>
                  <a:rPr lang="zh-CN" altLang="en-US" sz="1100" dirty="0"/>
                  <a:t>可以节省时间，从而提高了精度。 因此，软件工程师可以根据他们愿意接受的精度和时间之间的权衡，在适配器模式定义中添加</a:t>
                </a:r>
                <a:r>
                  <a:rPr lang="en-US" altLang="zh-CN" sz="1100" dirty="0"/>
                  <a:t>/</a:t>
                </a:r>
                <a:r>
                  <a:rPr lang="zh-CN" altLang="en-US" sz="1100" dirty="0"/>
                  <a:t>从适配器模式定义中删除这些约束。</a:t>
                </a:r>
                <a:endParaRPr lang="en-US" altLang="zh-CN" sz="1100" dirty="0"/>
              </a:p>
            </p:txBody>
          </p:sp>
        </p:grpSp>
        <p:sp>
          <p:nvSpPr>
            <p:cNvPr id="26" name="iṣļíďé">
              <a:extLst>
                <a:ext uri="{FF2B5EF4-FFF2-40B4-BE49-F238E27FC236}">
                  <a16:creationId xmlns:a16="http://schemas.microsoft.com/office/drawing/2014/main" id="{DAF8E00A-70E6-4F52-961C-2762C7A283E9}"/>
                </a:ext>
              </a:extLst>
            </p:cNvPr>
            <p:cNvSpPr/>
            <p:nvPr/>
          </p:nvSpPr>
          <p:spPr>
            <a:xfrm>
              <a:off x="7694581" y="1715409"/>
              <a:ext cx="410732" cy="410446"/>
            </a:xfrm>
            <a:custGeom>
              <a:avLst/>
              <a:gdLst>
                <a:gd name="connsiteX0" fmla="*/ 0 w 607145"/>
                <a:gd name="connsiteY0" fmla="*/ 362142 h 606722"/>
                <a:gd name="connsiteX1" fmla="*/ 89054 w 607145"/>
                <a:gd name="connsiteY1" fmla="*/ 362142 h 606722"/>
                <a:gd name="connsiteX2" fmla="*/ 89054 w 607145"/>
                <a:gd name="connsiteY2" fmla="*/ 364808 h 606722"/>
                <a:gd name="connsiteX3" fmla="*/ 89054 w 607145"/>
                <a:gd name="connsiteY3" fmla="*/ 395647 h 606722"/>
                <a:gd name="connsiteX4" fmla="*/ 89054 w 607145"/>
                <a:gd name="connsiteY4" fmla="*/ 398136 h 606722"/>
                <a:gd name="connsiteX5" fmla="*/ 89054 w 607145"/>
                <a:gd name="connsiteY5" fmla="*/ 519893 h 606722"/>
                <a:gd name="connsiteX6" fmla="*/ 89054 w 607145"/>
                <a:gd name="connsiteY6" fmla="*/ 556153 h 606722"/>
                <a:gd name="connsiteX7" fmla="*/ 89054 w 607145"/>
                <a:gd name="connsiteY7" fmla="*/ 560241 h 606722"/>
                <a:gd name="connsiteX8" fmla="*/ 89054 w 607145"/>
                <a:gd name="connsiteY8" fmla="*/ 570639 h 606722"/>
                <a:gd name="connsiteX9" fmla="*/ 89054 w 607145"/>
                <a:gd name="connsiteY9" fmla="*/ 596502 h 606722"/>
                <a:gd name="connsiteX10" fmla="*/ 89054 w 607145"/>
                <a:gd name="connsiteY10" fmla="*/ 606722 h 606722"/>
                <a:gd name="connsiteX11" fmla="*/ 0 w 607145"/>
                <a:gd name="connsiteY11" fmla="*/ 606722 h 606722"/>
                <a:gd name="connsiteX12" fmla="*/ 277026 w 607145"/>
                <a:gd name="connsiteY12" fmla="*/ 335680 h 606722"/>
                <a:gd name="connsiteX13" fmla="*/ 443287 w 607145"/>
                <a:gd name="connsiteY13" fmla="*/ 377270 h 606722"/>
                <a:gd name="connsiteX14" fmla="*/ 443287 w 607145"/>
                <a:gd name="connsiteY14" fmla="*/ 423571 h 606722"/>
                <a:gd name="connsiteX15" fmla="*/ 443020 w 607145"/>
                <a:gd name="connsiteY15" fmla="*/ 423571 h 606722"/>
                <a:gd name="connsiteX16" fmla="*/ 324109 w 607145"/>
                <a:gd name="connsiteY16" fmla="*/ 394689 h 606722"/>
                <a:gd name="connsiteX17" fmla="*/ 315476 w 607145"/>
                <a:gd name="connsiteY17" fmla="*/ 429703 h 606722"/>
                <a:gd name="connsiteX18" fmla="*/ 443554 w 607145"/>
                <a:gd name="connsiteY18" fmla="*/ 460895 h 606722"/>
                <a:gd name="connsiteX19" fmla="*/ 593794 w 607145"/>
                <a:gd name="connsiteY19" fmla="*/ 419660 h 606722"/>
                <a:gd name="connsiteX20" fmla="*/ 607145 w 607145"/>
                <a:gd name="connsiteY20" fmla="*/ 470671 h 606722"/>
                <a:gd name="connsiteX21" fmla="*/ 382941 w 607145"/>
                <a:gd name="connsiteY21" fmla="*/ 594020 h 606722"/>
                <a:gd name="connsiteX22" fmla="*/ 212942 w 607145"/>
                <a:gd name="connsiteY22" fmla="*/ 546387 h 606722"/>
                <a:gd name="connsiteX23" fmla="*/ 125183 w 607145"/>
                <a:gd name="connsiteY23" fmla="*/ 556162 h 606722"/>
                <a:gd name="connsiteX24" fmla="*/ 125183 w 607145"/>
                <a:gd name="connsiteY24" fmla="*/ 519904 h 606722"/>
                <a:gd name="connsiteX25" fmla="*/ 125183 w 607145"/>
                <a:gd name="connsiteY25" fmla="*/ 395666 h 606722"/>
                <a:gd name="connsiteX26" fmla="*/ 125183 w 607145"/>
                <a:gd name="connsiteY26" fmla="*/ 362163 h 606722"/>
                <a:gd name="connsiteX27" fmla="*/ 125183 w 607145"/>
                <a:gd name="connsiteY27" fmla="*/ 359230 h 606722"/>
                <a:gd name="connsiteX28" fmla="*/ 347584 w 607145"/>
                <a:gd name="connsiteY28" fmla="*/ 0 h 606722"/>
                <a:gd name="connsiteX29" fmla="*/ 606228 w 607145"/>
                <a:gd name="connsiteY29" fmla="*/ 268376 h 606722"/>
                <a:gd name="connsiteX30" fmla="*/ 501827 w 607145"/>
                <a:gd name="connsiteY30" fmla="*/ 268376 h 606722"/>
                <a:gd name="connsiteX31" fmla="*/ 501827 w 607145"/>
                <a:gd name="connsiteY31" fmla="*/ 407452 h 606722"/>
                <a:gd name="connsiteX32" fmla="*/ 479309 w 607145"/>
                <a:gd name="connsiteY32" fmla="*/ 413584 h 606722"/>
                <a:gd name="connsiteX33" fmla="*/ 479309 w 607145"/>
                <a:gd name="connsiteY33" fmla="*/ 377238 h 606722"/>
                <a:gd name="connsiteX34" fmla="*/ 479309 w 607145"/>
                <a:gd name="connsiteY34" fmla="*/ 349067 h 606722"/>
                <a:gd name="connsiteX35" fmla="*/ 451985 w 607145"/>
                <a:gd name="connsiteY35" fmla="*/ 342224 h 606722"/>
                <a:gd name="connsiteX36" fmla="*/ 285727 w 607145"/>
                <a:gd name="connsiteY36" fmla="*/ 300635 h 606722"/>
                <a:gd name="connsiteX37" fmla="*/ 278696 w 607145"/>
                <a:gd name="connsiteY37" fmla="*/ 298858 h 606722"/>
                <a:gd name="connsiteX38" fmla="*/ 271487 w 607145"/>
                <a:gd name="connsiteY38" fmla="*/ 300013 h 606722"/>
                <a:gd name="connsiteX39" fmla="*/ 200996 w 607145"/>
                <a:gd name="connsiteY39" fmla="*/ 310943 h 606722"/>
                <a:gd name="connsiteX40" fmla="*/ 200996 w 607145"/>
                <a:gd name="connsiteY40" fmla="*/ 268376 h 606722"/>
                <a:gd name="connsiteX41" fmla="*/ 97663 w 607145"/>
                <a:gd name="connsiteY41" fmla="*/ 268376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07145" h="606722">
                  <a:moveTo>
                    <a:pt x="0" y="362142"/>
                  </a:moveTo>
                  <a:lnTo>
                    <a:pt x="89054" y="362142"/>
                  </a:lnTo>
                  <a:lnTo>
                    <a:pt x="89054" y="364808"/>
                  </a:lnTo>
                  <a:lnTo>
                    <a:pt x="89054" y="395647"/>
                  </a:lnTo>
                  <a:lnTo>
                    <a:pt x="89054" y="398136"/>
                  </a:lnTo>
                  <a:lnTo>
                    <a:pt x="89054" y="519893"/>
                  </a:lnTo>
                  <a:lnTo>
                    <a:pt x="89054" y="556153"/>
                  </a:lnTo>
                  <a:lnTo>
                    <a:pt x="89054" y="560241"/>
                  </a:lnTo>
                  <a:lnTo>
                    <a:pt x="89054" y="570639"/>
                  </a:lnTo>
                  <a:lnTo>
                    <a:pt x="89054" y="596502"/>
                  </a:lnTo>
                  <a:lnTo>
                    <a:pt x="89054" y="606722"/>
                  </a:lnTo>
                  <a:lnTo>
                    <a:pt x="0" y="606722"/>
                  </a:lnTo>
                  <a:close/>
                  <a:moveTo>
                    <a:pt x="277026" y="335680"/>
                  </a:moveTo>
                  <a:lnTo>
                    <a:pt x="443287" y="377270"/>
                  </a:lnTo>
                  <a:lnTo>
                    <a:pt x="443287" y="423571"/>
                  </a:lnTo>
                  <a:lnTo>
                    <a:pt x="443020" y="423571"/>
                  </a:lnTo>
                  <a:lnTo>
                    <a:pt x="324109" y="394689"/>
                  </a:lnTo>
                  <a:lnTo>
                    <a:pt x="315476" y="429703"/>
                  </a:lnTo>
                  <a:lnTo>
                    <a:pt x="443554" y="460895"/>
                  </a:lnTo>
                  <a:lnTo>
                    <a:pt x="593794" y="419660"/>
                  </a:lnTo>
                  <a:lnTo>
                    <a:pt x="607145" y="470671"/>
                  </a:lnTo>
                  <a:lnTo>
                    <a:pt x="382941" y="594020"/>
                  </a:lnTo>
                  <a:lnTo>
                    <a:pt x="212942" y="546387"/>
                  </a:lnTo>
                  <a:lnTo>
                    <a:pt x="125183" y="556162"/>
                  </a:lnTo>
                  <a:lnTo>
                    <a:pt x="125183" y="519904"/>
                  </a:lnTo>
                  <a:lnTo>
                    <a:pt x="125183" y="395666"/>
                  </a:lnTo>
                  <a:lnTo>
                    <a:pt x="125183" y="362163"/>
                  </a:lnTo>
                  <a:lnTo>
                    <a:pt x="125183" y="359230"/>
                  </a:lnTo>
                  <a:close/>
                  <a:moveTo>
                    <a:pt x="347584" y="0"/>
                  </a:moveTo>
                  <a:lnTo>
                    <a:pt x="606228" y="268376"/>
                  </a:lnTo>
                  <a:lnTo>
                    <a:pt x="501827" y="268376"/>
                  </a:lnTo>
                  <a:lnTo>
                    <a:pt x="501827" y="407452"/>
                  </a:lnTo>
                  <a:lnTo>
                    <a:pt x="479309" y="413584"/>
                  </a:lnTo>
                  <a:lnTo>
                    <a:pt x="479309" y="377238"/>
                  </a:lnTo>
                  <a:lnTo>
                    <a:pt x="479309" y="349067"/>
                  </a:lnTo>
                  <a:lnTo>
                    <a:pt x="451985" y="342224"/>
                  </a:lnTo>
                  <a:lnTo>
                    <a:pt x="285727" y="300635"/>
                  </a:lnTo>
                  <a:lnTo>
                    <a:pt x="278696" y="298858"/>
                  </a:lnTo>
                  <a:lnTo>
                    <a:pt x="271487" y="300013"/>
                  </a:lnTo>
                  <a:lnTo>
                    <a:pt x="200996" y="310943"/>
                  </a:lnTo>
                  <a:lnTo>
                    <a:pt x="200996" y="268376"/>
                  </a:lnTo>
                  <a:lnTo>
                    <a:pt x="97663" y="268376"/>
                  </a:lnTo>
                  <a:close/>
                </a:path>
              </a:pathLst>
            </a:cu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grpSp>
        <p:nvGrpSpPr>
          <p:cNvPr id="30" name="ïşḻïḑè">
            <a:extLst>
              <a:ext uri="{FF2B5EF4-FFF2-40B4-BE49-F238E27FC236}">
                <a16:creationId xmlns:a16="http://schemas.microsoft.com/office/drawing/2014/main" id="{28E565BB-4A3D-4029-A893-6B7CC875DB63}"/>
              </a:ext>
            </a:extLst>
          </p:cNvPr>
          <p:cNvGrpSpPr/>
          <p:nvPr/>
        </p:nvGrpSpPr>
        <p:grpSpPr>
          <a:xfrm>
            <a:off x="1028700" y="5299450"/>
            <a:ext cx="4442460" cy="909245"/>
            <a:chOff x="7694581" y="1470933"/>
            <a:chExt cx="4442460" cy="909245"/>
          </a:xfrm>
        </p:grpSpPr>
        <p:grpSp>
          <p:nvGrpSpPr>
            <p:cNvPr id="31" name="íSļiḍè">
              <a:extLst>
                <a:ext uri="{FF2B5EF4-FFF2-40B4-BE49-F238E27FC236}">
                  <a16:creationId xmlns:a16="http://schemas.microsoft.com/office/drawing/2014/main" id="{38880D98-C29C-405C-B405-E34B5E0C50C2}"/>
                </a:ext>
              </a:extLst>
            </p:cNvPr>
            <p:cNvGrpSpPr/>
            <p:nvPr/>
          </p:nvGrpSpPr>
          <p:grpSpPr>
            <a:xfrm>
              <a:off x="8179431" y="1470933"/>
              <a:ext cx="3957610" cy="909245"/>
              <a:chOff x="6146198" y="3135241"/>
              <a:chExt cx="3247592" cy="909245"/>
            </a:xfrm>
          </p:grpSpPr>
          <p:sp>
            <p:nvSpPr>
              <p:cNvPr id="33" name="ïṣľídê">
                <a:extLst>
                  <a:ext uri="{FF2B5EF4-FFF2-40B4-BE49-F238E27FC236}">
                    <a16:creationId xmlns:a16="http://schemas.microsoft.com/office/drawing/2014/main" id="{60E83F82-4655-492D-ADD6-E081615037AD}"/>
                  </a:ext>
                </a:extLst>
              </p:cNvPr>
              <p:cNvSpPr txBox="1"/>
              <p:nvPr/>
            </p:nvSpPr>
            <p:spPr>
              <a:xfrm>
                <a:off x="6146198" y="3135241"/>
                <a:ext cx="2740349" cy="510597"/>
              </a:xfrm>
              <a:prstGeom prst="rect">
                <a:avLst/>
              </a:prstGeom>
              <a:no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b="1" dirty="0"/>
                  <a:t>MLI</a:t>
                </a:r>
                <a:endParaRPr lang="id-ID" sz="1600" b="1" dirty="0"/>
              </a:p>
            </p:txBody>
          </p:sp>
          <p:sp>
            <p:nvSpPr>
              <p:cNvPr id="34" name="ïṧľîḋè">
                <a:extLst>
                  <a:ext uri="{FF2B5EF4-FFF2-40B4-BE49-F238E27FC236}">
                    <a16:creationId xmlns:a16="http://schemas.microsoft.com/office/drawing/2014/main" id="{3B2E9717-95A5-44AF-8E6F-8EEEBFE585E8}"/>
                  </a:ext>
                </a:extLst>
              </p:cNvPr>
              <p:cNvSpPr/>
              <p:nvPr/>
            </p:nvSpPr>
            <p:spPr bwMode="auto">
              <a:xfrm>
                <a:off x="6146198" y="3424860"/>
                <a:ext cx="3247592" cy="619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dirty="0"/>
                  <a:t>试验结果表明可以通过分析层次结构使用的技术来减轻</a:t>
                </a:r>
                <a:r>
                  <a:rPr lang="en-US" altLang="zh-CN" sz="1100" dirty="0"/>
                  <a:t>MLI</a:t>
                </a:r>
                <a:r>
                  <a:rPr lang="zh-CN" altLang="en-US" sz="1100" dirty="0"/>
                  <a:t>松弛对恢复性能的影响。 考虑到用于表示和导航类层次结构的方法，我们的结果可以推广到其他工具。</a:t>
                </a:r>
                <a:endParaRPr lang="en-US" altLang="zh-CN" sz="1100" dirty="0"/>
              </a:p>
            </p:txBody>
          </p:sp>
        </p:grpSp>
        <p:sp>
          <p:nvSpPr>
            <p:cNvPr id="32" name="iṣļíďé">
              <a:extLst>
                <a:ext uri="{FF2B5EF4-FFF2-40B4-BE49-F238E27FC236}">
                  <a16:creationId xmlns:a16="http://schemas.microsoft.com/office/drawing/2014/main" id="{DF98186F-A323-46C2-B2B4-3EF03AE97593}"/>
                </a:ext>
              </a:extLst>
            </p:cNvPr>
            <p:cNvSpPr/>
            <p:nvPr/>
          </p:nvSpPr>
          <p:spPr>
            <a:xfrm>
              <a:off x="7694581" y="1715409"/>
              <a:ext cx="410732" cy="410446"/>
            </a:xfrm>
            <a:custGeom>
              <a:avLst/>
              <a:gdLst>
                <a:gd name="connsiteX0" fmla="*/ 0 w 607145"/>
                <a:gd name="connsiteY0" fmla="*/ 362142 h 606722"/>
                <a:gd name="connsiteX1" fmla="*/ 89054 w 607145"/>
                <a:gd name="connsiteY1" fmla="*/ 362142 h 606722"/>
                <a:gd name="connsiteX2" fmla="*/ 89054 w 607145"/>
                <a:gd name="connsiteY2" fmla="*/ 364808 h 606722"/>
                <a:gd name="connsiteX3" fmla="*/ 89054 w 607145"/>
                <a:gd name="connsiteY3" fmla="*/ 395647 h 606722"/>
                <a:gd name="connsiteX4" fmla="*/ 89054 w 607145"/>
                <a:gd name="connsiteY4" fmla="*/ 398136 h 606722"/>
                <a:gd name="connsiteX5" fmla="*/ 89054 w 607145"/>
                <a:gd name="connsiteY5" fmla="*/ 519893 h 606722"/>
                <a:gd name="connsiteX6" fmla="*/ 89054 w 607145"/>
                <a:gd name="connsiteY6" fmla="*/ 556153 h 606722"/>
                <a:gd name="connsiteX7" fmla="*/ 89054 w 607145"/>
                <a:gd name="connsiteY7" fmla="*/ 560241 h 606722"/>
                <a:gd name="connsiteX8" fmla="*/ 89054 w 607145"/>
                <a:gd name="connsiteY8" fmla="*/ 570639 h 606722"/>
                <a:gd name="connsiteX9" fmla="*/ 89054 w 607145"/>
                <a:gd name="connsiteY9" fmla="*/ 596502 h 606722"/>
                <a:gd name="connsiteX10" fmla="*/ 89054 w 607145"/>
                <a:gd name="connsiteY10" fmla="*/ 606722 h 606722"/>
                <a:gd name="connsiteX11" fmla="*/ 0 w 607145"/>
                <a:gd name="connsiteY11" fmla="*/ 606722 h 606722"/>
                <a:gd name="connsiteX12" fmla="*/ 277026 w 607145"/>
                <a:gd name="connsiteY12" fmla="*/ 335680 h 606722"/>
                <a:gd name="connsiteX13" fmla="*/ 443287 w 607145"/>
                <a:gd name="connsiteY13" fmla="*/ 377270 h 606722"/>
                <a:gd name="connsiteX14" fmla="*/ 443287 w 607145"/>
                <a:gd name="connsiteY14" fmla="*/ 423571 h 606722"/>
                <a:gd name="connsiteX15" fmla="*/ 443020 w 607145"/>
                <a:gd name="connsiteY15" fmla="*/ 423571 h 606722"/>
                <a:gd name="connsiteX16" fmla="*/ 324109 w 607145"/>
                <a:gd name="connsiteY16" fmla="*/ 394689 h 606722"/>
                <a:gd name="connsiteX17" fmla="*/ 315476 w 607145"/>
                <a:gd name="connsiteY17" fmla="*/ 429703 h 606722"/>
                <a:gd name="connsiteX18" fmla="*/ 443554 w 607145"/>
                <a:gd name="connsiteY18" fmla="*/ 460895 h 606722"/>
                <a:gd name="connsiteX19" fmla="*/ 593794 w 607145"/>
                <a:gd name="connsiteY19" fmla="*/ 419660 h 606722"/>
                <a:gd name="connsiteX20" fmla="*/ 607145 w 607145"/>
                <a:gd name="connsiteY20" fmla="*/ 470671 h 606722"/>
                <a:gd name="connsiteX21" fmla="*/ 382941 w 607145"/>
                <a:gd name="connsiteY21" fmla="*/ 594020 h 606722"/>
                <a:gd name="connsiteX22" fmla="*/ 212942 w 607145"/>
                <a:gd name="connsiteY22" fmla="*/ 546387 h 606722"/>
                <a:gd name="connsiteX23" fmla="*/ 125183 w 607145"/>
                <a:gd name="connsiteY23" fmla="*/ 556162 h 606722"/>
                <a:gd name="connsiteX24" fmla="*/ 125183 w 607145"/>
                <a:gd name="connsiteY24" fmla="*/ 519904 h 606722"/>
                <a:gd name="connsiteX25" fmla="*/ 125183 w 607145"/>
                <a:gd name="connsiteY25" fmla="*/ 395666 h 606722"/>
                <a:gd name="connsiteX26" fmla="*/ 125183 w 607145"/>
                <a:gd name="connsiteY26" fmla="*/ 362163 h 606722"/>
                <a:gd name="connsiteX27" fmla="*/ 125183 w 607145"/>
                <a:gd name="connsiteY27" fmla="*/ 359230 h 606722"/>
                <a:gd name="connsiteX28" fmla="*/ 347584 w 607145"/>
                <a:gd name="connsiteY28" fmla="*/ 0 h 606722"/>
                <a:gd name="connsiteX29" fmla="*/ 606228 w 607145"/>
                <a:gd name="connsiteY29" fmla="*/ 268376 h 606722"/>
                <a:gd name="connsiteX30" fmla="*/ 501827 w 607145"/>
                <a:gd name="connsiteY30" fmla="*/ 268376 h 606722"/>
                <a:gd name="connsiteX31" fmla="*/ 501827 w 607145"/>
                <a:gd name="connsiteY31" fmla="*/ 407452 h 606722"/>
                <a:gd name="connsiteX32" fmla="*/ 479309 w 607145"/>
                <a:gd name="connsiteY32" fmla="*/ 413584 h 606722"/>
                <a:gd name="connsiteX33" fmla="*/ 479309 w 607145"/>
                <a:gd name="connsiteY33" fmla="*/ 377238 h 606722"/>
                <a:gd name="connsiteX34" fmla="*/ 479309 w 607145"/>
                <a:gd name="connsiteY34" fmla="*/ 349067 h 606722"/>
                <a:gd name="connsiteX35" fmla="*/ 451985 w 607145"/>
                <a:gd name="connsiteY35" fmla="*/ 342224 h 606722"/>
                <a:gd name="connsiteX36" fmla="*/ 285727 w 607145"/>
                <a:gd name="connsiteY36" fmla="*/ 300635 h 606722"/>
                <a:gd name="connsiteX37" fmla="*/ 278696 w 607145"/>
                <a:gd name="connsiteY37" fmla="*/ 298858 h 606722"/>
                <a:gd name="connsiteX38" fmla="*/ 271487 w 607145"/>
                <a:gd name="connsiteY38" fmla="*/ 300013 h 606722"/>
                <a:gd name="connsiteX39" fmla="*/ 200996 w 607145"/>
                <a:gd name="connsiteY39" fmla="*/ 310943 h 606722"/>
                <a:gd name="connsiteX40" fmla="*/ 200996 w 607145"/>
                <a:gd name="connsiteY40" fmla="*/ 268376 h 606722"/>
                <a:gd name="connsiteX41" fmla="*/ 97663 w 607145"/>
                <a:gd name="connsiteY41" fmla="*/ 268376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07145" h="606722">
                  <a:moveTo>
                    <a:pt x="0" y="362142"/>
                  </a:moveTo>
                  <a:lnTo>
                    <a:pt x="89054" y="362142"/>
                  </a:lnTo>
                  <a:lnTo>
                    <a:pt x="89054" y="364808"/>
                  </a:lnTo>
                  <a:lnTo>
                    <a:pt x="89054" y="395647"/>
                  </a:lnTo>
                  <a:lnTo>
                    <a:pt x="89054" y="398136"/>
                  </a:lnTo>
                  <a:lnTo>
                    <a:pt x="89054" y="519893"/>
                  </a:lnTo>
                  <a:lnTo>
                    <a:pt x="89054" y="556153"/>
                  </a:lnTo>
                  <a:lnTo>
                    <a:pt x="89054" y="560241"/>
                  </a:lnTo>
                  <a:lnTo>
                    <a:pt x="89054" y="570639"/>
                  </a:lnTo>
                  <a:lnTo>
                    <a:pt x="89054" y="596502"/>
                  </a:lnTo>
                  <a:lnTo>
                    <a:pt x="89054" y="606722"/>
                  </a:lnTo>
                  <a:lnTo>
                    <a:pt x="0" y="606722"/>
                  </a:lnTo>
                  <a:close/>
                  <a:moveTo>
                    <a:pt x="277026" y="335680"/>
                  </a:moveTo>
                  <a:lnTo>
                    <a:pt x="443287" y="377270"/>
                  </a:lnTo>
                  <a:lnTo>
                    <a:pt x="443287" y="423571"/>
                  </a:lnTo>
                  <a:lnTo>
                    <a:pt x="443020" y="423571"/>
                  </a:lnTo>
                  <a:lnTo>
                    <a:pt x="324109" y="394689"/>
                  </a:lnTo>
                  <a:lnTo>
                    <a:pt x="315476" y="429703"/>
                  </a:lnTo>
                  <a:lnTo>
                    <a:pt x="443554" y="460895"/>
                  </a:lnTo>
                  <a:lnTo>
                    <a:pt x="593794" y="419660"/>
                  </a:lnTo>
                  <a:lnTo>
                    <a:pt x="607145" y="470671"/>
                  </a:lnTo>
                  <a:lnTo>
                    <a:pt x="382941" y="594020"/>
                  </a:lnTo>
                  <a:lnTo>
                    <a:pt x="212942" y="546387"/>
                  </a:lnTo>
                  <a:lnTo>
                    <a:pt x="125183" y="556162"/>
                  </a:lnTo>
                  <a:lnTo>
                    <a:pt x="125183" y="519904"/>
                  </a:lnTo>
                  <a:lnTo>
                    <a:pt x="125183" y="395666"/>
                  </a:lnTo>
                  <a:lnTo>
                    <a:pt x="125183" y="362163"/>
                  </a:lnTo>
                  <a:lnTo>
                    <a:pt x="125183" y="359230"/>
                  </a:lnTo>
                  <a:close/>
                  <a:moveTo>
                    <a:pt x="347584" y="0"/>
                  </a:moveTo>
                  <a:lnTo>
                    <a:pt x="606228" y="268376"/>
                  </a:lnTo>
                  <a:lnTo>
                    <a:pt x="501827" y="268376"/>
                  </a:lnTo>
                  <a:lnTo>
                    <a:pt x="501827" y="407452"/>
                  </a:lnTo>
                  <a:lnTo>
                    <a:pt x="479309" y="413584"/>
                  </a:lnTo>
                  <a:lnTo>
                    <a:pt x="479309" y="377238"/>
                  </a:lnTo>
                  <a:lnTo>
                    <a:pt x="479309" y="349067"/>
                  </a:lnTo>
                  <a:lnTo>
                    <a:pt x="451985" y="342224"/>
                  </a:lnTo>
                  <a:lnTo>
                    <a:pt x="285727" y="300635"/>
                  </a:lnTo>
                  <a:lnTo>
                    <a:pt x="278696" y="298858"/>
                  </a:lnTo>
                  <a:lnTo>
                    <a:pt x="271487" y="300013"/>
                  </a:lnTo>
                  <a:lnTo>
                    <a:pt x="200996" y="310943"/>
                  </a:lnTo>
                  <a:lnTo>
                    <a:pt x="200996" y="268376"/>
                  </a:lnTo>
                  <a:lnTo>
                    <a:pt x="97663" y="268376"/>
                  </a:lnTo>
                  <a:close/>
                </a:path>
              </a:pathLst>
            </a:custGeom>
            <a:solidFill>
              <a:srgbClr val="FF6969"/>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grpSp>
        <p:nvGrpSpPr>
          <p:cNvPr id="35" name="ïşḻïḑè">
            <a:extLst>
              <a:ext uri="{FF2B5EF4-FFF2-40B4-BE49-F238E27FC236}">
                <a16:creationId xmlns:a16="http://schemas.microsoft.com/office/drawing/2014/main" id="{33DEC92A-9F80-4B32-B282-C123934D7B9F}"/>
              </a:ext>
            </a:extLst>
          </p:cNvPr>
          <p:cNvGrpSpPr/>
          <p:nvPr/>
        </p:nvGrpSpPr>
        <p:grpSpPr>
          <a:xfrm>
            <a:off x="6984141" y="3479740"/>
            <a:ext cx="4442460" cy="909245"/>
            <a:chOff x="7694581" y="1470933"/>
            <a:chExt cx="4442460" cy="909245"/>
          </a:xfrm>
        </p:grpSpPr>
        <p:grpSp>
          <p:nvGrpSpPr>
            <p:cNvPr id="36" name="íSļiḍè">
              <a:extLst>
                <a:ext uri="{FF2B5EF4-FFF2-40B4-BE49-F238E27FC236}">
                  <a16:creationId xmlns:a16="http://schemas.microsoft.com/office/drawing/2014/main" id="{16560F2C-0FF2-4C24-A9BC-7E35612EC4AD}"/>
                </a:ext>
              </a:extLst>
            </p:cNvPr>
            <p:cNvGrpSpPr/>
            <p:nvPr/>
          </p:nvGrpSpPr>
          <p:grpSpPr>
            <a:xfrm>
              <a:off x="8179431" y="1470933"/>
              <a:ext cx="3957610" cy="909245"/>
              <a:chOff x="6146198" y="3135241"/>
              <a:chExt cx="3247592" cy="909245"/>
            </a:xfrm>
          </p:grpSpPr>
          <p:sp>
            <p:nvSpPr>
              <p:cNvPr id="38" name="ïṣľídê">
                <a:extLst>
                  <a:ext uri="{FF2B5EF4-FFF2-40B4-BE49-F238E27FC236}">
                    <a16:creationId xmlns:a16="http://schemas.microsoft.com/office/drawing/2014/main" id="{7AEA003D-50BF-4BBA-B0C1-5DDCEAE9B7A7}"/>
                  </a:ext>
                </a:extLst>
              </p:cNvPr>
              <p:cNvSpPr txBox="1"/>
              <p:nvPr/>
            </p:nvSpPr>
            <p:spPr>
              <a:xfrm>
                <a:off x="6146198" y="3135241"/>
                <a:ext cx="2740349" cy="510597"/>
              </a:xfrm>
              <a:prstGeom prst="rect">
                <a:avLst/>
              </a:prstGeom>
              <a:no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b="1" dirty="0"/>
                  <a:t>Relax</a:t>
                </a:r>
                <a:endParaRPr lang="id-ID" sz="1600" b="1" dirty="0"/>
              </a:p>
            </p:txBody>
          </p:sp>
          <p:sp>
            <p:nvSpPr>
              <p:cNvPr id="39" name="ïṧľîḋè">
                <a:extLst>
                  <a:ext uri="{FF2B5EF4-FFF2-40B4-BE49-F238E27FC236}">
                    <a16:creationId xmlns:a16="http://schemas.microsoft.com/office/drawing/2014/main" id="{EF230110-F162-4691-B39B-9775039B0D30}"/>
                  </a:ext>
                </a:extLst>
              </p:cNvPr>
              <p:cNvSpPr/>
              <p:nvPr/>
            </p:nvSpPr>
            <p:spPr bwMode="auto">
              <a:xfrm>
                <a:off x="6146198" y="3424860"/>
                <a:ext cx="3247592" cy="619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dirty="0"/>
                  <a:t>有关</a:t>
                </a:r>
                <a:r>
                  <a:rPr lang="en-US" altLang="zh-CN" sz="1100" dirty="0"/>
                  <a:t>Relax Target</a:t>
                </a:r>
                <a:r>
                  <a:rPr lang="zh-CN" altLang="en-US" sz="1100" dirty="0"/>
                  <a:t>，</a:t>
                </a:r>
                <a:r>
                  <a:rPr lang="en-US" altLang="zh-CN" sz="1100" dirty="0"/>
                  <a:t>Relax Adapter</a:t>
                </a:r>
                <a:r>
                  <a:rPr lang="zh-CN" altLang="en-US" sz="1100" dirty="0"/>
                  <a:t>＆</a:t>
                </a:r>
                <a:r>
                  <a:rPr lang="en-US" altLang="zh-CN" sz="1100" dirty="0" err="1"/>
                  <a:t>Adaptee</a:t>
                </a:r>
                <a:r>
                  <a:rPr lang="zh-CN" altLang="en-US" sz="1100" dirty="0"/>
                  <a:t>和</a:t>
                </a:r>
                <a:r>
                  <a:rPr lang="en-US" altLang="zh-CN" sz="1100" dirty="0"/>
                  <a:t>Relax</a:t>
                </a:r>
                <a:r>
                  <a:rPr lang="zh-CN" altLang="en-US" sz="1100" dirty="0"/>
                  <a:t>代表团的结果表明，</a:t>
                </a:r>
                <a:r>
                  <a:rPr lang="en-US" altLang="zh-CN" sz="1100" dirty="0"/>
                  <a:t>Adapter Relax</a:t>
                </a:r>
                <a:r>
                  <a:rPr lang="zh-CN" altLang="en-US" sz="1100" dirty="0"/>
                  <a:t>不会降低精度，也不会增加时间性能。 这表明软件工程师可以使用不太严格的适配器定义，而不会降低精度。</a:t>
                </a:r>
                <a:endParaRPr lang="en-US" altLang="zh-CN" sz="1100" dirty="0"/>
              </a:p>
            </p:txBody>
          </p:sp>
        </p:grpSp>
        <p:sp>
          <p:nvSpPr>
            <p:cNvPr id="37" name="iṣļíďé">
              <a:extLst>
                <a:ext uri="{FF2B5EF4-FFF2-40B4-BE49-F238E27FC236}">
                  <a16:creationId xmlns:a16="http://schemas.microsoft.com/office/drawing/2014/main" id="{5160C917-FAB9-47D9-BF4A-88F9C9BA86E1}"/>
                </a:ext>
              </a:extLst>
            </p:cNvPr>
            <p:cNvSpPr/>
            <p:nvPr/>
          </p:nvSpPr>
          <p:spPr>
            <a:xfrm>
              <a:off x="7694581" y="1715409"/>
              <a:ext cx="410732" cy="410446"/>
            </a:xfrm>
            <a:custGeom>
              <a:avLst/>
              <a:gdLst>
                <a:gd name="connsiteX0" fmla="*/ 0 w 607145"/>
                <a:gd name="connsiteY0" fmla="*/ 362142 h 606722"/>
                <a:gd name="connsiteX1" fmla="*/ 89054 w 607145"/>
                <a:gd name="connsiteY1" fmla="*/ 362142 h 606722"/>
                <a:gd name="connsiteX2" fmla="*/ 89054 w 607145"/>
                <a:gd name="connsiteY2" fmla="*/ 364808 h 606722"/>
                <a:gd name="connsiteX3" fmla="*/ 89054 w 607145"/>
                <a:gd name="connsiteY3" fmla="*/ 395647 h 606722"/>
                <a:gd name="connsiteX4" fmla="*/ 89054 w 607145"/>
                <a:gd name="connsiteY4" fmla="*/ 398136 h 606722"/>
                <a:gd name="connsiteX5" fmla="*/ 89054 w 607145"/>
                <a:gd name="connsiteY5" fmla="*/ 519893 h 606722"/>
                <a:gd name="connsiteX6" fmla="*/ 89054 w 607145"/>
                <a:gd name="connsiteY6" fmla="*/ 556153 h 606722"/>
                <a:gd name="connsiteX7" fmla="*/ 89054 w 607145"/>
                <a:gd name="connsiteY7" fmla="*/ 560241 h 606722"/>
                <a:gd name="connsiteX8" fmla="*/ 89054 w 607145"/>
                <a:gd name="connsiteY8" fmla="*/ 570639 h 606722"/>
                <a:gd name="connsiteX9" fmla="*/ 89054 w 607145"/>
                <a:gd name="connsiteY9" fmla="*/ 596502 h 606722"/>
                <a:gd name="connsiteX10" fmla="*/ 89054 w 607145"/>
                <a:gd name="connsiteY10" fmla="*/ 606722 h 606722"/>
                <a:gd name="connsiteX11" fmla="*/ 0 w 607145"/>
                <a:gd name="connsiteY11" fmla="*/ 606722 h 606722"/>
                <a:gd name="connsiteX12" fmla="*/ 277026 w 607145"/>
                <a:gd name="connsiteY12" fmla="*/ 335680 h 606722"/>
                <a:gd name="connsiteX13" fmla="*/ 443287 w 607145"/>
                <a:gd name="connsiteY13" fmla="*/ 377270 h 606722"/>
                <a:gd name="connsiteX14" fmla="*/ 443287 w 607145"/>
                <a:gd name="connsiteY14" fmla="*/ 423571 h 606722"/>
                <a:gd name="connsiteX15" fmla="*/ 443020 w 607145"/>
                <a:gd name="connsiteY15" fmla="*/ 423571 h 606722"/>
                <a:gd name="connsiteX16" fmla="*/ 324109 w 607145"/>
                <a:gd name="connsiteY16" fmla="*/ 394689 h 606722"/>
                <a:gd name="connsiteX17" fmla="*/ 315476 w 607145"/>
                <a:gd name="connsiteY17" fmla="*/ 429703 h 606722"/>
                <a:gd name="connsiteX18" fmla="*/ 443554 w 607145"/>
                <a:gd name="connsiteY18" fmla="*/ 460895 h 606722"/>
                <a:gd name="connsiteX19" fmla="*/ 593794 w 607145"/>
                <a:gd name="connsiteY19" fmla="*/ 419660 h 606722"/>
                <a:gd name="connsiteX20" fmla="*/ 607145 w 607145"/>
                <a:gd name="connsiteY20" fmla="*/ 470671 h 606722"/>
                <a:gd name="connsiteX21" fmla="*/ 382941 w 607145"/>
                <a:gd name="connsiteY21" fmla="*/ 594020 h 606722"/>
                <a:gd name="connsiteX22" fmla="*/ 212942 w 607145"/>
                <a:gd name="connsiteY22" fmla="*/ 546387 h 606722"/>
                <a:gd name="connsiteX23" fmla="*/ 125183 w 607145"/>
                <a:gd name="connsiteY23" fmla="*/ 556162 h 606722"/>
                <a:gd name="connsiteX24" fmla="*/ 125183 w 607145"/>
                <a:gd name="connsiteY24" fmla="*/ 519904 h 606722"/>
                <a:gd name="connsiteX25" fmla="*/ 125183 w 607145"/>
                <a:gd name="connsiteY25" fmla="*/ 395666 h 606722"/>
                <a:gd name="connsiteX26" fmla="*/ 125183 w 607145"/>
                <a:gd name="connsiteY26" fmla="*/ 362163 h 606722"/>
                <a:gd name="connsiteX27" fmla="*/ 125183 w 607145"/>
                <a:gd name="connsiteY27" fmla="*/ 359230 h 606722"/>
                <a:gd name="connsiteX28" fmla="*/ 347584 w 607145"/>
                <a:gd name="connsiteY28" fmla="*/ 0 h 606722"/>
                <a:gd name="connsiteX29" fmla="*/ 606228 w 607145"/>
                <a:gd name="connsiteY29" fmla="*/ 268376 h 606722"/>
                <a:gd name="connsiteX30" fmla="*/ 501827 w 607145"/>
                <a:gd name="connsiteY30" fmla="*/ 268376 h 606722"/>
                <a:gd name="connsiteX31" fmla="*/ 501827 w 607145"/>
                <a:gd name="connsiteY31" fmla="*/ 407452 h 606722"/>
                <a:gd name="connsiteX32" fmla="*/ 479309 w 607145"/>
                <a:gd name="connsiteY32" fmla="*/ 413584 h 606722"/>
                <a:gd name="connsiteX33" fmla="*/ 479309 w 607145"/>
                <a:gd name="connsiteY33" fmla="*/ 377238 h 606722"/>
                <a:gd name="connsiteX34" fmla="*/ 479309 w 607145"/>
                <a:gd name="connsiteY34" fmla="*/ 349067 h 606722"/>
                <a:gd name="connsiteX35" fmla="*/ 451985 w 607145"/>
                <a:gd name="connsiteY35" fmla="*/ 342224 h 606722"/>
                <a:gd name="connsiteX36" fmla="*/ 285727 w 607145"/>
                <a:gd name="connsiteY36" fmla="*/ 300635 h 606722"/>
                <a:gd name="connsiteX37" fmla="*/ 278696 w 607145"/>
                <a:gd name="connsiteY37" fmla="*/ 298858 h 606722"/>
                <a:gd name="connsiteX38" fmla="*/ 271487 w 607145"/>
                <a:gd name="connsiteY38" fmla="*/ 300013 h 606722"/>
                <a:gd name="connsiteX39" fmla="*/ 200996 w 607145"/>
                <a:gd name="connsiteY39" fmla="*/ 310943 h 606722"/>
                <a:gd name="connsiteX40" fmla="*/ 200996 w 607145"/>
                <a:gd name="connsiteY40" fmla="*/ 268376 h 606722"/>
                <a:gd name="connsiteX41" fmla="*/ 97663 w 607145"/>
                <a:gd name="connsiteY41" fmla="*/ 268376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07145" h="606722">
                  <a:moveTo>
                    <a:pt x="0" y="362142"/>
                  </a:moveTo>
                  <a:lnTo>
                    <a:pt x="89054" y="362142"/>
                  </a:lnTo>
                  <a:lnTo>
                    <a:pt x="89054" y="364808"/>
                  </a:lnTo>
                  <a:lnTo>
                    <a:pt x="89054" y="395647"/>
                  </a:lnTo>
                  <a:lnTo>
                    <a:pt x="89054" y="398136"/>
                  </a:lnTo>
                  <a:lnTo>
                    <a:pt x="89054" y="519893"/>
                  </a:lnTo>
                  <a:lnTo>
                    <a:pt x="89054" y="556153"/>
                  </a:lnTo>
                  <a:lnTo>
                    <a:pt x="89054" y="560241"/>
                  </a:lnTo>
                  <a:lnTo>
                    <a:pt x="89054" y="570639"/>
                  </a:lnTo>
                  <a:lnTo>
                    <a:pt x="89054" y="596502"/>
                  </a:lnTo>
                  <a:lnTo>
                    <a:pt x="89054" y="606722"/>
                  </a:lnTo>
                  <a:lnTo>
                    <a:pt x="0" y="606722"/>
                  </a:lnTo>
                  <a:close/>
                  <a:moveTo>
                    <a:pt x="277026" y="335680"/>
                  </a:moveTo>
                  <a:lnTo>
                    <a:pt x="443287" y="377270"/>
                  </a:lnTo>
                  <a:lnTo>
                    <a:pt x="443287" y="423571"/>
                  </a:lnTo>
                  <a:lnTo>
                    <a:pt x="443020" y="423571"/>
                  </a:lnTo>
                  <a:lnTo>
                    <a:pt x="324109" y="394689"/>
                  </a:lnTo>
                  <a:lnTo>
                    <a:pt x="315476" y="429703"/>
                  </a:lnTo>
                  <a:lnTo>
                    <a:pt x="443554" y="460895"/>
                  </a:lnTo>
                  <a:lnTo>
                    <a:pt x="593794" y="419660"/>
                  </a:lnTo>
                  <a:lnTo>
                    <a:pt x="607145" y="470671"/>
                  </a:lnTo>
                  <a:lnTo>
                    <a:pt x="382941" y="594020"/>
                  </a:lnTo>
                  <a:lnTo>
                    <a:pt x="212942" y="546387"/>
                  </a:lnTo>
                  <a:lnTo>
                    <a:pt x="125183" y="556162"/>
                  </a:lnTo>
                  <a:lnTo>
                    <a:pt x="125183" y="519904"/>
                  </a:lnTo>
                  <a:lnTo>
                    <a:pt x="125183" y="395666"/>
                  </a:lnTo>
                  <a:lnTo>
                    <a:pt x="125183" y="362163"/>
                  </a:lnTo>
                  <a:lnTo>
                    <a:pt x="125183" y="359230"/>
                  </a:lnTo>
                  <a:close/>
                  <a:moveTo>
                    <a:pt x="347584" y="0"/>
                  </a:moveTo>
                  <a:lnTo>
                    <a:pt x="606228" y="268376"/>
                  </a:lnTo>
                  <a:lnTo>
                    <a:pt x="501827" y="268376"/>
                  </a:lnTo>
                  <a:lnTo>
                    <a:pt x="501827" y="407452"/>
                  </a:lnTo>
                  <a:lnTo>
                    <a:pt x="479309" y="413584"/>
                  </a:lnTo>
                  <a:lnTo>
                    <a:pt x="479309" y="377238"/>
                  </a:lnTo>
                  <a:lnTo>
                    <a:pt x="479309" y="349067"/>
                  </a:lnTo>
                  <a:lnTo>
                    <a:pt x="451985" y="342224"/>
                  </a:lnTo>
                  <a:lnTo>
                    <a:pt x="285727" y="300635"/>
                  </a:lnTo>
                  <a:lnTo>
                    <a:pt x="278696" y="298858"/>
                  </a:lnTo>
                  <a:lnTo>
                    <a:pt x="271487" y="300013"/>
                  </a:lnTo>
                  <a:lnTo>
                    <a:pt x="200996" y="310943"/>
                  </a:lnTo>
                  <a:lnTo>
                    <a:pt x="200996" y="268376"/>
                  </a:lnTo>
                  <a:lnTo>
                    <a:pt x="97663" y="268376"/>
                  </a:lnTo>
                  <a:close/>
                </a:path>
              </a:pathLst>
            </a:custGeom>
            <a:solidFill>
              <a:srgbClr val="113583"/>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grpSp>
        <p:nvGrpSpPr>
          <p:cNvPr id="40" name="ïşḻïḑè">
            <a:extLst>
              <a:ext uri="{FF2B5EF4-FFF2-40B4-BE49-F238E27FC236}">
                <a16:creationId xmlns:a16="http://schemas.microsoft.com/office/drawing/2014/main" id="{3CCF187D-4520-408A-AC26-C2D6A71A355C}"/>
              </a:ext>
            </a:extLst>
          </p:cNvPr>
          <p:cNvGrpSpPr/>
          <p:nvPr/>
        </p:nvGrpSpPr>
        <p:grpSpPr>
          <a:xfrm>
            <a:off x="6984141" y="2479950"/>
            <a:ext cx="4442460" cy="909245"/>
            <a:chOff x="7694581" y="1470933"/>
            <a:chExt cx="4442460" cy="909245"/>
          </a:xfrm>
        </p:grpSpPr>
        <p:grpSp>
          <p:nvGrpSpPr>
            <p:cNvPr id="41" name="íSļiḍè">
              <a:extLst>
                <a:ext uri="{FF2B5EF4-FFF2-40B4-BE49-F238E27FC236}">
                  <a16:creationId xmlns:a16="http://schemas.microsoft.com/office/drawing/2014/main" id="{A3EF826D-BE13-4FE7-91FC-2B468288377C}"/>
                </a:ext>
              </a:extLst>
            </p:cNvPr>
            <p:cNvGrpSpPr/>
            <p:nvPr/>
          </p:nvGrpSpPr>
          <p:grpSpPr>
            <a:xfrm>
              <a:off x="8179431" y="1470933"/>
              <a:ext cx="3957610" cy="909245"/>
              <a:chOff x="6146198" y="3135241"/>
              <a:chExt cx="3247592" cy="909245"/>
            </a:xfrm>
          </p:grpSpPr>
          <p:sp>
            <p:nvSpPr>
              <p:cNvPr id="44" name="ïṣľídê">
                <a:extLst>
                  <a:ext uri="{FF2B5EF4-FFF2-40B4-BE49-F238E27FC236}">
                    <a16:creationId xmlns:a16="http://schemas.microsoft.com/office/drawing/2014/main" id="{91C07B09-09C9-4CA0-9B83-CAAF85767DB2}"/>
                  </a:ext>
                </a:extLst>
              </p:cNvPr>
              <p:cNvSpPr txBox="1"/>
              <p:nvPr/>
            </p:nvSpPr>
            <p:spPr>
              <a:xfrm>
                <a:off x="6146198" y="3135241"/>
                <a:ext cx="2740349" cy="510597"/>
              </a:xfrm>
              <a:prstGeom prst="rect">
                <a:avLst/>
              </a:prstGeom>
              <a:no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b="1" dirty="0" err="1"/>
                  <a:t>Opt</a:t>
                </a:r>
                <a:r>
                  <a:rPr lang="en-US" altLang="zh-CN" sz="1600" b="1" dirty="0"/>
                  <a:t> CS</a:t>
                </a:r>
                <a:endParaRPr lang="id-ID" sz="1600" b="1" dirty="0"/>
              </a:p>
            </p:txBody>
          </p:sp>
          <p:sp>
            <p:nvSpPr>
              <p:cNvPr id="50" name="ïṧľîḋè">
                <a:extLst>
                  <a:ext uri="{FF2B5EF4-FFF2-40B4-BE49-F238E27FC236}">
                    <a16:creationId xmlns:a16="http://schemas.microsoft.com/office/drawing/2014/main" id="{A5E77219-B829-4E17-8AA5-10D4A5BE0E84}"/>
                  </a:ext>
                </a:extLst>
              </p:cNvPr>
              <p:cNvSpPr/>
              <p:nvPr/>
            </p:nvSpPr>
            <p:spPr bwMode="auto">
              <a:xfrm>
                <a:off x="6146198" y="3424860"/>
                <a:ext cx="3247592" cy="619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900" dirty="0"/>
                  <a:t>引入</a:t>
                </a:r>
                <a:r>
                  <a:rPr lang="en-US" altLang="zh-CN" sz="900" dirty="0" err="1"/>
                  <a:t>Opt</a:t>
                </a:r>
                <a:r>
                  <a:rPr lang="en-US" altLang="zh-CN" sz="900" dirty="0"/>
                  <a:t> CS</a:t>
                </a:r>
                <a:r>
                  <a:rPr lang="zh-CN" altLang="en-US" sz="900" dirty="0"/>
                  <a:t>放宽会降低性能。 这建议软件工程师为观察者模式谨慎使用这种放松。</a:t>
                </a:r>
                <a:endParaRPr lang="en-US" altLang="zh-CN" sz="900" dirty="0"/>
              </a:p>
            </p:txBody>
          </p:sp>
        </p:grpSp>
        <p:sp>
          <p:nvSpPr>
            <p:cNvPr id="42" name="iṣļíďé">
              <a:extLst>
                <a:ext uri="{FF2B5EF4-FFF2-40B4-BE49-F238E27FC236}">
                  <a16:creationId xmlns:a16="http://schemas.microsoft.com/office/drawing/2014/main" id="{65068B85-7C4C-4C65-90B1-3C33E8274069}"/>
                </a:ext>
              </a:extLst>
            </p:cNvPr>
            <p:cNvSpPr/>
            <p:nvPr/>
          </p:nvSpPr>
          <p:spPr>
            <a:xfrm>
              <a:off x="7694581" y="1715409"/>
              <a:ext cx="410732" cy="410446"/>
            </a:xfrm>
            <a:custGeom>
              <a:avLst/>
              <a:gdLst>
                <a:gd name="connsiteX0" fmla="*/ 0 w 607145"/>
                <a:gd name="connsiteY0" fmla="*/ 362142 h 606722"/>
                <a:gd name="connsiteX1" fmla="*/ 89054 w 607145"/>
                <a:gd name="connsiteY1" fmla="*/ 362142 h 606722"/>
                <a:gd name="connsiteX2" fmla="*/ 89054 w 607145"/>
                <a:gd name="connsiteY2" fmla="*/ 364808 h 606722"/>
                <a:gd name="connsiteX3" fmla="*/ 89054 w 607145"/>
                <a:gd name="connsiteY3" fmla="*/ 395647 h 606722"/>
                <a:gd name="connsiteX4" fmla="*/ 89054 w 607145"/>
                <a:gd name="connsiteY4" fmla="*/ 398136 h 606722"/>
                <a:gd name="connsiteX5" fmla="*/ 89054 w 607145"/>
                <a:gd name="connsiteY5" fmla="*/ 519893 h 606722"/>
                <a:gd name="connsiteX6" fmla="*/ 89054 w 607145"/>
                <a:gd name="connsiteY6" fmla="*/ 556153 h 606722"/>
                <a:gd name="connsiteX7" fmla="*/ 89054 w 607145"/>
                <a:gd name="connsiteY7" fmla="*/ 560241 h 606722"/>
                <a:gd name="connsiteX8" fmla="*/ 89054 w 607145"/>
                <a:gd name="connsiteY8" fmla="*/ 570639 h 606722"/>
                <a:gd name="connsiteX9" fmla="*/ 89054 w 607145"/>
                <a:gd name="connsiteY9" fmla="*/ 596502 h 606722"/>
                <a:gd name="connsiteX10" fmla="*/ 89054 w 607145"/>
                <a:gd name="connsiteY10" fmla="*/ 606722 h 606722"/>
                <a:gd name="connsiteX11" fmla="*/ 0 w 607145"/>
                <a:gd name="connsiteY11" fmla="*/ 606722 h 606722"/>
                <a:gd name="connsiteX12" fmla="*/ 277026 w 607145"/>
                <a:gd name="connsiteY12" fmla="*/ 335680 h 606722"/>
                <a:gd name="connsiteX13" fmla="*/ 443287 w 607145"/>
                <a:gd name="connsiteY13" fmla="*/ 377270 h 606722"/>
                <a:gd name="connsiteX14" fmla="*/ 443287 w 607145"/>
                <a:gd name="connsiteY14" fmla="*/ 423571 h 606722"/>
                <a:gd name="connsiteX15" fmla="*/ 443020 w 607145"/>
                <a:gd name="connsiteY15" fmla="*/ 423571 h 606722"/>
                <a:gd name="connsiteX16" fmla="*/ 324109 w 607145"/>
                <a:gd name="connsiteY16" fmla="*/ 394689 h 606722"/>
                <a:gd name="connsiteX17" fmla="*/ 315476 w 607145"/>
                <a:gd name="connsiteY17" fmla="*/ 429703 h 606722"/>
                <a:gd name="connsiteX18" fmla="*/ 443554 w 607145"/>
                <a:gd name="connsiteY18" fmla="*/ 460895 h 606722"/>
                <a:gd name="connsiteX19" fmla="*/ 593794 w 607145"/>
                <a:gd name="connsiteY19" fmla="*/ 419660 h 606722"/>
                <a:gd name="connsiteX20" fmla="*/ 607145 w 607145"/>
                <a:gd name="connsiteY20" fmla="*/ 470671 h 606722"/>
                <a:gd name="connsiteX21" fmla="*/ 382941 w 607145"/>
                <a:gd name="connsiteY21" fmla="*/ 594020 h 606722"/>
                <a:gd name="connsiteX22" fmla="*/ 212942 w 607145"/>
                <a:gd name="connsiteY22" fmla="*/ 546387 h 606722"/>
                <a:gd name="connsiteX23" fmla="*/ 125183 w 607145"/>
                <a:gd name="connsiteY23" fmla="*/ 556162 h 606722"/>
                <a:gd name="connsiteX24" fmla="*/ 125183 w 607145"/>
                <a:gd name="connsiteY24" fmla="*/ 519904 h 606722"/>
                <a:gd name="connsiteX25" fmla="*/ 125183 w 607145"/>
                <a:gd name="connsiteY25" fmla="*/ 395666 h 606722"/>
                <a:gd name="connsiteX26" fmla="*/ 125183 w 607145"/>
                <a:gd name="connsiteY26" fmla="*/ 362163 h 606722"/>
                <a:gd name="connsiteX27" fmla="*/ 125183 w 607145"/>
                <a:gd name="connsiteY27" fmla="*/ 359230 h 606722"/>
                <a:gd name="connsiteX28" fmla="*/ 347584 w 607145"/>
                <a:gd name="connsiteY28" fmla="*/ 0 h 606722"/>
                <a:gd name="connsiteX29" fmla="*/ 606228 w 607145"/>
                <a:gd name="connsiteY29" fmla="*/ 268376 h 606722"/>
                <a:gd name="connsiteX30" fmla="*/ 501827 w 607145"/>
                <a:gd name="connsiteY30" fmla="*/ 268376 h 606722"/>
                <a:gd name="connsiteX31" fmla="*/ 501827 w 607145"/>
                <a:gd name="connsiteY31" fmla="*/ 407452 h 606722"/>
                <a:gd name="connsiteX32" fmla="*/ 479309 w 607145"/>
                <a:gd name="connsiteY32" fmla="*/ 413584 h 606722"/>
                <a:gd name="connsiteX33" fmla="*/ 479309 w 607145"/>
                <a:gd name="connsiteY33" fmla="*/ 377238 h 606722"/>
                <a:gd name="connsiteX34" fmla="*/ 479309 w 607145"/>
                <a:gd name="connsiteY34" fmla="*/ 349067 h 606722"/>
                <a:gd name="connsiteX35" fmla="*/ 451985 w 607145"/>
                <a:gd name="connsiteY35" fmla="*/ 342224 h 606722"/>
                <a:gd name="connsiteX36" fmla="*/ 285727 w 607145"/>
                <a:gd name="connsiteY36" fmla="*/ 300635 h 606722"/>
                <a:gd name="connsiteX37" fmla="*/ 278696 w 607145"/>
                <a:gd name="connsiteY37" fmla="*/ 298858 h 606722"/>
                <a:gd name="connsiteX38" fmla="*/ 271487 w 607145"/>
                <a:gd name="connsiteY38" fmla="*/ 300013 h 606722"/>
                <a:gd name="connsiteX39" fmla="*/ 200996 w 607145"/>
                <a:gd name="connsiteY39" fmla="*/ 310943 h 606722"/>
                <a:gd name="connsiteX40" fmla="*/ 200996 w 607145"/>
                <a:gd name="connsiteY40" fmla="*/ 268376 h 606722"/>
                <a:gd name="connsiteX41" fmla="*/ 97663 w 607145"/>
                <a:gd name="connsiteY41" fmla="*/ 268376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07145" h="606722">
                  <a:moveTo>
                    <a:pt x="0" y="362142"/>
                  </a:moveTo>
                  <a:lnTo>
                    <a:pt x="89054" y="362142"/>
                  </a:lnTo>
                  <a:lnTo>
                    <a:pt x="89054" y="364808"/>
                  </a:lnTo>
                  <a:lnTo>
                    <a:pt x="89054" y="395647"/>
                  </a:lnTo>
                  <a:lnTo>
                    <a:pt x="89054" y="398136"/>
                  </a:lnTo>
                  <a:lnTo>
                    <a:pt x="89054" y="519893"/>
                  </a:lnTo>
                  <a:lnTo>
                    <a:pt x="89054" y="556153"/>
                  </a:lnTo>
                  <a:lnTo>
                    <a:pt x="89054" y="560241"/>
                  </a:lnTo>
                  <a:lnTo>
                    <a:pt x="89054" y="570639"/>
                  </a:lnTo>
                  <a:lnTo>
                    <a:pt x="89054" y="596502"/>
                  </a:lnTo>
                  <a:lnTo>
                    <a:pt x="89054" y="606722"/>
                  </a:lnTo>
                  <a:lnTo>
                    <a:pt x="0" y="606722"/>
                  </a:lnTo>
                  <a:close/>
                  <a:moveTo>
                    <a:pt x="277026" y="335680"/>
                  </a:moveTo>
                  <a:lnTo>
                    <a:pt x="443287" y="377270"/>
                  </a:lnTo>
                  <a:lnTo>
                    <a:pt x="443287" y="423571"/>
                  </a:lnTo>
                  <a:lnTo>
                    <a:pt x="443020" y="423571"/>
                  </a:lnTo>
                  <a:lnTo>
                    <a:pt x="324109" y="394689"/>
                  </a:lnTo>
                  <a:lnTo>
                    <a:pt x="315476" y="429703"/>
                  </a:lnTo>
                  <a:lnTo>
                    <a:pt x="443554" y="460895"/>
                  </a:lnTo>
                  <a:lnTo>
                    <a:pt x="593794" y="419660"/>
                  </a:lnTo>
                  <a:lnTo>
                    <a:pt x="607145" y="470671"/>
                  </a:lnTo>
                  <a:lnTo>
                    <a:pt x="382941" y="594020"/>
                  </a:lnTo>
                  <a:lnTo>
                    <a:pt x="212942" y="546387"/>
                  </a:lnTo>
                  <a:lnTo>
                    <a:pt x="125183" y="556162"/>
                  </a:lnTo>
                  <a:lnTo>
                    <a:pt x="125183" y="519904"/>
                  </a:lnTo>
                  <a:lnTo>
                    <a:pt x="125183" y="395666"/>
                  </a:lnTo>
                  <a:lnTo>
                    <a:pt x="125183" y="362163"/>
                  </a:lnTo>
                  <a:lnTo>
                    <a:pt x="125183" y="359230"/>
                  </a:lnTo>
                  <a:close/>
                  <a:moveTo>
                    <a:pt x="347584" y="0"/>
                  </a:moveTo>
                  <a:lnTo>
                    <a:pt x="606228" y="268376"/>
                  </a:lnTo>
                  <a:lnTo>
                    <a:pt x="501827" y="268376"/>
                  </a:lnTo>
                  <a:lnTo>
                    <a:pt x="501827" y="407452"/>
                  </a:lnTo>
                  <a:lnTo>
                    <a:pt x="479309" y="413584"/>
                  </a:lnTo>
                  <a:lnTo>
                    <a:pt x="479309" y="377238"/>
                  </a:lnTo>
                  <a:lnTo>
                    <a:pt x="479309" y="349067"/>
                  </a:lnTo>
                  <a:lnTo>
                    <a:pt x="451985" y="342224"/>
                  </a:lnTo>
                  <a:lnTo>
                    <a:pt x="285727" y="300635"/>
                  </a:lnTo>
                  <a:lnTo>
                    <a:pt x="278696" y="298858"/>
                  </a:lnTo>
                  <a:lnTo>
                    <a:pt x="271487" y="300013"/>
                  </a:lnTo>
                  <a:lnTo>
                    <a:pt x="200996" y="310943"/>
                  </a:lnTo>
                  <a:lnTo>
                    <a:pt x="200996" y="268376"/>
                  </a:lnTo>
                  <a:lnTo>
                    <a:pt x="97663" y="268376"/>
                  </a:lnTo>
                  <a:close/>
                </a:path>
              </a:pathLst>
            </a:custGeom>
            <a:solidFill>
              <a:srgbClr val="FF6969"/>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grpSp>
        <p:nvGrpSpPr>
          <p:cNvPr id="51" name="ïşḻïḑè">
            <a:extLst>
              <a:ext uri="{FF2B5EF4-FFF2-40B4-BE49-F238E27FC236}">
                <a16:creationId xmlns:a16="http://schemas.microsoft.com/office/drawing/2014/main" id="{5211F9B3-0D03-4CDF-AD00-77740A59DB0C}"/>
              </a:ext>
            </a:extLst>
          </p:cNvPr>
          <p:cNvGrpSpPr/>
          <p:nvPr/>
        </p:nvGrpSpPr>
        <p:grpSpPr>
          <a:xfrm>
            <a:off x="6984141" y="4388985"/>
            <a:ext cx="4442460" cy="909245"/>
            <a:chOff x="7694581" y="1470933"/>
            <a:chExt cx="4442460" cy="909245"/>
          </a:xfrm>
        </p:grpSpPr>
        <p:grpSp>
          <p:nvGrpSpPr>
            <p:cNvPr id="52" name="íSļiḍè">
              <a:extLst>
                <a:ext uri="{FF2B5EF4-FFF2-40B4-BE49-F238E27FC236}">
                  <a16:creationId xmlns:a16="http://schemas.microsoft.com/office/drawing/2014/main" id="{4C2A9107-BDEA-4701-9708-E430432BEAA1}"/>
                </a:ext>
              </a:extLst>
            </p:cNvPr>
            <p:cNvGrpSpPr/>
            <p:nvPr/>
          </p:nvGrpSpPr>
          <p:grpSpPr>
            <a:xfrm>
              <a:off x="8179431" y="1470933"/>
              <a:ext cx="3957610" cy="909245"/>
              <a:chOff x="6146198" y="3135241"/>
              <a:chExt cx="3247592" cy="909245"/>
            </a:xfrm>
          </p:grpSpPr>
          <p:sp>
            <p:nvSpPr>
              <p:cNvPr id="54" name="ïṣľídê">
                <a:extLst>
                  <a:ext uri="{FF2B5EF4-FFF2-40B4-BE49-F238E27FC236}">
                    <a16:creationId xmlns:a16="http://schemas.microsoft.com/office/drawing/2014/main" id="{FCCAF4FC-19E1-4F22-AD33-E162BD51688F}"/>
                  </a:ext>
                </a:extLst>
              </p:cNvPr>
              <p:cNvSpPr txBox="1"/>
              <p:nvPr/>
            </p:nvSpPr>
            <p:spPr>
              <a:xfrm>
                <a:off x="6146198" y="3135241"/>
                <a:ext cx="2740349" cy="510597"/>
              </a:xfrm>
              <a:prstGeom prst="rect">
                <a:avLst/>
              </a:prstGeom>
              <a:no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b="1" dirty="0"/>
                  <a:t>Del MR</a:t>
                </a:r>
                <a:endParaRPr lang="id-ID" sz="1600" b="1" dirty="0"/>
              </a:p>
            </p:txBody>
          </p:sp>
          <p:sp>
            <p:nvSpPr>
              <p:cNvPr id="55" name="ïṧľîḋè">
                <a:extLst>
                  <a:ext uri="{FF2B5EF4-FFF2-40B4-BE49-F238E27FC236}">
                    <a16:creationId xmlns:a16="http://schemas.microsoft.com/office/drawing/2014/main" id="{AAE31313-BB15-4DB1-83A7-DFB4D6C6A000}"/>
                  </a:ext>
                </a:extLst>
              </p:cNvPr>
              <p:cNvSpPr/>
              <p:nvPr/>
            </p:nvSpPr>
            <p:spPr bwMode="auto">
              <a:xfrm>
                <a:off x="6146198" y="3424860"/>
                <a:ext cx="3247592" cy="619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dirty="0"/>
                  <a:t>对</a:t>
                </a:r>
                <a:r>
                  <a:rPr lang="en-US" altLang="zh-CN" sz="1100" dirty="0"/>
                  <a:t>Del MR</a:t>
                </a:r>
                <a:r>
                  <a:rPr lang="zh-CN" altLang="en-US" sz="1100" dirty="0"/>
                  <a:t>进行的分析表明，所考虑的软件系统中包含的实现变体未使用消息返回。软件工程师不应在观察者设计模式定义中删除</a:t>
                </a:r>
                <a:r>
                  <a:rPr lang="en-US" altLang="zh-CN" sz="1100" dirty="0"/>
                  <a:t>MR</a:t>
                </a:r>
                <a:r>
                  <a:rPr lang="zh-CN" altLang="en-US" sz="1100" dirty="0"/>
                  <a:t>约束。</a:t>
                </a:r>
                <a:endParaRPr lang="en-US" altLang="zh-CN" sz="1100" dirty="0"/>
              </a:p>
            </p:txBody>
          </p:sp>
        </p:grpSp>
        <p:sp>
          <p:nvSpPr>
            <p:cNvPr id="53" name="iṣļíďé">
              <a:extLst>
                <a:ext uri="{FF2B5EF4-FFF2-40B4-BE49-F238E27FC236}">
                  <a16:creationId xmlns:a16="http://schemas.microsoft.com/office/drawing/2014/main" id="{E2F0CE71-B7B6-4B13-83CC-165EB04DF1A4}"/>
                </a:ext>
              </a:extLst>
            </p:cNvPr>
            <p:cNvSpPr/>
            <p:nvPr/>
          </p:nvSpPr>
          <p:spPr>
            <a:xfrm>
              <a:off x="7694581" y="1715409"/>
              <a:ext cx="410732" cy="410446"/>
            </a:xfrm>
            <a:custGeom>
              <a:avLst/>
              <a:gdLst>
                <a:gd name="connsiteX0" fmla="*/ 0 w 607145"/>
                <a:gd name="connsiteY0" fmla="*/ 362142 h 606722"/>
                <a:gd name="connsiteX1" fmla="*/ 89054 w 607145"/>
                <a:gd name="connsiteY1" fmla="*/ 362142 h 606722"/>
                <a:gd name="connsiteX2" fmla="*/ 89054 w 607145"/>
                <a:gd name="connsiteY2" fmla="*/ 364808 h 606722"/>
                <a:gd name="connsiteX3" fmla="*/ 89054 w 607145"/>
                <a:gd name="connsiteY3" fmla="*/ 395647 h 606722"/>
                <a:gd name="connsiteX4" fmla="*/ 89054 w 607145"/>
                <a:gd name="connsiteY4" fmla="*/ 398136 h 606722"/>
                <a:gd name="connsiteX5" fmla="*/ 89054 w 607145"/>
                <a:gd name="connsiteY5" fmla="*/ 519893 h 606722"/>
                <a:gd name="connsiteX6" fmla="*/ 89054 w 607145"/>
                <a:gd name="connsiteY6" fmla="*/ 556153 h 606722"/>
                <a:gd name="connsiteX7" fmla="*/ 89054 w 607145"/>
                <a:gd name="connsiteY7" fmla="*/ 560241 h 606722"/>
                <a:gd name="connsiteX8" fmla="*/ 89054 w 607145"/>
                <a:gd name="connsiteY8" fmla="*/ 570639 h 606722"/>
                <a:gd name="connsiteX9" fmla="*/ 89054 w 607145"/>
                <a:gd name="connsiteY9" fmla="*/ 596502 h 606722"/>
                <a:gd name="connsiteX10" fmla="*/ 89054 w 607145"/>
                <a:gd name="connsiteY10" fmla="*/ 606722 h 606722"/>
                <a:gd name="connsiteX11" fmla="*/ 0 w 607145"/>
                <a:gd name="connsiteY11" fmla="*/ 606722 h 606722"/>
                <a:gd name="connsiteX12" fmla="*/ 277026 w 607145"/>
                <a:gd name="connsiteY12" fmla="*/ 335680 h 606722"/>
                <a:gd name="connsiteX13" fmla="*/ 443287 w 607145"/>
                <a:gd name="connsiteY13" fmla="*/ 377270 h 606722"/>
                <a:gd name="connsiteX14" fmla="*/ 443287 w 607145"/>
                <a:gd name="connsiteY14" fmla="*/ 423571 h 606722"/>
                <a:gd name="connsiteX15" fmla="*/ 443020 w 607145"/>
                <a:gd name="connsiteY15" fmla="*/ 423571 h 606722"/>
                <a:gd name="connsiteX16" fmla="*/ 324109 w 607145"/>
                <a:gd name="connsiteY16" fmla="*/ 394689 h 606722"/>
                <a:gd name="connsiteX17" fmla="*/ 315476 w 607145"/>
                <a:gd name="connsiteY17" fmla="*/ 429703 h 606722"/>
                <a:gd name="connsiteX18" fmla="*/ 443554 w 607145"/>
                <a:gd name="connsiteY18" fmla="*/ 460895 h 606722"/>
                <a:gd name="connsiteX19" fmla="*/ 593794 w 607145"/>
                <a:gd name="connsiteY19" fmla="*/ 419660 h 606722"/>
                <a:gd name="connsiteX20" fmla="*/ 607145 w 607145"/>
                <a:gd name="connsiteY20" fmla="*/ 470671 h 606722"/>
                <a:gd name="connsiteX21" fmla="*/ 382941 w 607145"/>
                <a:gd name="connsiteY21" fmla="*/ 594020 h 606722"/>
                <a:gd name="connsiteX22" fmla="*/ 212942 w 607145"/>
                <a:gd name="connsiteY22" fmla="*/ 546387 h 606722"/>
                <a:gd name="connsiteX23" fmla="*/ 125183 w 607145"/>
                <a:gd name="connsiteY23" fmla="*/ 556162 h 606722"/>
                <a:gd name="connsiteX24" fmla="*/ 125183 w 607145"/>
                <a:gd name="connsiteY24" fmla="*/ 519904 h 606722"/>
                <a:gd name="connsiteX25" fmla="*/ 125183 w 607145"/>
                <a:gd name="connsiteY25" fmla="*/ 395666 h 606722"/>
                <a:gd name="connsiteX26" fmla="*/ 125183 w 607145"/>
                <a:gd name="connsiteY26" fmla="*/ 362163 h 606722"/>
                <a:gd name="connsiteX27" fmla="*/ 125183 w 607145"/>
                <a:gd name="connsiteY27" fmla="*/ 359230 h 606722"/>
                <a:gd name="connsiteX28" fmla="*/ 347584 w 607145"/>
                <a:gd name="connsiteY28" fmla="*/ 0 h 606722"/>
                <a:gd name="connsiteX29" fmla="*/ 606228 w 607145"/>
                <a:gd name="connsiteY29" fmla="*/ 268376 h 606722"/>
                <a:gd name="connsiteX30" fmla="*/ 501827 w 607145"/>
                <a:gd name="connsiteY30" fmla="*/ 268376 h 606722"/>
                <a:gd name="connsiteX31" fmla="*/ 501827 w 607145"/>
                <a:gd name="connsiteY31" fmla="*/ 407452 h 606722"/>
                <a:gd name="connsiteX32" fmla="*/ 479309 w 607145"/>
                <a:gd name="connsiteY32" fmla="*/ 413584 h 606722"/>
                <a:gd name="connsiteX33" fmla="*/ 479309 w 607145"/>
                <a:gd name="connsiteY33" fmla="*/ 377238 h 606722"/>
                <a:gd name="connsiteX34" fmla="*/ 479309 w 607145"/>
                <a:gd name="connsiteY34" fmla="*/ 349067 h 606722"/>
                <a:gd name="connsiteX35" fmla="*/ 451985 w 607145"/>
                <a:gd name="connsiteY35" fmla="*/ 342224 h 606722"/>
                <a:gd name="connsiteX36" fmla="*/ 285727 w 607145"/>
                <a:gd name="connsiteY36" fmla="*/ 300635 h 606722"/>
                <a:gd name="connsiteX37" fmla="*/ 278696 w 607145"/>
                <a:gd name="connsiteY37" fmla="*/ 298858 h 606722"/>
                <a:gd name="connsiteX38" fmla="*/ 271487 w 607145"/>
                <a:gd name="connsiteY38" fmla="*/ 300013 h 606722"/>
                <a:gd name="connsiteX39" fmla="*/ 200996 w 607145"/>
                <a:gd name="connsiteY39" fmla="*/ 310943 h 606722"/>
                <a:gd name="connsiteX40" fmla="*/ 200996 w 607145"/>
                <a:gd name="connsiteY40" fmla="*/ 268376 h 606722"/>
                <a:gd name="connsiteX41" fmla="*/ 97663 w 607145"/>
                <a:gd name="connsiteY41" fmla="*/ 268376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07145" h="606722">
                  <a:moveTo>
                    <a:pt x="0" y="362142"/>
                  </a:moveTo>
                  <a:lnTo>
                    <a:pt x="89054" y="362142"/>
                  </a:lnTo>
                  <a:lnTo>
                    <a:pt x="89054" y="364808"/>
                  </a:lnTo>
                  <a:lnTo>
                    <a:pt x="89054" y="395647"/>
                  </a:lnTo>
                  <a:lnTo>
                    <a:pt x="89054" y="398136"/>
                  </a:lnTo>
                  <a:lnTo>
                    <a:pt x="89054" y="519893"/>
                  </a:lnTo>
                  <a:lnTo>
                    <a:pt x="89054" y="556153"/>
                  </a:lnTo>
                  <a:lnTo>
                    <a:pt x="89054" y="560241"/>
                  </a:lnTo>
                  <a:lnTo>
                    <a:pt x="89054" y="570639"/>
                  </a:lnTo>
                  <a:lnTo>
                    <a:pt x="89054" y="596502"/>
                  </a:lnTo>
                  <a:lnTo>
                    <a:pt x="89054" y="606722"/>
                  </a:lnTo>
                  <a:lnTo>
                    <a:pt x="0" y="606722"/>
                  </a:lnTo>
                  <a:close/>
                  <a:moveTo>
                    <a:pt x="277026" y="335680"/>
                  </a:moveTo>
                  <a:lnTo>
                    <a:pt x="443287" y="377270"/>
                  </a:lnTo>
                  <a:lnTo>
                    <a:pt x="443287" y="423571"/>
                  </a:lnTo>
                  <a:lnTo>
                    <a:pt x="443020" y="423571"/>
                  </a:lnTo>
                  <a:lnTo>
                    <a:pt x="324109" y="394689"/>
                  </a:lnTo>
                  <a:lnTo>
                    <a:pt x="315476" y="429703"/>
                  </a:lnTo>
                  <a:lnTo>
                    <a:pt x="443554" y="460895"/>
                  </a:lnTo>
                  <a:lnTo>
                    <a:pt x="593794" y="419660"/>
                  </a:lnTo>
                  <a:lnTo>
                    <a:pt x="607145" y="470671"/>
                  </a:lnTo>
                  <a:lnTo>
                    <a:pt x="382941" y="594020"/>
                  </a:lnTo>
                  <a:lnTo>
                    <a:pt x="212942" y="546387"/>
                  </a:lnTo>
                  <a:lnTo>
                    <a:pt x="125183" y="556162"/>
                  </a:lnTo>
                  <a:lnTo>
                    <a:pt x="125183" y="519904"/>
                  </a:lnTo>
                  <a:lnTo>
                    <a:pt x="125183" y="395666"/>
                  </a:lnTo>
                  <a:lnTo>
                    <a:pt x="125183" y="362163"/>
                  </a:lnTo>
                  <a:lnTo>
                    <a:pt x="125183" y="359230"/>
                  </a:lnTo>
                  <a:close/>
                  <a:moveTo>
                    <a:pt x="347584" y="0"/>
                  </a:moveTo>
                  <a:lnTo>
                    <a:pt x="606228" y="268376"/>
                  </a:lnTo>
                  <a:lnTo>
                    <a:pt x="501827" y="268376"/>
                  </a:lnTo>
                  <a:lnTo>
                    <a:pt x="501827" y="407452"/>
                  </a:lnTo>
                  <a:lnTo>
                    <a:pt x="479309" y="413584"/>
                  </a:lnTo>
                  <a:lnTo>
                    <a:pt x="479309" y="377238"/>
                  </a:lnTo>
                  <a:lnTo>
                    <a:pt x="479309" y="349067"/>
                  </a:lnTo>
                  <a:lnTo>
                    <a:pt x="451985" y="342224"/>
                  </a:lnTo>
                  <a:lnTo>
                    <a:pt x="285727" y="300635"/>
                  </a:lnTo>
                  <a:lnTo>
                    <a:pt x="278696" y="298858"/>
                  </a:lnTo>
                  <a:lnTo>
                    <a:pt x="271487" y="300013"/>
                  </a:lnTo>
                  <a:lnTo>
                    <a:pt x="200996" y="310943"/>
                  </a:lnTo>
                  <a:lnTo>
                    <a:pt x="200996" y="268376"/>
                  </a:lnTo>
                  <a:lnTo>
                    <a:pt x="97663" y="268376"/>
                  </a:lnTo>
                  <a:close/>
                </a:path>
              </a:pathLst>
            </a:custGeom>
            <a:solidFill>
              <a:srgbClr val="FF6969"/>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grpSp>
        <p:nvGrpSpPr>
          <p:cNvPr id="56" name="ïşḻïḑè">
            <a:extLst>
              <a:ext uri="{FF2B5EF4-FFF2-40B4-BE49-F238E27FC236}">
                <a16:creationId xmlns:a16="http://schemas.microsoft.com/office/drawing/2014/main" id="{CECC9175-8160-4954-8C15-08542B4D86DC}"/>
              </a:ext>
            </a:extLst>
          </p:cNvPr>
          <p:cNvGrpSpPr/>
          <p:nvPr/>
        </p:nvGrpSpPr>
        <p:grpSpPr>
          <a:xfrm>
            <a:off x="6984141" y="5298230"/>
            <a:ext cx="4442460" cy="909245"/>
            <a:chOff x="7694581" y="1470933"/>
            <a:chExt cx="4442460" cy="909245"/>
          </a:xfrm>
        </p:grpSpPr>
        <p:grpSp>
          <p:nvGrpSpPr>
            <p:cNvPr id="57" name="íSļiḍè">
              <a:extLst>
                <a:ext uri="{FF2B5EF4-FFF2-40B4-BE49-F238E27FC236}">
                  <a16:creationId xmlns:a16="http://schemas.microsoft.com/office/drawing/2014/main" id="{7E2B4356-191B-42C4-9CEF-2D42A927F500}"/>
                </a:ext>
              </a:extLst>
            </p:cNvPr>
            <p:cNvGrpSpPr/>
            <p:nvPr/>
          </p:nvGrpSpPr>
          <p:grpSpPr>
            <a:xfrm>
              <a:off x="8179431" y="1470933"/>
              <a:ext cx="3957610" cy="909245"/>
              <a:chOff x="6146198" y="3135241"/>
              <a:chExt cx="3247592" cy="909245"/>
            </a:xfrm>
          </p:grpSpPr>
          <p:sp>
            <p:nvSpPr>
              <p:cNvPr id="59" name="ïṣľídê">
                <a:extLst>
                  <a:ext uri="{FF2B5EF4-FFF2-40B4-BE49-F238E27FC236}">
                    <a16:creationId xmlns:a16="http://schemas.microsoft.com/office/drawing/2014/main" id="{3E7F5B30-5CBA-45B9-9DA4-D1AD0E0875AC}"/>
                  </a:ext>
                </a:extLst>
              </p:cNvPr>
              <p:cNvSpPr txBox="1"/>
              <p:nvPr/>
            </p:nvSpPr>
            <p:spPr>
              <a:xfrm>
                <a:off x="6146198" y="3135241"/>
                <a:ext cx="2740349" cy="510597"/>
              </a:xfrm>
              <a:prstGeom prst="rect">
                <a:avLst/>
              </a:prstGeom>
              <a:no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b="1" dirty="0"/>
                  <a:t>Add RC</a:t>
                </a:r>
                <a:endParaRPr lang="id-ID" sz="1600" b="1" dirty="0"/>
              </a:p>
            </p:txBody>
          </p:sp>
          <p:sp>
            <p:nvSpPr>
              <p:cNvPr id="60" name="ïṧľîḋè">
                <a:extLst>
                  <a:ext uri="{FF2B5EF4-FFF2-40B4-BE49-F238E27FC236}">
                    <a16:creationId xmlns:a16="http://schemas.microsoft.com/office/drawing/2014/main" id="{9F74D89D-5492-4478-84DF-DD431DA57F2F}"/>
                  </a:ext>
                </a:extLst>
              </p:cNvPr>
              <p:cNvSpPr/>
              <p:nvPr/>
            </p:nvSpPr>
            <p:spPr bwMode="auto">
              <a:xfrm>
                <a:off x="6146198" y="3424860"/>
                <a:ext cx="3247592" cy="619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dirty="0"/>
                  <a:t>关于添加</a:t>
                </a:r>
                <a:r>
                  <a:rPr lang="en-US" altLang="zh-CN" sz="1100" dirty="0"/>
                  <a:t>RC</a:t>
                </a:r>
                <a:r>
                  <a:rPr lang="zh-CN" altLang="en-US" sz="1100" dirty="0"/>
                  <a:t>约束，对于</a:t>
                </a:r>
                <a:r>
                  <a:rPr lang="en-US" altLang="zh-CN" sz="1100" dirty="0"/>
                  <a:t>Adapter</a:t>
                </a:r>
                <a:r>
                  <a:rPr lang="zh-CN" altLang="en-US" sz="1100" dirty="0"/>
                  <a:t>模式，我们可以提供与</a:t>
                </a:r>
                <a:r>
                  <a:rPr lang="en-US" altLang="zh-CN" sz="1100" dirty="0"/>
                  <a:t>NC</a:t>
                </a:r>
                <a:r>
                  <a:rPr lang="zh-CN" altLang="en-US" sz="1100" dirty="0"/>
                  <a:t>类似的注意事项。 出乎意料的是，这对于观察者模式并没有发生。这表明软件工程师在没有</a:t>
                </a:r>
                <a:r>
                  <a:rPr lang="en-US" altLang="zh-CN" sz="1100" dirty="0"/>
                  <a:t>MR</a:t>
                </a:r>
                <a:r>
                  <a:rPr lang="zh-CN" altLang="en-US" sz="1100" dirty="0"/>
                  <a:t>检查的情况下不应将</a:t>
                </a:r>
                <a:r>
                  <a:rPr lang="en-US" altLang="zh-CN" sz="1100" dirty="0"/>
                  <a:t>RC</a:t>
                </a:r>
                <a:r>
                  <a:rPr lang="zh-CN" altLang="en-US" sz="1100" dirty="0"/>
                  <a:t>约束包括在“观察者”定义中。</a:t>
                </a:r>
                <a:endParaRPr lang="en-US" altLang="zh-CN" sz="1100" dirty="0"/>
              </a:p>
            </p:txBody>
          </p:sp>
        </p:grpSp>
        <p:sp>
          <p:nvSpPr>
            <p:cNvPr id="58" name="iṣļíďé">
              <a:extLst>
                <a:ext uri="{FF2B5EF4-FFF2-40B4-BE49-F238E27FC236}">
                  <a16:creationId xmlns:a16="http://schemas.microsoft.com/office/drawing/2014/main" id="{4A715BC9-EA50-48FD-82E8-59B4E67FB0FD}"/>
                </a:ext>
              </a:extLst>
            </p:cNvPr>
            <p:cNvSpPr/>
            <p:nvPr/>
          </p:nvSpPr>
          <p:spPr>
            <a:xfrm>
              <a:off x="7694581" y="1715409"/>
              <a:ext cx="410732" cy="410446"/>
            </a:xfrm>
            <a:custGeom>
              <a:avLst/>
              <a:gdLst>
                <a:gd name="connsiteX0" fmla="*/ 0 w 607145"/>
                <a:gd name="connsiteY0" fmla="*/ 362142 h 606722"/>
                <a:gd name="connsiteX1" fmla="*/ 89054 w 607145"/>
                <a:gd name="connsiteY1" fmla="*/ 362142 h 606722"/>
                <a:gd name="connsiteX2" fmla="*/ 89054 w 607145"/>
                <a:gd name="connsiteY2" fmla="*/ 364808 h 606722"/>
                <a:gd name="connsiteX3" fmla="*/ 89054 w 607145"/>
                <a:gd name="connsiteY3" fmla="*/ 395647 h 606722"/>
                <a:gd name="connsiteX4" fmla="*/ 89054 w 607145"/>
                <a:gd name="connsiteY4" fmla="*/ 398136 h 606722"/>
                <a:gd name="connsiteX5" fmla="*/ 89054 w 607145"/>
                <a:gd name="connsiteY5" fmla="*/ 519893 h 606722"/>
                <a:gd name="connsiteX6" fmla="*/ 89054 w 607145"/>
                <a:gd name="connsiteY6" fmla="*/ 556153 h 606722"/>
                <a:gd name="connsiteX7" fmla="*/ 89054 w 607145"/>
                <a:gd name="connsiteY7" fmla="*/ 560241 h 606722"/>
                <a:gd name="connsiteX8" fmla="*/ 89054 w 607145"/>
                <a:gd name="connsiteY8" fmla="*/ 570639 h 606722"/>
                <a:gd name="connsiteX9" fmla="*/ 89054 w 607145"/>
                <a:gd name="connsiteY9" fmla="*/ 596502 h 606722"/>
                <a:gd name="connsiteX10" fmla="*/ 89054 w 607145"/>
                <a:gd name="connsiteY10" fmla="*/ 606722 h 606722"/>
                <a:gd name="connsiteX11" fmla="*/ 0 w 607145"/>
                <a:gd name="connsiteY11" fmla="*/ 606722 h 606722"/>
                <a:gd name="connsiteX12" fmla="*/ 277026 w 607145"/>
                <a:gd name="connsiteY12" fmla="*/ 335680 h 606722"/>
                <a:gd name="connsiteX13" fmla="*/ 443287 w 607145"/>
                <a:gd name="connsiteY13" fmla="*/ 377270 h 606722"/>
                <a:gd name="connsiteX14" fmla="*/ 443287 w 607145"/>
                <a:gd name="connsiteY14" fmla="*/ 423571 h 606722"/>
                <a:gd name="connsiteX15" fmla="*/ 443020 w 607145"/>
                <a:gd name="connsiteY15" fmla="*/ 423571 h 606722"/>
                <a:gd name="connsiteX16" fmla="*/ 324109 w 607145"/>
                <a:gd name="connsiteY16" fmla="*/ 394689 h 606722"/>
                <a:gd name="connsiteX17" fmla="*/ 315476 w 607145"/>
                <a:gd name="connsiteY17" fmla="*/ 429703 h 606722"/>
                <a:gd name="connsiteX18" fmla="*/ 443554 w 607145"/>
                <a:gd name="connsiteY18" fmla="*/ 460895 h 606722"/>
                <a:gd name="connsiteX19" fmla="*/ 593794 w 607145"/>
                <a:gd name="connsiteY19" fmla="*/ 419660 h 606722"/>
                <a:gd name="connsiteX20" fmla="*/ 607145 w 607145"/>
                <a:gd name="connsiteY20" fmla="*/ 470671 h 606722"/>
                <a:gd name="connsiteX21" fmla="*/ 382941 w 607145"/>
                <a:gd name="connsiteY21" fmla="*/ 594020 h 606722"/>
                <a:gd name="connsiteX22" fmla="*/ 212942 w 607145"/>
                <a:gd name="connsiteY22" fmla="*/ 546387 h 606722"/>
                <a:gd name="connsiteX23" fmla="*/ 125183 w 607145"/>
                <a:gd name="connsiteY23" fmla="*/ 556162 h 606722"/>
                <a:gd name="connsiteX24" fmla="*/ 125183 w 607145"/>
                <a:gd name="connsiteY24" fmla="*/ 519904 h 606722"/>
                <a:gd name="connsiteX25" fmla="*/ 125183 w 607145"/>
                <a:gd name="connsiteY25" fmla="*/ 395666 h 606722"/>
                <a:gd name="connsiteX26" fmla="*/ 125183 w 607145"/>
                <a:gd name="connsiteY26" fmla="*/ 362163 h 606722"/>
                <a:gd name="connsiteX27" fmla="*/ 125183 w 607145"/>
                <a:gd name="connsiteY27" fmla="*/ 359230 h 606722"/>
                <a:gd name="connsiteX28" fmla="*/ 347584 w 607145"/>
                <a:gd name="connsiteY28" fmla="*/ 0 h 606722"/>
                <a:gd name="connsiteX29" fmla="*/ 606228 w 607145"/>
                <a:gd name="connsiteY29" fmla="*/ 268376 h 606722"/>
                <a:gd name="connsiteX30" fmla="*/ 501827 w 607145"/>
                <a:gd name="connsiteY30" fmla="*/ 268376 h 606722"/>
                <a:gd name="connsiteX31" fmla="*/ 501827 w 607145"/>
                <a:gd name="connsiteY31" fmla="*/ 407452 h 606722"/>
                <a:gd name="connsiteX32" fmla="*/ 479309 w 607145"/>
                <a:gd name="connsiteY32" fmla="*/ 413584 h 606722"/>
                <a:gd name="connsiteX33" fmla="*/ 479309 w 607145"/>
                <a:gd name="connsiteY33" fmla="*/ 377238 h 606722"/>
                <a:gd name="connsiteX34" fmla="*/ 479309 w 607145"/>
                <a:gd name="connsiteY34" fmla="*/ 349067 h 606722"/>
                <a:gd name="connsiteX35" fmla="*/ 451985 w 607145"/>
                <a:gd name="connsiteY35" fmla="*/ 342224 h 606722"/>
                <a:gd name="connsiteX36" fmla="*/ 285727 w 607145"/>
                <a:gd name="connsiteY36" fmla="*/ 300635 h 606722"/>
                <a:gd name="connsiteX37" fmla="*/ 278696 w 607145"/>
                <a:gd name="connsiteY37" fmla="*/ 298858 h 606722"/>
                <a:gd name="connsiteX38" fmla="*/ 271487 w 607145"/>
                <a:gd name="connsiteY38" fmla="*/ 300013 h 606722"/>
                <a:gd name="connsiteX39" fmla="*/ 200996 w 607145"/>
                <a:gd name="connsiteY39" fmla="*/ 310943 h 606722"/>
                <a:gd name="connsiteX40" fmla="*/ 200996 w 607145"/>
                <a:gd name="connsiteY40" fmla="*/ 268376 h 606722"/>
                <a:gd name="connsiteX41" fmla="*/ 97663 w 607145"/>
                <a:gd name="connsiteY41" fmla="*/ 268376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07145" h="606722">
                  <a:moveTo>
                    <a:pt x="0" y="362142"/>
                  </a:moveTo>
                  <a:lnTo>
                    <a:pt x="89054" y="362142"/>
                  </a:lnTo>
                  <a:lnTo>
                    <a:pt x="89054" y="364808"/>
                  </a:lnTo>
                  <a:lnTo>
                    <a:pt x="89054" y="395647"/>
                  </a:lnTo>
                  <a:lnTo>
                    <a:pt x="89054" y="398136"/>
                  </a:lnTo>
                  <a:lnTo>
                    <a:pt x="89054" y="519893"/>
                  </a:lnTo>
                  <a:lnTo>
                    <a:pt x="89054" y="556153"/>
                  </a:lnTo>
                  <a:lnTo>
                    <a:pt x="89054" y="560241"/>
                  </a:lnTo>
                  <a:lnTo>
                    <a:pt x="89054" y="570639"/>
                  </a:lnTo>
                  <a:lnTo>
                    <a:pt x="89054" y="596502"/>
                  </a:lnTo>
                  <a:lnTo>
                    <a:pt x="89054" y="606722"/>
                  </a:lnTo>
                  <a:lnTo>
                    <a:pt x="0" y="606722"/>
                  </a:lnTo>
                  <a:close/>
                  <a:moveTo>
                    <a:pt x="277026" y="335680"/>
                  </a:moveTo>
                  <a:lnTo>
                    <a:pt x="443287" y="377270"/>
                  </a:lnTo>
                  <a:lnTo>
                    <a:pt x="443287" y="423571"/>
                  </a:lnTo>
                  <a:lnTo>
                    <a:pt x="443020" y="423571"/>
                  </a:lnTo>
                  <a:lnTo>
                    <a:pt x="324109" y="394689"/>
                  </a:lnTo>
                  <a:lnTo>
                    <a:pt x="315476" y="429703"/>
                  </a:lnTo>
                  <a:lnTo>
                    <a:pt x="443554" y="460895"/>
                  </a:lnTo>
                  <a:lnTo>
                    <a:pt x="593794" y="419660"/>
                  </a:lnTo>
                  <a:lnTo>
                    <a:pt x="607145" y="470671"/>
                  </a:lnTo>
                  <a:lnTo>
                    <a:pt x="382941" y="594020"/>
                  </a:lnTo>
                  <a:lnTo>
                    <a:pt x="212942" y="546387"/>
                  </a:lnTo>
                  <a:lnTo>
                    <a:pt x="125183" y="556162"/>
                  </a:lnTo>
                  <a:lnTo>
                    <a:pt x="125183" y="519904"/>
                  </a:lnTo>
                  <a:lnTo>
                    <a:pt x="125183" y="395666"/>
                  </a:lnTo>
                  <a:lnTo>
                    <a:pt x="125183" y="362163"/>
                  </a:lnTo>
                  <a:lnTo>
                    <a:pt x="125183" y="359230"/>
                  </a:lnTo>
                  <a:close/>
                  <a:moveTo>
                    <a:pt x="347584" y="0"/>
                  </a:moveTo>
                  <a:lnTo>
                    <a:pt x="606228" y="268376"/>
                  </a:lnTo>
                  <a:lnTo>
                    <a:pt x="501827" y="268376"/>
                  </a:lnTo>
                  <a:lnTo>
                    <a:pt x="501827" y="407452"/>
                  </a:lnTo>
                  <a:lnTo>
                    <a:pt x="479309" y="413584"/>
                  </a:lnTo>
                  <a:lnTo>
                    <a:pt x="479309" y="377238"/>
                  </a:lnTo>
                  <a:lnTo>
                    <a:pt x="479309" y="349067"/>
                  </a:lnTo>
                  <a:lnTo>
                    <a:pt x="451985" y="342224"/>
                  </a:lnTo>
                  <a:lnTo>
                    <a:pt x="285727" y="300635"/>
                  </a:lnTo>
                  <a:lnTo>
                    <a:pt x="278696" y="298858"/>
                  </a:lnTo>
                  <a:lnTo>
                    <a:pt x="271487" y="300013"/>
                  </a:lnTo>
                  <a:lnTo>
                    <a:pt x="200996" y="310943"/>
                  </a:lnTo>
                  <a:lnTo>
                    <a:pt x="200996" y="268376"/>
                  </a:lnTo>
                  <a:lnTo>
                    <a:pt x="97663" y="268376"/>
                  </a:lnTo>
                  <a:close/>
                </a:path>
              </a:pathLst>
            </a:cu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cxnSp>
        <p:nvCxnSpPr>
          <p:cNvPr id="61" name="直接连接符 60">
            <a:extLst>
              <a:ext uri="{FF2B5EF4-FFF2-40B4-BE49-F238E27FC236}">
                <a16:creationId xmlns:a16="http://schemas.microsoft.com/office/drawing/2014/main" id="{3C9F9578-5874-4A49-AE01-767F901618E2}"/>
              </a:ext>
            </a:extLst>
          </p:cNvPr>
          <p:cNvCxnSpPr>
            <a:cxnSpLocks/>
          </p:cNvCxnSpPr>
          <p:nvPr/>
        </p:nvCxnSpPr>
        <p:spPr>
          <a:xfrm>
            <a:off x="1600200" y="4969326"/>
            <a:ext cx="352044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2" name="直接连接符 61">
            <a:extLst>
              <a:ext uri="{FF2B5EF4-FFF2-40B4-BE49-F238E27FC236}">
                <a16:creationId xmlns:a16="http://schemas.microsoft.com/office/drawing/2014/main" id="{B635F723-BA75-44E4-908D-790C6B06A029}"/>
              </a:ext>
            </a:extLst>
          </p:cNvPr>
          <p:cNvCxnSpPr>
            <a:cxnSpLocks/>
          </p:cNvCxnSpPr>
          <p:nvPr/>
        </p:nvCxnSpPr>
        <p:spPr>
          <a:xfrm>
            <a:off x="1600200" y="6224671"/>
            <a:ext cx="352044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80285CC2-7107-46C7-A6F4-400746C4A287}"/>
              </a:ext>
            </a:extLst>
          </p:cNvPr>
          <p:cNvCxnSpPr>
            <a:cxnSpLocks/>
          </p:cNvCxnSpPr>
          <p:nvPr/>
        </p:nvCxnSpPr>
        <p:spPr>
          <a:xfrm>
            <a:off x="7566660" y="6224929"/>
            <a:ext cx="352044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4" name="直接连接符 63">
            <a:extLst>
              <a:ext uri="{FF2B5EF4-FFF2-40B4-BE49-F238E27FC236}">
                <a16:creationId xmlns:a16="http://schemas.microsoft.com/office/drawing/2014/main" id="{1C556A2A-96A8-4DB3-8075-C5BDE54C1737}"/>
              </a:ext>
            </a:extLst>
          </p:cNvPr>
          <p:cNvCxnSpPr>
            <a:cxnSpLocks/>
          </p:cNvCxnSpPr>
          <p:nvPr/>
        </p:nvCxnSpPr>
        <p:spPr>
          <a:xfrm>
            <a:off x="7566660" y="5252510"/>
            <a:ext cx="352044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5" name="直接连接符 64">
            <a:extLst>
              <a:ext uri="{FF2B5EF4-FFF2-40B4-BE49-F238E27FC236}">
                <a16:creationId xmlns:a16="http://schemas.microsoft.com/office/drawing/2014/main" id="{974E513B-9F13-4856-988A-DC814420AA64}"/>
              </a:ext>
            </a:extLst>
          </p:cNvPr>
          <p:cNvCxnSpPr>
            <a:cxnSpLocks/>
          </p:cNvCxnSpPr>
          <p:nvPr/>
        </p:nvCxnSpPr>
        <p:spPr>
          <a:xfrm>
            <a:off x="7566660" y="4384249"/>
            <a:ext cx="352044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6" name="直接连接符 65">
            <a:extLst>
              <a:ext uri="{FF2B5EF4-FFF2-40B4-BE49-F238E27FC236}">
                <a16:creationId xmlns:a16="http://schemas.microsoft.com/office/drawing/2014/main" id="{BF435260-F7F5-4196-8F34-0C5541A5C28B}"/>
              </a:ext>
            </a:extLst>
          </p:cNvPr>
          <p:cNvCxnSpPr>
            <a:cxnSpLocks/>
          </p:cNvCxnSpPr>
          <p:nvPr/>
        </p:nvCxnSpPr>
        <p:spPr>
          <a:xfrm>
            <a:off x="7566660" y="3368758"/>
            <a:ext cx="352044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 name="组合 1">
            <a:extLst>
              <a:ext uri="{FF2B5EF4-FFF2-40B4-BE49-F238E27FC236}">
                <a16:creationId xmlns:a16="http://schemas.microsoft.com/office/drawing/2014/main" id="{84DCB6B9-77B6-4392-B2E0-6847986E297F}"/>
              </a:ext>
            </a:extLst>
          </p:cNvPr>
          <p:cNvGrpSpPr/>
          <p:nvPr/>
        </p:nvGrpSpPr>
        <p:grpSpPr>
          <a:xfrm>
            <a:off x="-43962" y="-2"/>
            <a:ext cx="12265321" cy="1081456"/>
            <a:chOff x="-43962" y="-2"/>
            <a:chExt cx="12265321" cy="1081456"/>
          </a:xfrm>
        </p:grpSpPr>
        <p:grpSp>
          <p:nvGrpSpPr>
            <p:cNvPr id="5" name="组合 4">
              <a:extLst>
                <a:ext uri="{FF2B5EF4-FFF2-40B4-BE49-F238E27FC236}">
                  <a16:creationId xmlns:a16="http://schemas.microsoft.com/office/drawing/2014/main" id="{A02D8D5F-9092-40A1-BEE7-2E18BC595794}"/>
                </a:ext>
              </a:extLst>
            </p:cNvPr>
            <p:cNvGrpSpPr/>
            <p:nvPr/>
          </p:nvGrpSpPr>
          <p:grpSpPr>
            <a:xfrm rot="10800000">
              <a:off x="-43962" y="-2"/>
              <a:ext cx="12265321" cy="1081456"/>
              <a:chOff x="1" y="5010588"/>
              <a:chExt cx="12265322" cy="1905823"/>
            </a:xfrm>
          </p:grpSpPr>
          <p:sp>
            <p:nvSpPr>
              <p:cNvPr id="6" name="îṧļiḑe">
                <a:extLst>
                  <a:ext uri="{FF2B5EF4-FFF2-40B4-BE49-F238E27FC236}">
                    <a16:creationId xmlns:a16="http://schemas.microsoft.com/office/drawing/2014/main" id="{49F6E0D8-E3BC-4BD3-84FB-161A76550555}"/>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îṩľiḑê">
                <a:extLst>
                  <a:ext uri="{FF2B5EF4-FFF2-40B4-BE49-F238E27FC236}">
                    <a16:creationId xmlns:a16="http://schemas.microsoft.com/office/drawing/2014/main" id="{E47AD772-61D7-455A-AF1D-07952261DFE2}"/>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sp>
          <p:nvSpPr>
            <p:cNvPr id="9" name="矩形 8">
              <a:extLst>
                <a:ext uri="{FF2B5EF4-FFF2-40B4-BE49-F238E27FC236}">
                  <a16:creationId xmlns:a16="http://schemas.microsoft.com/office/drawing/2014/main" id="{559493B6-54D5-4BFB-8173-8ADF4B215E18}"/>
                </a:ext>
              </a:extLst>
            </p:cNvPr>
            <p:cNvSpPr/>
            <p:nvPr/>
          </p:nvSpPr>
          <p:spPr>
            <a:xfrm>
              <a:off x="1028700" y="139985"/>
              <a:ext cx="9944100" cy="369332"/>
            </a:xfrm>
            <a:prstGeom prst="rect">
              <a:avLst/>
            </a:prstGeom>
          </p:spPr>
          <p:txBody>
            <a:bodyPr wrap="square">
              <a:spAutoFit/>
            </a:bodyPr>
            <a:lstStyle/>
            <a:p>
              <a:r>
                <a:rPr lang="sv-SE" altLang="zh-CN" dirty="0">
                  <a:solidFill>
                    <a:schemeClr val="bg1"/>
                  </a:solidFill>
                </a:rPr>
                <a:t>C.</a:t>
              </a:r>
              <a:r>
                <a:rPr lang="zh-CN" altLang="en-US" dirty="0">
                  <a:solidFill>
                    <a:schemeClr val="bg1"/>
                  </a:solidFill>
                </a:rPr>
                <a:t>结果分析</a:t>
              </a:r>
              <a:endParaRPr lang="en-US" altLang="zh-CN" dirty="0">
                <a:solidFill>
                  <a:schemeClr val="bg1"/>
                </a:solidFill>
              </a:endParaRPr>
            </a:p>
          </p:txBody>
        </p:sp>
        <p:sp>
          <p:nvSpPr>
            <p:cNvPr id="45" name="ïšḷîdè">
              <a:extLst>
                <a:ext uri="{FF2B5EF4-FFF2-40B4-BE49-F238E27FC236}">
                  <a16:creationId xmlns:a16="http://schemas.microsoft.com/office/drawing/2014/main" id="{DBFF8D19-88E5-44EB-8C58-6F8D304DD53B}"/>
                </a:ext>
              </a:extLst>
            </p:cNvPr>
            <p:cNvSpPr/>
            <p:nvPr/>
          </p:nvSpPr>
          <p:spPr>
            <a:xfrm>
              <a:off x="418935" y="106081"/>
              <a:ext cx="469590" cy="514984"/>
            </a:xfrm>
            <a:custGeom>
              <a:avLst/>
              <a:gdLst>
                <a:gd name="connsiteX0" fmla="*/ 333504 w 555138"/>
                <a:gd name="connsiteY0" fmla="*/ 231047 h 608801"/>
                <a:gd name="connsiteX1" fmla="*/ 254856 w 555138"/>
                <a:gd name="connsiteY1" fmla="*/ 309304 h 608801"/>
                <a:gd name="connsiteX2" fmla="*/ 221937 w 555138"/>
                <a:gd name="connsiteY2" fmla="*/ 276152 h 608801"/>
                <a:gd name="connsiteX3" fmla="*/ 187523 w 555138"/>
                <a:gd name="connsiteY3" fmla="*/ 310238 h 608801"/>
                <a:gd name="connsiteX4" fmla="*/ 220441 w 555138"/>
                <a:gd name="connsiteY4" fmla="*/ 343389 h 608801"/>
                <a:gd name="connsiteX5" fmla="*/ 254575 w 555138"/>
                <a:gd name="connsiteY5" fmla="*/ 377755 h 608801"/>
                <a:gd name="connsiteX6" fmla="*/ 288989 w 555138"/>
                <a:gd name="connsiteY6" fmla="*/ 343669 h 608801"/>
                <a:gd name="connsiteX7" fmla="*/ 367731 w 555138"/>
                <a:gd name="connsiteY7" fmla="*/ 265413 h 608801"/>
                <a:gd name="connsiteX8" fmla="*/ 277580 w 555138"/>
                <a:gd name="connsiteY8" fmla="*/ 130845 h 608801"/>
                <a:gd name="connsiteX9" fmla="*/ 451336 w 555138"/>
                <a:gd name="connsiteY9" fmla="*/ 304448 h 608801"/>
                <a:gd name="connsiteX10" fmla="*/ 277580 w 555138"/>
                <a:gd name="connsiteY10" fmla="*/ 477957 h 608801"/>
                <a:gd name="connsiteX11" fmla="*/ 103731 w 555138"/>
                <a:gd name="connsiteY11" fmla="*/ 304448 h 608801"/>
                <a:gd name="connsiteX12" fmla="*/ 277580 w 555138"/>
                <a:gd name="connsiteY12" fmla="*/ 130845 h 608801"/>
                <a:gd name="connsiteX13" fmla="*/ 440395 w 555138"/>
                <a:gd name="connsiteY13" fmla="*/ 80038 h 608801"/>
                <a:gd name="connsiteX14" fmla="*/ 555138 w 555138"/>
                <a:gd name="connsiteY14" fmla="*/ 304436 h 608801"/>
                <a:gd name="connsiteX15" fmla="*/ 277586 w 555138"/>
                <a:gd name="connsiteY15" fmla="*/ 581594 h 608801"/>
                <a:gd name="connsiteX16" fmla="*/ 277586 w 555138"/>
                <a:gd name="connsiteY16" fmla="*/ 605593 h 608801"/>
                <a:gd name="connsiteX17" fmla="*/ 272536 w 555138"/>
                <a:gd name="connsiteY17" fmla="*/ 608208 h 608801"/>
                <a:gd name="connsiteX18" fmla="*/ 207356 w 555138"/>
                <a:gd name="connsiteY18" fmla="*/ 563478 h 608801"/>
                <a:gd name="connsiteX19" fmla="*/ 207356 w 555138"/>
                <a:gd name="connsiteY19" fmla="*/ 558155 h 608801"/>
                <a:gd name="connsiteX20" fmla="*/ 272536 w 555138"/>
                <a:gd name="connsiteY20" fmla="*/ 513425 h 608801"/>
                <a:gd name="connsiteX21" fmla="*/ 277586 w 555138"/>
                <a:gd name="connsiteY21" fmla="*/ 516040 h 608801"/>
                <a:gd name="connsiteX22" fmla="*/ 277586 w 555138"/>
                <a:gd name="connsiteY22" fmla="*/ 540319 h 608801"/>
                <a:gd name="connsiteX23" fmla="*/ 513711 w 555138"/>
                <a:gd name="connsiteY23" fmla="*/ 304529 h 608801"/>
                <a:gd name="connsiteX24" fmla="*/ 416081 w 555138"/>
                <a:gd name="connsiteY24" fmla="*/ 113562 h 608801"/>
                <a:gd name="connsiteX25" fmla="*/ 282527 w 555138"/>
                <a:gd name="connsiteY25" fmla="*/ 593 h 608801"/>
                <a:gd name="connsiteX26" fmla="*/ 347711 w 555138"/>
                <a:gd name="connsiteY26" fmla="*/ 45323 h 608801"/>
                <a:gd name="connsiteX27" fmla="*/ 347711 w 555138"/>
                <a:gd name="connsiteY27" fmla="*/ 50646 h 608801"/>
                <a:gd name="connsiteX28" fmla="*/ 282527 w 555138"/>
                <a:gd name="connsiteY28" fmla="*/ 95376 h 608801"/>
                <a:gd name="connsiteX29" fmla="*/ 277570 w 555138"/>
                <a:gd name="connsiteY29" fmla="*/ 92761 h 608801"/>
                <a:gd name="connsiteX30" fmla="*/ 277570 w 555138"/>
                <a:gd name="connsiteY30" fmla="*/ 68575 h 608801"/>
                <a:gd name="connsiteX31" fmla="*/ 41336 w 555138"/>
                <a:gd name="connsiteY31" fmla="*/ 304459 h 608801"/>
                <a:gd name="connsiteX32" fmla="*/ 138878 w 555138"/>
                <a:gd name="connsiteY32" fmla="*/ 495332 h 608801"/>
                <a:gd name="connsiteX33" fmla="*/ 114563 w 555138"/>
                <a:gd name="connsiteY33" fmla="*/ 528763 h 608801"/>
                <a:gd name="connsiteX34" fmla="*/ 0 w 555138"/>
                <a:gd name="connsiteY34" fmla="*/ 304459 h 608801"/>
                <a:gd name="connsiteX35" fmla="*/ 277570 w 555138"/>
                <a:gd name="connsiteY35" fmla="*/ 27300 h 608801"/>
                <a:gd name="connsiteX36" fmla="*/ 277570 w 555138"/>
                <a:gd name="connsiteY36" fmla="*/ 3208 h 608801"/>
                <a:gd name="connsiteX37" fmla="*/ 282527 w 555138"/>
                <a:gd name="connsiteY37" fmla="*/ 593 h 6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55138" h="608801">
                  <a:moveTo>
                    <a:pt x="333504" y="231047"/>
                  </a:moveTo>
                  <a:lnTo>
                    <a:pt x="254856" y="309304"/>
                  </a:lnTo>
                  <a:lnTo>
                    <a:pt x="221937" y="276152"/>
                  </a:lnTo>
                  <a:lnTo>
                    <a:pt x="187523" y="310238"/>
                  </a:lnTo>
                  <a:lnTo>
                    <a:pt x="220441" y="343389"/>
                  </a:lnTo>
                  <a:lnTo>
                    <a:pt x="254575" y="377755"/>
                  </a:lnTo>
                  <a:lnTo>
                    <a:pt x="288989" y="343669"/>
                  </a:lnTo>
                  <a:lnTo>
                    <a:pt x="367731" y="265413"/>
                  </a:lnTo>
                  <a:close/>
                  <a:moveTo>
                    <a:pt x="277580" y="130845"/>
                  </a:moveTo>
                  <a:cubicBezTo>
                    <a:pt x="373529" y="130845"/>
                    <a:pt x="451336" y="208541"/>
                    <a:pt x="451336" y="304448"/>
                  </a:cubicBezTo>
                  <a:cubicBezTo>
                    <a:pt x="451336" y="400261"/>
                    <a:pt x="373529" y="477957"/>
                    <a:pt x="277580" y="477957"/>
                  </a:cubicBezTo>
                  <a:cubicBezTo>
                    <a:pt x="181538" y="477957"/>
                    <a:pt x="103731" y="400261"/>
                    <a:pt x="103731" y="304448"/>
                  </a:cubicBezTo>
                  <a:cubicBezTo>
                    <a:pt x="103731" y="208541"/>
                    <a:pt x="181538" y="130845"/>
                    <a:pt x="277580" y="130845"/>
                  </a:cubicBezTo>
                  <a:close/>
                  <a:moveTo>
                    <a:pt x="440395" y="80038"/>
                  </a:moveTo>
                  <a:cubicBezTo>
                    <a:pt x="512215" y="132052"/>
                    <a:pt x="555138" y="215909"/>
                    <a:pt x="555138" y="304436"/>
                  </a:cubicBezTo>
                  <a:cubicBezTo>
                    <a:pt x="555138" y="457302"/>
                    <a:pt x="430576" y="581594"/>
                    <a:pt x="277586" y="581594"/>
                  </a:cubicBezTo>
                  <a:lnTo>
                    <a:pt x="277586" y="605593"/>
                  </a:lnTo>
                  <a:cubicBezTo>
                    <a:pt x="277586" y="608208"/>
                    <a:pt x="274687" y="609702"/>
                    <a:pt x="272536" y="608208"/>
                  </a:cubicBezTo>
                  <a:lnTo>
                    <a:pt x="207356" y="563478"/>
                  </a:lnTo>
                  <a:cubicBezTo>
                    <a:pt x="205486" y="562170"/>
                    <a:pt x="205486" y="559369"/>
                    <a:pt x="207356" y="558155"/>
                  </a:cubicBezTo>
                  <a:lnTo>
                    <a:pt x="272536" y="513425"/>
                  </a:lnTo>
                  <a:cubicBezTo>
                    <a:pt x="274687" y="511931"/>
                    <a:pt x="277586" y="513425"/>
                    <a:pt x="277586" y="516040"/>
                  </a:cubicBezTo>
                  <a:lnTo>
                    <a:pt x="277586" y="540319"/>
                  </a:lnTo>
                  <a:cubicBezTo>
                    <a:pt x="407759" y="540319"/>
                    <a:pt x="513711" y="434517"/>
                    <a:pt x="513711" y="304529"/>
                  </a:cubicBezTo>
                  <a:cubicBezTo>
                    <a:pt x="513711" y="229169"/>
                    <a:pt x="477147" y="157825"/>
                    <a:pt x="416081" y="113562"/>
                  </a:cubicBezTo>
                  <a:close/>
                  <a:moveTo>
                    <a:pt x="282527" y="593"/>
                  </a:moveTo>
                  <a:lnTo>
                    <a:pt x="347711" y="45323"/>
                  </a:lnTo>
                  <a:cubicBezTo>
                    <a:pt x="349581" y="46724"/>
                    <a:pt x="349581" y="49432"/>
                    <a:pt x="347711" y="50646"/>
                  </a:cubicBezTo>
                  <a:lnTo>
                    <a:pt x="282527" y="95376"/>
                  </a:lnTo>
                  <a:cubicBezTo>
                    <a:pt x="280376" y="96870"/>
                    <a:pt x="277570" y="95376"/>
                    <a:pt x="277570" y="92761"/>
                  </a:cubicBezTo>
                  <a:lnTo>
                    <a:pt x="277570" y="68575"/>
                  </a:lnTo>
                  <a:cubicBezTo>
                    <a:pt x="147389" y="68575"/>
                    <a:pt x="41336" y="174471"/>
                    <a:pt x="41336" y="304459"/>
                  </a:cubicBezTo>
                  <a:cubicBezTo>
                    <a:pt x="41336" y="379725"/>
                    <a:pt x="77903" y="451069"/>
                    <a:pt x="138878" y="495332"/>
                  </a:cubicBezTo>
                  <a:lnTo>
                    <a:pt x="114563" y="528763"/>
                  </a:lnTo>
                  <a:cubicBezTo>
                    <a:pt x="42832" y="476749"/>
                    <a:pt x="0" y="392985"/>
                    <a:pt x="0" y="304459"/>
                  </a:cubicBezTo>
                  <a:cubicBezTo>
                    <a:pt x="0" y="151686"/>
                    <a:pt x="124570" y="27300"/>
                    <a:pt x="277570" y="27300"/>
                  </a:cubicBezTo>
                  <a:lnTo>
                    <a:pt x="277570" y="3208"/>
                  </a:lnTo>
                  <a:cubicBezTo>
                    <a:pt x="277570" y="593"/>
                    <a:pt x="280376" y="-901"/>
                    <a:pt x="282527" y="593"/>
                  </a:cubicBezTo>
                  <a:close/>
                </a:path>
              </a:pathLst>
            </a:custGeom>
            <a:solidFill>
              <a:schemeClr val="bg1"/>
            </a:solidFill>
            <a:ln w="12700">
              <a:miter lim="400000"/>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Tree>
    <p:extLst>
      <p:ext uri="{BB962C8B-B14F-4D97-AF65-F5344CB8AC3E}">
        <p14:creationId xmlns:p14="http://schemas.microsoft.com/office/powerpoint/2010/main" val="32334370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20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2" presetClass="entr" presetSubtype="4" fill="hold" nodeType="withEffect">
                                  <p:stCondLst>
                                    <p:cond delay="500"/>
                                  </p:stCondLst>
                                  <p:childTnLst>
                                    <p:set>
                                      <p:cBhvr>
                                        <p:cTn id="14" dur="1" fill="hold">
                                          <p:stCondLst>
                                            <p:cond delay="0"/>
                                          </p:stCondLst>
                                        </p:cTn>
                                        <p:tgtEl>
                                          <p:spTgt spid="24"/>
                                        </p:tgtEl>
                                        <p:attrNameLst>
                                          <p:attrName>style.visibility</p:attrName>
                                        </p:attrNameLst>
                                      </p:cBhvr>
                                      <p:to>
                                        <p:strVal val="visible"/>
                                      </p:to>
                                    </p:set>
                                    <p:anim calcmode="lin" valueType="num">
                                      <p:cBhvr additive="base">
                                        <p:cTn id="15" dur="500" fill="hold"/>
                                        <p:tgtEl>
                                          <p:spTgt spid="24"/>
                                        </p:tgtEl>
                                        <p:attrNameLst>
                                          <p:attrName>ppt_x</p:attrName>
                                        </p:attrNameLst>
                                      </p:cBhvr>
                                      <p:tavLst>
                                        <p:tav tm="0">
                                          <p:val>
                                            <p:strVal val="#ppt_x"/>
                                          </p:val>
                                        </p:tav>
                                        <p:tav tm="100000">
                                          <p:val>
                                            <p:strVal val="#ppt_x"/>
                                          </p:val>
                                        </p:tav>
                                      </p:tavLst>
                                    </p:anim>
                                    <p:anim calcmode="lin" valueType="num">
                                      <p:cBhvr additive="base">
                                        <p:cTn id="16" dur="500" fill="hold"/>
                                        <p:tgtEl>
                                          <p:spTgt spid="24"/>
                                        </p:tgtEl>
                                        <p:attrNameLst>
                                          <p:attrName>ppt_y</p:attrName>
                                        </p:attrNameLst>
                                      </p:cBhvr>
                                      <p:tavLst>
                                        <p:tav tm="0">
                                          <p:val>
                                            <p:strVal val="1+#ppt_h/2"/>
                                          </p:val>
                                        </p:tav>
                                        <p:tav tm="100000">
                                          <p:val>
                                            <p:strVal val="#ppt_y"/>
                                          </p:val>
                                        </p:tav>
                                      </p:tavLst>
                                    </p:anim>
                                  </p:childTnLst>
                                </p:cTn>
                              </p:par>
                              <p:par>
                                <p:cTn id="17" presetID="1" presetClass="entr" presetSubtype="0" fill="hold" nodeType="withEffect">
                                  <p:stCondLst>
                                    <p:cond delay="600"/>
                                  </p:stCondLst>
                                  <p:childTnLst>
                                    <p:set>
                                      <p:cBhvr>
                                        <p:cTn id="18" dur="1" fill="hold">
                                          <p:stCondLst>
                                            <p:cond delay="0"/>
                                          </p:stCondLst>
                                        </p:cTn>
                                        <p:tgtEl>
                                          <p:spTgt spid="61"/>
                                        </p:tgtEl>
                                        <p:attrNameLst>
                                          <p:attrName>style.visibility</p:attrName>
                                        </p:attrNameLst>
                                      </p:cBhvr>
                                      <p:to>
                                        <p:strVal val="visible"/>
                                      </p:to>
                                    </p:set>
                                  </p:childTnLst>
                                </p:cTn>
                              </p:par>
                              <p:par>
                                <p:cTn id="19" presetID="2" presetClass="entr" presetSubtype="4" fill="hold" nodeType="withEffect">
                                  <p:stCondLst>
                                    <p:cond delay="800"/>
                                  </p:stCondLst>
                                  <p:childTnLst>
                                    <p:set>
                                      <p:cBhvr>
                                        <p:cTn id="20" dur="1" fill="hold">
                                          <p:stCondLst>
                                            <p:cond delay="0"/>
                                          </p:stCondLst>
                                        </p:cTn>
                                        <p:tgtEl>
                                          <p:spTgt spid="30"/>
                                        </p:tgtEl>
                                        <p:attrNameLst>
                                          <p:attrName>style.visibility</p:attrName>
                                        </p:attrNameLst>
                                      </p:cBhvr>
                                      <p:to>
                                        <p:strVal val="visible"/>
                                      </p:to>
                                    </p:set>
                                    <p:anim calcmode="lin" valueType="num">
                                      <p:cBhvr additive="base">
                                        <p:cTn id="21" dur="500" fill="hold"/>
                                        <p:tgtEl>
                                          <p:spTgt spid="30"/>
                                        </p:tgtEl>
                                        <p:attrNameLst>
                                          <p:attrName>ppt_x</p:attrName>
                                        </p:attrNameLst>
                                      </p:cBhvr>
                                      <p:tavLst>
                                        <p:tav tm="0">
                                          <p:val>
                                            <p:strVal val="#ppt_x"/>
                                          </p:val>
                                        </p:tav>
                                        <p:tav tm="100000">
                                          <p:val>
                                            <p:strVal val="#ppt_x"/>
                                          </p:val>
                                        </p:tav>
                                      </p:tavLst>
                                    </p:anim>
                                    <p:anim calcmode="lin" valueType="num">
                                      <p:cBhvr additive="base">
                                        <p:cTn id="22" dur="500" fill="hold"/>
                                        <p:tgtEl>
                                          <p:spTgt spid="30"/>
                                        </p:tgtEl>
                                        <p:attrNameLst>
                                          <p:attrName>ppt_y</p:attrName>
                                        </p:attrNameLst>
                                      </p:cBhvr>
                                      <p:tavLst>
                                        <p:tav tm="0">
                                          <p:val>
                                            <p:strVal val="1+#ppt_h/2"/>
                                          </p:val>
                                        </p:tav>
                                        <p:tav tm="100000">
                                          <p:val>
                                            <p:strVal val="#ppt_y"/>
                                          </p:val>
                                        </p:tav>
                                      </p:tavLst>
                                    </p:anim>
                                  </p:childTnLst>
                                </p:cTn>
                              </p:par>
                              <p:par>
                                <p:cTn id="23" presetID="1" presetClass="entr" presetSubtype="0" fill="hold" nodeType="withEffect">
                                  <p:stCondLst>
                                    <p:cond delay="1000"/>
                                  </p:stCondLst>
                                  <p:childTnLst>
                                    <p:set>
                                      <p:cBhvr>
                                        <p:cTn id="24" dur="1" fill="hold">
                                          <p:stCondLst>
                                            <p:cond delay="0"/>
                                          </p:stCondLst>
                                        </p:cTn>
                                        <p:tgtEl>
                                          <p:spTgt spid="62"/>
                                        </p:tgtEl>
                                        <p:attrNameLst>
                                          <p:attrName>style.visibility</p:attrName>
                                        </p:attrNameLst>
                                      </p:cBhvr>
                                      <p:to>
                                        <p:strVal val="visible"/>
                                      </p:to>
                                    </p:set>
                                  </p:childTnLst>
                                </p:cTn>
                              </p:par>
                              <p:par>
                                <p:cTn id="25" presetID="2" presetClass="entr" presetSubtype="4" fill="hold" nodeType="withEffect">
                                  <p:stCondLst>
                                    <p:cond delay="1100"/>
                                  </p:stCondLst>
                                  <p:childTnLst>
                                    <p:set>
                                      <p:cBhvr>
                                        <p:cTn id="26" dur="1" fill="hold">
                                          <p:stCondLst>
                                            <p:cond delay="0"/>
                                          </p:stCondLst>
                                        </p:cTn>
                                        <p:tgtEl>
                                          <p:spTgt spid="40"/>
                                        </p:tgtEl>
                                        <p:attrNameLst>
                                          <p:attrName>style.visibility</p:attrName>
                                        </p:attrNameLst>
                                      </p:cBhvr>
                                      <p:to>
                                        <p:strVal val="visible"/>
                                      </p:to>
                                    </p:set>
                                    <p:anim calcmode="lin" valueType="num">
                                      <p:cBhvr additive="base">
                                        <p:cTn id="27" dur="500" fill="hold"/>
                                        <p:tgtEl>
                                          <p:spTgt spid="40"/>
                                        </p:tgtEl>
                                        <p:attrNameLst>
                                          <p:attrName>ppt_x</p:attrName>
                                        </p:attrNameLst>
                                      </p:cBhvr>
                                      <p:tavLst>
                                        <p:tav tm="0">
                                          <p:val>
                                            <p:strVal val="#ppt_x"/>
                                          </p:val>
                                        </p:tav>
                                        <p:tav tm="100000">
                                          <p:val>
                                            <p:strVal val="#ppt_x"/>
                                          </p:val>
                                        </p:tav>
                                      </p:tavLst>
                                    </p:anim>
                                    <p:anim calcmode="lin" valueType="num">
                                      <p:cBhvr additive="base">
                                        <p:cTn id="28" dur="500" fill="hold"/>
                                        <p:tgtEl>
                                          <p:spTgt spid="40"/>
                                        </p:tgtEl>
                                        <p:attrNameLst>
                                          <p:attrName>ppt_y</p:attrName>
                                        </p:attrNameLst>
                                      </p:cBhvr>
                                      <p:tavLst>
                                        <p:tav tm="0">
                                          <p:val>
                                            <p:strVal val="1+#ppt_h/2"/>
                                          </p:val>
                                        </p:tav>
                                        <p:tav tm="100000">
                                          <p:val>
                                            <p:strVal val="#ppt_y"/>
                                          </p:val>
                                        </p:tav>
                                      </p:tavLst>
                                    </p:anim>
                                  </p:childTnLst>
                                </p:cTn>
                              </p:par>
                              <p:par>
                                <p:cTn id="29" presetID="1" presetClass="entr" presetSubtype="0" fill="hold" nodeType="withEffect">
                                  <p:stCondLst>
                                    <p:cond delay="1300"/>
                                  </p:stCondLst>
                                  <p:childTnLst>
                                    <p:set>
                                      <p:cBhvr>
                                        <p:cTn id="30" dur="1" fill="hold">
                                          <p:stCondLst>
                                            <p:cond delay="0"/>
                                          </p:stCondLst>
                                        </p:cTn>
                                        <p:tgtEl>
                                          <p:spTgt spid="66"/>
                                        </p:tgtEl>
                                        <p:attrNameLst>
                                          <p:attrName>style.visibility</p:attrName>
                                        </p:attrNameLst>
                                      </p:cBhvr>
                                      <p:to>
                                        <p:strVal val="visible"/>
                                      </p:to>
                                    </p:set>
                                  </p:childTnLst>
                                </p:cTn>
                              </p:par>
                              <p:par>
                                <p:cTn id="31" presetID="2" presetClass="entr" presetSubtype="4" fill="hold" nodeType="withEffect">
                                  <p:stCondLst>
                                    <p:cond delay="1500"/>
                                  </p:stCondLst>
                                  <p:childTnLst>
                                    <p:set>
                                      <p:cBhvr>
                                        <p:cTn id="32" dur="1" fill="hold">
                                          <p:stCondLst>
                                            <p:cond delay="0"/>
                                          </p:stCondLst>
                                        </p:cTn>
                                        <p:tgtEl>
                                          <p:spTgt spid="35"/>
                                        </p:tgtEl>
                                        <p:attrNameLst>
                                          <p:attrName>style.visibility</p:attrName>
                                        </p:attrNameLst>
                                      </p:cBhvr>
                                      <p:to>
                                        <p:strVal val="visible"/>
                                      </p:to>
                                    </p:set>
                                    <p:anim calcmode="lin" valueType="num">
                                      <p:cBhvr additive="base">
                                        <p:cTn id="33" dur="500" fill="hold"/>
                                        <p:tgtEl>
                                          <p:spTgt spid="35"/>
                                        </p:tgtEl>
                                        <p:attrNameLst>
                                          <p:attrName>ppt_x</p:attrName>
                                        </p:attrNameLst>
                                      </p:cBhvr>
                                      <p:tavLst>
                                        <p:tav tm="0">
                                          <p:val>
                                            <p:strVal val="#ppt_x"/>
                                          </p:val>
                                        </p:tav>
                                        <p:tav tm="100000">
                                          <p:val>
                                            <p:strVal val="#ppt_x"/>
                                          </p:val>
                                        </p:tav>
                                      </p:tavLst>
                                    </p:anim>
                                    <p:anim calcmode="lin" valueType="num">
                                      <p:cBhvr additive="base">
                                        <p:cTn id="34" dur="500" fill="hold"/>
                                        <p:tgtEl>
                                          <p:spTgt spid="35"/>
                                        </p:tgtEl>
                                        <p:attrNameLst>
                                          <p:attrName>ppt_y</p:attrName>
                                        </p:attrNameLst>
                                      </p:cBhvr>
                                      <p:tavLst>
                                        <p:tav tm="0">
                                          <p:val>
                                            <p:strVal val="1+#ppt_h/2"/>
                                          </p:val>
                                        </p:tav>
                                        <p:tav tm="100000">
                                          <p:val>
                                            <p:strVal val="#ppt_y"/>
                                          </p:val>
                                        </p:tav>
                                      </p:tavLst>
                                    </p:anim>
                                  </p:childTnLst>
                                </p:cTn>
                              </p:par>
                              <p:par>
                                <p:cTn id="35" presetID="1" presetClass="entr" presetSubtype="0" fill="hold" nodeType="withEffect">
                                  <p:stCondLst>
                                    <p:cond delay="1800"/>
                                  </p:stCondLst>
                                  <p:childTnLst>
                                    <p:set>
                                      <p:cBhvr>
                                        <p:cTn id="36" dur="1" fill="hold">
                                          <p:stCondLst>
                                            <p:cond delay="0"/>
                                          </p:stCondLst>
                                        </p:cTn>
                                        <p:tgtEl>
                                          <p:spTgt spid="65"/>
                                        </p:tgtEl>
                                        <p:attrNameLst>
                                          <p:attrName>style.visibility</p:attrName>
                                        </p:attrNameLst>
                                      </p:cBhvr>
                                      <p:to>
                                        <p:strVal val="visible"/>
                                      </p:to>
                                    </p:set>
                                  </p:childTnLst>
                                </p:cTn>
                              </p:par>
                              <p:par>
                                <p:cTn id="37" presetID="2" presetClass="entr" presetSubtype="4" fill="hold" nodeType="withEffect">
                                  <p:stCondLst>
                                    <p:cond delay="2000"/>
                                  </p:stCondLst>
                                  <p:childTnLst>
                                    <p:set>
                                      <p:cBhvr>
                                        <p:cTn id="38" dur="1" fill="hold">
                                          <p:stCondLst>
                                            <p:cond delay="0"/>
                                          </p:stCondLst>
                                        </p:cTn>
                                        <p:tgtEl>
                                          <p:spTgt spid="51"/>
                                        </p:tgtEl>
                                        <p:attrNameLst>
                                          <p:attrName>style.visibility</p:attrName>
                                        </p:attrNameLst>
                                      </p:cBhvr>
                                      <p:to>
                                        <p:strVal val="visible"/>
                                      </p:to>
                                    </p:set>
                                    <p:anim calcmode="lin" valueType="num">
                                      <p:cBhvr additive="base">
                                        <p:cTn id="39" dur="500" fill="hold"/>
                                        <p:tgtEl>
                                          <p:spTgt spid="51"/>
                                        </p:tgtEl>
                                        <p:attrNameLst>
                                          <p:attrName>ppt_x</p:attrName>
                                        </p:attrNameLst>
                                      </p:cBhvr>
                                      <p:tavLst>
                                        <p:tav tm="0">
                                          <p:val>
                                            <p:strVal val="#ppt_x"/>
                                          </p:val>
                                        </p:tav>
                                        <p:tav tm="100000">
                                          <p:val>
                                            <p:strVal val="#ppt_x"/>
                                          </p:val>
                                        </p:tav>
                                      </p:tavLst>
                                    </p:anim>
                                    <p:anim calcmode="lin" valueType="num">
                                      <p:cBhvr additive="base">
                                        <p:cTn id="40" dur="500" fill="hold"/>
                                        <p:tgtEl>
                                          <p:spTgt spid="51"/>
                                        </p:tgtEl>
                                        <p:attrNameLst>
                                          <p:attrName>ppt_y</p:attrName>
                                        </p:attrNameLst>
                                      </p:cBhvr>
                                      <p:tavLst>
                                        <p:tav tm="0">
                                          <p:val>
                                            <p:strVal val="1+#ppt_h/2"/>
                                          </p:val>
                                        </p:tav>
                                        <p:tav tm="100000">
                                          <p:val>
                                            <p:strVal val="#ppt_y"/>
                                          </p:val>
                                        </p:tav>
                                      </p:tavLst>
                                    </p:anim>
                                  </p:childTnLst>
                                </p:cTn>
                              </p:par>
                              <p:par>
                                <p:cTn id="41" presetID="1" presetClass="entr" presetSubtype="0" fill="hold" nodeType="withEffect">
                                  <p:stCondLst>
                                    <p:cond delay="2300"/>
                                  </p:stCondLst>
                                  <p:childTnLst>
                                    <p:set>
                                      <p:cBhvr>
                                        <p:cTn id="42" dur="1" fill="hold">
                                          <p:stCondLst>
                                            <p:cond delay="0"/>
                                          </p:stCondLst>
                                        </p:cTn>
                                        <p:tgtEl>
                                          <p:spTgt spid="64"/>
                                        </p:tgtEl>
                                        <p:attrNameLst>
                                          <p:attrName>style.visibility</p:attrName>
                                        </p:attrNameLst>
                                      </p:cBhvr>
                                      <p:to>
                                        <p:strVal val="visible"/>
                                      </p:to>
                                    </p:set>
                                  </p:childTnLst>
                                </p:cTn>
                              </p:par>
                              <p:par>
                                <p:cTn id="43" presetID="2" presetClass="entr" presetSubtype="4" fill="hold" nodeType="withEffect">
                                  <p:stCondLst>
                                    <p:cond delay="2600"/>
                                  </p:stCondLst>
                                  <p:childTnLst>
                                    <p:set>
                                      <p:cBhvr>
                                        <p:cTn id="44" dur="1" fill="hold">
                                          <p:stCondLst>
                                            <p:cond delay="0"/>
                                          </p:stCondLst>
                                        </p:cTn>
                                        <p:tgtEl>
                                          <p:spTgt spid="56"/>
                                        </p:tgtEl>
                                        <p:attrNameLst>
                                          <p:attrName>style.visibility</p:attrName>
                                        </p:attrNameLst>
                                      </p:cBhvr>
                                      <p:to>
                                        <p:strVal val="visible"/>
                                      </p:to>
                                    </p:set>
                                    <p:anim calcmode="lin" valueType="num">
                                      <p:cBhvr additive="base">
                                        <p:cTn id="45" dur="500" fill="hold"/>
                                        <p:tgtEl>
                                          <p:spTgt spid="56"/>
                                        </p:tgtEl>
                                        <p:attrNameLst>
                                          <p:attrName>ppt_x</p:attrName>
                                        </p:attrNameLst>
                                      </p:cBhvr>
                                      <p:tavLst>
                                        <p:tav tm="0">
                                          <p:val>
                                            <p:strVal val="#ppt_x"/>
                                          </p:val>
                                        </p:tav>
                                        <p:tav tm="100000">
                                          <p:val>
                                            <p:strVal val="#ppt_x"/>
                                          </p:val>
                                        </p:tav>
                                      </p:tavLst>
                                    </p:anim>
                                    <p:anim calcmode="lin" valueType="num">
                                      <p:cBhvr additive="base">
                                        <p:cTn id="46" dur="500" fill="hold"/>
                                        <p:tgtEl>
                                          <p:spTgt spid="56"/>
                                        </p:tgtEl>
                                        <p:attrNameLst>
                                          <p:attrName>ppt_y</p:attrName>
                                        </p:attrNameLst>
                                      </p:cBhvr>
                                      <p:tavLst>
                                        <p:tav tm="0">
                                          <p:val>
                                            <p:strVal val="1+#ppt_h/2"/>
                                          </p:val>
                                        </p:tav>
                                        <p:tav tm="100000">
                                          <p:val>
                                            <p:strVal val="#ppt_y"/>
                                          </p:val>
                                        </p:tav>
                                      </p:tavLst>
                                    </p:anim>
                                  </p:childTnLst>
                                </p:cTn>
                              </p:par>
                              <p:par>
                                <p:cTn id="47" presetID="1" presetClass="entr" presetSubtype="0" fill="hold" nodeType="withEffect">
                                  <p:stCondLst>
                                    <p:cond delay="2800"/>
                                  </p:stCondLst>
                                  <p:childTnLst>
                                    <p:set>
                                      <p:cBhvr>
                                        <p:cTn id="48"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iSľíḋe">
            <a:extLst>
              <a:ext uri="{FF2B5EF4-FFF2-40B4-BE49-F238E27FC236}">
                <a16:creationId xmlns:a16="http://schemas.microsoft.com/office/drawing/2014/main" id="{75ACA55B-1E8E-4926-BEC3-2694CC4A21F4}"/>
              </a:ext>
            </a:extLst>
          </p:cNvPr>
          <p:cNvSpPr/>
          <p:nvPr/>
        </p:nvSpPr>
        <p:spPr bwMode="auto">
          <a:xfrm rot="7081287">
            <a:off x="832681" y="286861"/>
            <a:ext cx="5546842" cy="6679547"/>
          </a:xfrm>
          <a:custGeom>
            <a:avLst/>
            <a:gdLst>
              <a:gd name="T0" fmla="*/ 1761 w 4093"/>
              <a:gd name="T1" fmla="*/ 67 h 3122"/>
              <a:gd name="T2" fmla="*/ 2350 w 4093"/>
              <a:gd name="T3" fmla="*/ 142 h 3122"/>
              <a:gd name="T4" fmla="*/ 3711 w 4093"/>
              <a:gd name="T5" fmla="*/ 1420 h 3122"/>
              <a:gd name="T6" fmla="*/ 3998 w 4093"/>
              <a:gd name="T7" fmla="*/ 2006 h 3122"/>
              <a:gd name="T8" fmla="*/ 3426 w 4093"/>
              <a:gd name="T9" fmla="*/ 3016 h 3122"/>
              <a:gd name="T10" fmla="*/ 2970 w 4093"/>
              <a:gd name="T11" fmla="*/ 3101 h 3122"/>
              <a:gd name="T12" fmla="*/ 2124 w 4093"/>
              <a:gd name="T13" fmla="*/ 3036 h 3122"/>
              <a:gd name="T14" fmla="*/ 1560 w 4093"/>
              <a:gd name="T15" fmla="*/ 2790 h 3122"/>
              <a:gd name="T16" fmla="*/ 273 w 4093"/>
              <a:gd name="T17" fmla="*/ 1710 h 3122"/>
              <a:gd name="T18" fmla="*/ 3 w 4093"/>
              <a:gd name="T19" fmla="*/ 1075 h 3122"/>
              <a:gd name="T20" fmla="*/ 384 w 4093"/>
              <a:gd name="T21" fmla="*/ 589 h 3122"/>
              <a:gd name="T22" fmla="*/ 690 w 4093"/>
              <a:gd name="T23" fmla="*/ 607 h 3122"/>
              <a:gd name="T24" fmla="*/ 1142 w 4093"/>
              <a:gd name="T25" fmla="*/ 647 h 3122"/>
              <a:gd name="T26" fmla="*/ 1523 w 4093"/>
              <a:gd name="T27" fmla="*/ 429 h 3122"/>
              <a:gd name="T28" fmla="*/ 1761 w 4093"/>
              <a:gd name="T29" fmla="*/ 67 h 3122"/>
              <a:gd name="connsiteX0" fmla="*/ 3709 w 9224"/>
              <a:gd name="connsiteY0" fmla="*/ 95 h 9844"/>
              <a:gd name="connsiteX1" fmla="*/ 5149 w 9224"/>
              <a:gd name="connsiteY1" fmla="*/ 335 h 9844"/>
              <a:gd name="connsiteX2" fmla="*/ 8474 w 9224"/>
              <a:gd name="connsiteY2" fmla="*/ 4428 h 9844"/>
              <a:gd name="connsiteX3" fmla="*/ 9175 w 9224"/>
              <a:gd name="connsiteY3" fmla="*/ 6305 h 9844"/>
              <a:gd name="connsiteX4" fmla="*/ 7777 w 9224"/>
              <a:gd name="connsiteY4" fmla="*/ 9540 h 9844"/>
              <a:gd name="connsiteX5" fmla="*/ 6663 w 9224"/>
              <a:gd name="connsiteY5" fmla="*/ 9813 h 9844"/>
              <a:gd name="connsiteX6" fmla="*/ 4596 w 9224"/>
              <a:gd name="connsiteY6" fmla="*/ 9605 h 9844"/>
              <a:gd name="connsiteX7" fmla="*/ 3218 w 9224"/>
              <a:gd name="connsiteY7" fmla="*/ 8817 h 9844"/>
              <a:gd name="connsiteX8" fmla="*/ 74 w 9224"/>
              <a:gd name="connsiteY8" fmla="*/ 5357 h 9844"/>
              <a:gd name="connsiteX9" fmla="*/ 920 w 9224"/>
              <a:gd name="connsiteY9" fmla="*/ 4287 h 9844"/>
              <a:gd name="connsiteX10" fmla="*/ 345 w 9224"/>
              <a:gd name="connsiteY10" fmla="*/ 1767 h 9844"/>
              <a:gd name="connsiteX11" fmla="*/ 1093 w 9224"/>
              <a:gd name="connsiteY11" fmla="*/ 1824 h 9844"/>
              <a:gd name="connsiteX12" fmla="*/ 2197 w 9224"/>
              <a:gd name="connsiteY12" fmla="*/ 1952 h 9844"/>
              <a:gd name="connsiteX13" fmla="*/ 3128 w 9224"/>
              <a:gd name="connsiteY13" fmla="*/ 1254 h 9844"/>
              <a:gd name="connsiteX14" fmla="*/ 3709 w 9224"/>
              <a:gd name="connsiteY14" fmla="*/ 95 h 9844"/>
              <a:gd name="connsiteX0" fmla="*/ 4021 w 10000"/>
              <a:gd name="connsiteY0" fmla="*/ 97 h 10001"/>
              <a:gd name="connsiteX1" fmla="*/ 5582 w 10000"/>
              <a:gd name="connsiteY1" fmla="*/ 340 h 10001"/>
              <a:gd name="connsiteX2" fmla="*/ 9187 w 10000"/>
              <a:gd name="connsiteY2" fmla="*/ 4498 h 10001"/>
              <a:gd name="connsiteX3" fmla="*/ 9947 w 10000"/>
              <a:gd name="connsiteY3" fmla="*/ 6405 h 10001"/>
              <a:gd name="connsiteX4" fmla="*/ 8431 w 10000"/>
              <a:gd name="connsiteY4" fmla="*/ 9691 h 10001"/>
              <a:gd name="connsiteX5" fmla="*/ 7224 w 10000"/>
              <a:gd name="connsiteY5" fmla="*/ 9969 h 10001"/>
              <a:gd name="connsiteX6" fmla="*/ 4983 w 10000"/>
              <a:gd name="connsiteY6" fmla="*/ 9757 h 10001"/>
              <a:gd name="connsiteX7" fmla="*/ 3489 w 10000"/>
              <a:gd name="connsiteY7" fmla="*/ 8957 h 10001"/>
              <a:gd name="connsiteX8" fmla="*/ 80 w 10000"/>
              <a:gd name="connsiteY8" fmla="*/ 5442 h 10001"/>
              <a:gd name="connsiteX9" fmla="*/ 997 w 10000"/>
              <a:gd name="connsiteY9" fmla="*/ 4355 h 10001"/>
              <a:gd name="connsiteX10" fmla="*/ 714 w 10000"/>
              <a:gd name="connsiteY10" fmla="*/ 3515 h 10001"/>
              <a:gd name="connsiteX11" fmla="*/ 1185 w 10000"/>
              <a:gd name="connsiteY11" fmla="*/ 1853 h 10001"/>
              <a:gd name="connsiteX12" fmla="*/ 2382 w 10000"/>
              <a:gd name="connsiteY12" fmla="*/ 1983 h 10001"/>
              <a:gd name="connsiteX13" fmla="*/ 3391 w 10000"/>
              <a:gd name="connsiteY13" fmla="*/ 1274 h 10001"/>
              <a:gd name="connsiteX14" fmla="*/ 4021 w 10000"/>
              <a:gd name="connsiteY14" fmla="*/ 97 h 10001"/>
              <a:gd name="connsiteX0" fmla="*/ 3310 w 9289"/>
              <a:gd name="connsiteY0" fmla="*/ 97 h 10001"/>
              <a:gd name="connsiteX1" fmla="*/ 4871 w 9289"/>
              <a:gd name="connsiteY1" fmla="*/ 340 h 10001"/>
              <a:gd name="connsiteX2" fmla="*/ 8476 w 9289"/>
              <a:gd name="connsiteY2" fmla="*/ 4498 h 10001"/>
              <a:gd name="connsiteX3" fmla="*/ 9236 w 9289"/>
              <a:gd name="connsiteY3" fmla="*/ 6405 h 10001"/>
              <a:gd name="connsiteX4" fmla="*/ 7720 w 9289"/>
              <a:gd name="connsiteY4" fmla="*/ 9691 h 10001"/>
              <a:gd name="connsiteX5" fmla="*/ 6513 w 9289"/>
              <a:gd name="connsiteY5" fmla="*/ 9969 h 10001"/>
              <a:gd name="connsiteX6" fmla="*/ 4272 w 9289"/>
              <a:gd name="connsiteY6" fmla="*/ 9757 h 10001"/>
              <a:gd name="connsiteX7" fmla="*/ 2778 w 9289"/>
              <a:gd name="connsiteY7" fmla="*/ 8957 h 10001"/>
              <a:gd name="connsiteX8" fmla="*/ 759 w 9289"/>
              <a:gd name="connsiteY8" fmla="*/ 5677 h 10001"/>
              <a:gd name="connsiteX9" fmla="*/ 286 w 9289"/>
              <a:gd name="connsiteY9" fmla="*/ 4355 h 10001"/>
              <a:gd name="connsiteX10" fmla="*/ 3 w 9289"/>
              <a:gd name="connsiteY10" fmla="*/ 3515 h 10001"/>
              <a:gd name="connsiteX11" fmla="*/ 474 w 9289"/>
              <a:gd name="connsiteY11" fmla="*/ 1853 h 10001"/>
              <a:gd name="connsiteX12" fmla="*/ 1671 w 9289"/>
              <a:gd name="connsiteY12" fmla="*/ 1983 h 10001"/>
              <a:gd name="connsiteX13" fmla="*/ 2680 w 9289"/>
              <a:gd name="connsiteY13" fmla="*/ 1274 h 10001"/>
              <a:gd name="connsiteX14" fmla="*/ 3310 w 9289"/>
              <a:gd name="connsiteY14" fmla="*/ 97 h 10001"/>
              <a:gd name="connsiteX0" fmla="*/ 3563 w 10000"/>
              <a:gd name="connsiteY0" fmla="*/ 97 h 10000"/>
              <a:gd name="connsiteX1" fmla="*/ 5244 w 10000"/>
              <a:gd name="connsiteY1" fmla="*/ 340 h 10000"/>
              <a:gd name="connsiteX2" fmla="*/ 9125 w 10000"/>
              <a:gd name="connsiteY2" fmla="*/ 4498 h 10000"/>
              <a:gd name="connsiteX3" fmla="*/ 9943 w 10000"/>
              <a:gd name="connsiteY3" fmla="*/ 6404 h 10000"/>
              <a:gd name="connsiteX4" fmla="*/ 8311 w 10000"/>
              <a:gd name="connsiteY4" fmla="*/ 9690 h 10000"/>
              <a:gd name="connsiteX5" fmla="*/ 7012 w 10000"/>
              <a:gd name="connsiteY5" fmla="*/ 9968 h 10000"/>
              <a:gd name="connsiteX6" fmla="*/ 4599 w 10000"/>
              <a:gd name="connsiteY6" fmla="*/ 9756 h 10000"/>
              <a:gd name="connsiteX7" fmla="*/ 2991 w 10000"/>
              <a:gd name="connsiteY7" fmla="*/ 8956 h 10000"/>
              <a:gd name="connsiteX8" fmla="*/ 817 w 10000"/>
              <a:gd name="connsiteY8" fmla="*/ 5676 h 10000"/>
              <a:gd name="connsiteX9" fmla="*/ 308 w 10000"/>
              <a:gd name="connsiteY9" fmla="*/ 4355 h 10000"/>
              <a:gd name="connsiteX10" fmla="*/ 3 w 10000"/>
              <a:gd name="connsiteY10" fmla="*/ 3515 h 10000"/>
              <a:gd name="connsiteX11" fmla="*/ 510 w 10000"/>
              <a:gd name="connsiteY11" fmla="*/ 1853 h 10000"/>
              <a:gd name="connsiteX12" fmla="*/ 1799 w 10000"/>
              <a:gd name="connsiteY12" fmla="*/ 1983 h 10000"/>
              <a:gd name="connsiteX13" fmla="*/ 2885 w 10000"/>
              <a:gd name="connsiteY13" fmla="*/ 1274 h 10000"/>
              <a:gd name="connsiteX14" fmla="*/ 4606 w 10000"/>
              <a:gd name="connsiteY14" fmla="*/ 1505 h 10000"/>
              <a:gd name="connsiteX0" fmla="*/ 4649 w 10000"/>
              <a:gd name="connsiteY0" fmla="*/ 1285 h 9763"/>
              <a:gd name="connsiteX1" fmla="*/ 5244 w 10000"/>
              <a:gd name="connsiteY1" fmla="*/ 103 h 9763"/>
              <a:gd name="connsiteX2" fmla="*/ 9125 w 10000"/>
              <a:gd name="connsiteY2" fmla="*/ 4261 h 9763"/>
              <a:gd name="connsiteX3" fmla="*/ 9943 w 10000"/>
              <a:gd name="connsiteY3" fmla="*/ 6167 h 9763"/>
              <a:gd name="connsiteX4" fmla="*/ 8311 w 10000"/>
              <a:gd name="connsiteY4" fmla="*/ 9453 h 9763"/>
              <a:gd name="connsiteX5" fmla="*/ 7012 w 10000"/>
              <a:gd name="connsiteY5" fmla="*/ 9731 h 9763"/>
              <a:gd name="connsiteX6" fmla="*/ 4599 w 10000"/>
              <a:gd name="connsiteY6" fmla="*/ 9519 h 9763"/>
              <a:gd name="connsiteX7" fmla="*/ 2991 w 10000"/>
              <a:gd name="connsiteY7" fmla="*/ 8719 h 9763"/>
              <a:gd name="connsiteX8" fmla="*/ 817 w 10000"/>
              <a:gd name="connsiteY8" fmla="*/ 5439 h 9763"/>
              <a:gd name="connsiteX9" fmla="*/ 308 w 10000"/>
              <a:gd name="connsiteY9" fmla="*/ 4118 h 9763"/>
              <a:gd name="connsiteX10" fmla="*/ 3 w 10000"/>
              <a:gd name="connsiteY10" fmla="*/ 3278 h 9763"/>
              <a:gd name="connsiteX11" fmla="*/ 510 w 10000"/>
              <a:gd name="connsiteY11" fmla="*/ 1616 h 9763"/>
              <a:gd name="connsiteX12" fmla="*/ 1799 w 10000"/>
              <a:gd name="connsiteY12" fmla="*/ 1746 h 9763"/>
              <a:gd name="connsiteX13" fmla="*/ 2885 w 10000"/>
              <a:gd name="connsiteY13" fmla="*/ 1037 h 9763"/>
              <a:gd name="connsiteX14" fmla="*/ 4606 w 10000"/>
              <a:gd name="connsiteY14" fmla="*/ 1268 h 9763"/>
              <a:gd name="connsiteX0" fmla="*/ 4649 w 10000"/>
              <a:gd name="connsiteY0" fmla="*/ 411 h 9094"/>
              <a:gd name="connsiteX1" fmla="*/ 6922 w 10000"/>
              <a:gd name="connsiteY1" fmla="*/ 1961 h 9094"/>
              <a:gd name="connsiteX2" fmla="*/ 9125 w 10000"/>
              <a:gd name="connsiteY2" fmla="*/ 3459 h 9094"/>
              <a:gd name="connsiteX3" fmla="*/ 9943 w 10000"/>
              <a:gd name="connsiteY3" fmla="*/ 5412 h 9094"/>
              <a:gd name="connsiteX4" fmla="*/ 8311 w 10000"/>
              <a:gd name="connsiteY4" fmla="*/ 8777 h 9094"/>
              <a:gd name="connsiteX5" fmla="*/ 7012 w 10000"/>
              <a:gd name="connsiteY5" fmla="*/ 9062 h 9094"/>
              <a:gd name="connsiteX6" fmla="*/ 4599 w 10000"/>
              <a:gd name="connsiteY6" fmla="*/ 8845 h 9094"/>
              <a:gd name="connsiteX7" fmla="*/ 2991 w 10000"/>
              <a:gd name="connsiteY7" fmla="*/ 8026 h 9094"/>
              <a:gd name="connsiteX8" fmla="*/ 817 w 10000"/>
              <a:gd name="connsiteY8" fmla="*/ 4666 h 9094"/>
              <a:gd name="connsiteX9" fmla="*/ 308 w 10000"/>
              <a:gd name="connsiteY9" fmla="*/ 3313 h 9094"/>
              <a:gd name="connsiteX10" fmla="*/ 3 w 10000"/>
              <a:gd name="connsiteY10" fmla="*/ 2453 h 9094"/>
              <a:gd name="connsiteX11" fmla="*/ 510 w 10000"/>
              <a:gd name="connsiteY11" fmla="*/ 750 h 9094"/>
              <a:gd name="connsiteX12" fmla="*/ 1799 w 10000"/>
              <a:gd name="connsiteY12" fmla="*/ 883 h 9094"/>
              <a:gd name="connsiteX13" fmla="*/ 2885 w 10000"/>
              <a:gd name="connsiteY13" fmla="*/ 157 h 9094"/>
              <a:gd name="connsiteX14" fmla="*/ 4606 w 10000"/>
              <a:gd name="connsiteY14" fmla="*/ 394 h 9094"/>
              <a:gd name="connsiteX0" fmla="*/ 4649 w 9811"/>
              <a:gd name="connsiteY0" fmla="*/ 452 h 10006"/>
              <a:gd name="connsiteX1" fmla="*/ 6922 w 9811"/>
              <a:gd name="connsiteY1" fmla="*/ 2156 h 10006"/>
              <a:gd name="connsiteX2" fmla="*/ 9125 w 9811"/>
              <a:gd name="connsiteY2" fmla="*/ 3804 h 10006"/>
              <a:gd name="connsiteX3" fmla="*/ 9774 w 9811"/>
              <a:gd name="connsiteY3" fmla="*/ 6522 h 10006"/>
              <a:gd name="connsiteX4" fmla="*/ 8311 w 9811"/>
              <a:gd name="connsiteY4" fmla="*/ 9651 h 10006"/>
              <a:gd name="connsiteX5" fmla="*/ 7012 w 9811"/>
              <a:gd name="connsiteY5" fmla="*/ 9965 h 10006"/>
              <a:gd name="connsiteX6" fmla="*/ 4599 w 9811"/>
              <a:gd name="connsiteY6" fmla="*/ 9726 h 10006"/>
              <a:gd name="connsiteX7" fmla="*/ 2991 w 9811"/>
              <a:gd name="connsiteY7" fmla="*/ 8826 h 10006"/>
              <a:gd name="connsiteX8" fmla="*/ 817 w 9811"/>
              <a:gd name="connsiteY8" fmla="*/ 5131 h 10006"/>
              <a:gd name="connsiteX9" fmla="*/ 308 w 9811"/>
              <a:gd name="connsiteY9" fmla="*/ 3643 h 10006"/>
              <a:gd name="connsiteX10" fmla="*/ 3 w 9811"/>
              <a:gd name="connsiteY10" fmla="*/ 2697 h 10006"/>
              <a:gd name="connsiteX11" fmla="*/ 510 w 9811"/>
              <a:gd name="connsiteY11" fmla="*/ 825 h 10006"/>
              <a:gd name="connsiteX12" fmla="*/ 1799 w 9811"/>
              <a:gd name="connsiteY12" fmla="*/ 971 h 10006"/>
              <a:gd name="connsiteX13" fmla="*/ 2885 w 9811"/>
              <a:gd name="connsiteY13" fmla="*/ 173 h 10006"/>
              <a:gd name="connsiteX14" fmla="*/ 4606 w 9811"/>
              <a:gd name="connsiteY14" fmla="*/ 433 h 10006"/>
              <a:gd name="connsiteX0" fmla="*/ 4739 w 9999"/>
              <a:gd name="connsiteY0" fmla="*/ 452 h 10000"/>
              <a:gd name="connsiteX1" fmla="*/ 7055 w 9999"/>
              <a:gd name="connsiteY1" fmla="*/ 2155 h 10000"/>
              <a:gd name="connsiteX2" fmla="*/ 8688 w 9999"/>
              <a:gd name="connsiteY2" fmla="*/ 4628 h 10000"/>
              <a:gd name="connsiteX3" fmla="*/ 9962 w 9999"/>
              <a:gd name="connsiteY3" fmla="*/ 6518 h 10000"/>
              <a:gd name="connsiteX4" fmla="*/ 8471 w 9999"/>
              <a:gd name="connsiteY4" fmla="*/ 9645 h 10000"/>
              <a:gd name="connsiteX5" fmla="*/ 7147 w 9999"/>
              <a:gd name="connsiteY5" fmla="*/ 9959 h 10000"/>
              <a:gd name="connsiteX6" fmla="*/ 4688 w 9999"/>
              <a:gd name="connsiteY6" fmla="*/ 9720 h 10000"/>
              <a:gd name="connsiteX7" fmla="*/ 3049 w 9999"/>
              <a:gd name="connsiteY7" fmla="*/ 8821 h 10000"/>
              <a:gd name="connsiteX8" fmla="*/ 833 w 9999"/>
              <a:gd name="connsiteY8" fmla="*/ 5128 h 10000"/>
              <a:gd name="connsiteX9" fmla="*/ 314 w 9999"/>
              <a:gd name="connsiteY9" fmla="*/ 3641 h 10000"/>
              <a:gd name="connsiteX10" fmla="*/ 3 w 9999"/>
              <a:gd name="connsiteY10" fmla="*/ 2695 h 10000"/>
              <a:gd name="connsiteX11" fmla="*/ 520 w 9999"/>
              <a:gd name="connsiteY11" fmla="*/ 825 h 10000"/>
              <a:gd name="connsiteX12" fmla="*/ 1834 w 9999"/>
              <a:gd name="connsiteY12" fmla="*/ 970 h 10000"/>
              <a:gd name="connsiteX13" fmla="*/ 2941 w 9999"/>
              <a:gd name="connsiteY13" fmla="*/ 173 h 10000"/>
              <a:gd name="connsiteX14" fmla="*/ 4695 w 9999"/>
              <a:gd name="connsiteY14" fmla="*/ 433 h 10000"/>
              <a:gd name="connsiteX0" fmla="*/ 4739 w 9990"/>
              <a:gd name="connsiteY0" fmla="*/ 452 h 10004"/>
              <a:gd name="connsiteX1" fmla="*/ 7056 w 9990"/>
              <a:gd name="connsiteY1" fmla="*/ 2155 h 10004"/>
              <a:gd name="connsiteX2" fmla="*/ 8689 w 9990"/>
              <a:gd name="connsiteY2" fmla="*/ 4628 h 10004"/>
              <a:gd name="connsiteX3" fmla="*/ 9963 w 9990"/>
              <a:gd name="connsiteY3" fmla="*/ 6518 h 10004"/>
              <a:gd name="connsiteX4" fmla="*/ 7884 w 9990"/>
              <a:gd name="connsiteY4" fmla="*/ 9125 h 10004"/>
              <a:gd name="connsiteX5" fmla="*/ 7148 w 9990"/>
              <a:gd name="connsiteY5" fmla="*/ 9959 h 10004"/>
              <a:gd name="connsiteX6" fmla="*/ 4688 w 9990"/>
              <a:gd name="connsiteY6" fmla="*/ 9720 h 10004"/>
              <a:gd name="connsiteX7" fmla="*/ 3049 w 9990"/>
              <a:gd name="connsiteY7" fmla="*/ 8821 h 10004"/>
              <a:gd name="connsiteX8" fmla="*/ 833 w 9990"/>
              <a:gd name="connsiteY8" fmla="*/ 5128 h 10004"/>
              <a:gd name="connsiteX9" fmla="*/ 314 w 9990"/>
              <a:gd name="connsiteY9" fmla="*/ 3641 h 10004"/>
              <a:gd name="connsiteX10" fmla="*/ 3 w 9990"/>
              <a:gd name="connsiteY10" fmla="*/ 2695 h 10004"/>
              <a:gd name="connsiteX11" fmla="*/ 520 w 9990"/>
              <a:gd name="connsiteY11" fmla="*/ 825 h 10004"/>
              <a:gd name="connsiteX12" fmla="*/ 1834 w 9990"/>
              <a:gd name="connsiteY12" fmla="*/ 970 h 10004"/>
              <a:gd name="connsiteX13" fmla="*/ 2941 w 9990"/>
              <a:gd name="connsiteY13" fmla="*/ 173 h 10004"/>
              <a:gd name="connsiteX14" fmla="*/ 4695 w 9990"/>
              <a:gd name="connsiteY14" fmla="*/ 433 h 10004"/>
              <a:gd name="connsiteX0" fmla="*/ 4744 w 10002"/>
              <a:gd name="connsiteY0" fmla="*/ 452 h 9824"/>
              <a:gd name="connsiteX1" fmla="*/ 7063 w 10002"/>
              <a:gd name="connsiteY1" fmla="*/ 2154 h 9824"/>
              <a:gd name="connsiteX2" fmla="*/ 8698 w 10002"/>
              <a:gd name="connsiteY2" fmla="*/ 4626 h 9824"/>
              <a:gd name="connsiteX3" fmla="*/ 9973 w 10002"/>
              <a:gd name="connsiteY3" fmla="*/ 6515 h 9824"/>
              <a:gd name="connsiteX4" fmla="*/ 7892 w 10002"/>
              <a:gd name="connsiteY4" fmla="*/ 9121 h 9824"/>
              <a:gd name="connsiteX5" fmla="*/ 5974 w 10002"/>
              <a:gd name="connsiteY5" fmla="*/ 9744 h 9824"/>
              <a:gd name="connsiteX6" fmla="*/ 4693 w 10002"/>
              <a:gd name="connsiteY6" fmla="*/ 9716 h 9824"/>
              <a:gd name="connsiteX7" fmla="*/ 3052 w 10002"/>
              <a:gd name="connsiteY7" fmla="*/ 8817 h 9824"/>
              <a:gd name="connsiteX8" fmla="*/ 834 w 10002"/>
              <a:gd name="connsiteY8" fmla="*/ 5126 h 9824"/>
              <a:gd name="connsiteX9" fmla="*/ 314 w 10002"/>
              <a:gd name="connsiteY9" fmla="*/ 3640 h 9824"/>
              <a:gd name="connsiteX10" fmla="*/ 3 w 10002"/>
              <a:gd name="connsiteY10" fmla="*/ 2694 h 9824"/>
              <a:gd name="connsiteX11" fmla="*/ 521 w 10002"/>
              <a:gd name="connsiteY11" fmla="*/ 825 h 9824"/>
              <a:gd name="connsiteX12" fmla="*/ 1836 w 10002"/>
              <a:gd name="connsiteY12" fmla="*/ 970 h 9824"/>
              <a:gd name="connsiteX13" fmla="*/ 2944 w 10002"/>
              <a:gd name="connsiteY13" fmla="*/ 173 h 9824"/>
              <a:gd name="connsiteX14" fmla="*/ 4700 w 10002"/>
              <a:gd name="connsiteY14" fmla="*/ 433 h 9824"/>
              <a:gd name="connsiteX0" fmla="*/ 4743 w 10000"/>
              <a:gd name="connsiteY0" fmla="*/ 472 h 10012"/>
              <a:gd name="connsiteX1" fmla="*/ 7062 w 10000"/>
              <a:gd name="connsiteY1" fmla="*/ 2205 h 10012"/>
              <a:gd name="connsiteX2" fmla="*/ 8696 w 10000"/>
              <a:gd name="connsiteY2" fmla="*/ 4721 h 10012"/>
              <a:gd name="connsiteX3" fmla="*/ 9971 w 10000"/>
              <a:gd name="connsiteY3" fmla="*/ 6644 h 10012"/>
              <a:gd name="connsiteX4" fmla="*/ 7890 w 10000"/>
              <a:gd name="connsiteY4" fmla="*/ 9296 h 10012"/>
              <a:gd name="connsiteX5" fmla="*/ 5973 w 10000"/>
              <a:gd name="connsiteY5" fmla="*/ 9931 h 10012"/>
              <a:gd name="connsiteX6" fmla="*/ 4692 w 10000"/>
              <a:gd name="connsiteY6" fmla="*/ 9902 h 10012"/>
              <a:gd name="connsiteX7" fmla="*/ 3051 w 10000"/>
              <a:gd name="connsiteY7" fmla="*/ 8987 h 10012"/>
              <a:gd name="connsiteX8" fmla="*/ 834 w 10000"/>
              <a:gd name="connsiteY8" fmla="*/ 5230 h 10012"/>
              <a:gd name="connsiteX9" fmla="*/ 314 w 10000"/>
              <a:gd name="connsiteY9" fmla="*/ 3717 h 10012"/>
              <a:gd name="connsiteX10" fmla="*/ 3 w 10000"/>
              <a:gd name="connsiteY10" fmla="*/ 2754 h 10012"/>
              <a:gd name="connsiteX11" fmla="*/ 521 w 10000"/>
              <a:gd name="connsiteY11" fmla="*/ 852 h 10012"/>
              <a:gd name="connsiteX12" fmla="*/ 1836 w 10000"/>
              <a:gd name="connsiteY12" fmla="*/ 999 h 10012"/>
              <a:gd name="connsiteX13" fmla="*/ 3152 w 10000"/>
              <a:gd name="connsiteY13" fmla="*/ 173 h 10012"/>
              <a:gd name="connsiteX14" fmla="*/ 4699 w 10000"/>
              <a:gd name="connsiteY14" fmla="*/ 453 h 10012"/>
              <a:gd name="connsiteX0" fmla="*/ 4748 w 10005"/>
              <a:gd name="connsiteY0" fmla="*/ 472 h 10012"/>
              <a:gd name="connsiteX1" fmla="*/ 7067 w 10005"/>
              <a:gd name="connsiteY1" fmla="*/ 2205 h 10012"/>
              <a:gd name="connsiteX2" fmla="*/ 8701 w 10005"/>
              <a:gd name="connsiteY2" fmla="*/ 4721 h 10012"/>
              <a:gd name="connsiteX3" fmla="*/ 9976 w 10005"/>
              <a:gd name="connsiteY3" fmla="*/ 6644 h 10012"/>
              <a:gd name="connsiteX4" fmla="*/ 7895 w 10005"/>
              <a:gd name="connsiteY4" fmla="*/ 9296 h 10012"/>
              <a:gd name="connsiteX5" fmla="*/ 5978 w 10005"/>
              <a:gd name="connsiteY5" fmla="*/ 9931 h 10012"/>
              <a:gd name="connsiteX6" fmla="*/ 4697 w 10005"/>
              <a:gd name="connsiteY6" fmla="*/ 9902 h 10012"/>
              <a:gd name="connsiteX7" fmla="*/ 3056 w 10005"/>
              <a:gd name="connsiteY7" fmla="*/ 8987 h 10012"/>
              <a:gd name="connsiteX8" fmla="*/ 839 w 10005"/>
              <a:gd name="connsiteY8" fmla="*/ 5230 h 10012"/>
              <a:gd name="connsiteX9" fmla="*/ 319 w 10005"/>
              <a:gd name="connsiteY9" fmla="*/ 3717 h 10012"/>
              <a:gd name="connsiteX10" fmla="*/ 8 w 10005"/>
              <a:gd name="connsiteY10" fmla="*/ 2754 h 10012"/>
              <a:gd name="connsiteX11" fmla="*/ 745 w 10005"/>
              <a:gd name="connsiteY11" fmla="*/ 1583 h 10012"/>
              <a:gd name="connsiteX12" fmla="*/ 1841 w 10005"/>
              <a:gd name="connsiteY12" fmla="*/ 999 h 10012"/>
              <a:gd name="connsiteX13" fmla="*/ 3157 w 10005"/>
              <a:gd name="connsiteY13" fmla="*/ 173 h 10012"/>
              <a:gd name="connsiteX14" fmla="*/ 4704 w 10005"/>
              <a:gd name="connsiteY14" fmla="*/ 453 h 1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5" h="10012">
                <a:moveTo>
                  <a:pt x="4748" y="472"/>
                </a:moveTo>
                <a:cubicBezTo>
                  <a:pt x="5276" y="222"/>
                  <a:pt x="6408" y="1496"/>
                  <a:pt x="7067" y="2205"/>
                </a:cubicBezTo>
                <a:cubicBezTo>
                  <a:pt x="7725" y="2913"/>
                  <a:pt x="7705" y="2817"/>
                  <a:pt x="8701" y="4721"/>
                </a:cubicBezTo>
                <a:cubicBezTo>
                  <a:pt x="9058" y="5413"/>
                  <a:pt x="9843" y="5872"/>
                  <a:pt x="9976" y="6644"/>
                </a:cubicBezTo>
                <a:cubicBezTo>
                  <a:pt x="10251" y="8213"/>
                  <a:pt x="8561" y="8749"/>
                  <a:pt x="7895" y="9296"/>
                </a:cubicBezTo>
                <a:cubicBezTo>
                  <a:pt x="7230" y="9844"/>
                  <a:pt x="6512" y="9830"/>
                  <a:pt x="5978" y="9931"/>
                </a:cubicBezTo>
                <a:cubicBezTo>
                  <a:pt x="5445" y="10031"/>
                  <a:pt x="5184" y="10059"/>
                  <a:pt x="4697" y="9902"/>
                </a:cubicBezTo>
                <a:cubicBezTo>
                  <a:pt x="4210" y="9745"/>
                  <a:pt x="3699" y="9765"/>
                  <a:pt x="3056" y="8987"/>
                </a:cubicBezTo>
                <a:cubicBezTo>
                  <a:pt x="2413" y="8207"/>
                  <a:pt x="1294" y="6108"/>
                  <a:pt x="839" y="5230"/>
                </a:cubicBezTo>
                <a:cubicBezTo>
                  <a:pt x="382" y="4351"/>
                  <a:pt x="331" y="4547"/>
                  <a:pt x="319" y="3717"/>
                </a:cubicBezTo>
                <a:cubicBezTo>
                  <a:pt x="311" y="2886"/>
                  <a:pt x="-63" y="3110"/>
                  <a:pt x="8" y="2754"/>
                </a:cubicBezTo>
                <a:cubicBezTo>
                  <a:pt x="79" y="2398"/>
                  <a:pt x="439" y="1874"/>
                  <a:pt x="745" y="1583"/>
                </a:cubicBezTo>
                <a:cubicBezTo>
                  <a:pt x="1051" y="1291"/>
                  <a:pt x="1439" y="1234"/>
                  <a:pt x="1841" y="999"/>
                </a:cubicBezTo>
                <a:cubicBezTo>
                  <a:pt x="2243" y="764"/>
                  <a:pt x="3075" y="718"/>
                  <a:pt x="3157" y="173"/>
                </a:cubicBezTo>
                <a:cubicBezTo>
                  <a:pt x="3241" y="-416"/>
                  <a:pt x="4181" y="701"/>
                  <a:pt x="4704" y="453"/>
                </a:cubicBezTo>
              </a:path>
            </a:pathLst>
          </a:custGeom>
          <a:solidFill>
            <a:schemeClr val="bg1">
              <a:lumMod val="65000"/>
              <a:alpha val="20000"/>
            </a:schemeClr>
          </a:solidFill>
          <a:ln>
            <a:noFill/>
          </a:ln>
        </p:spPr>
        <p:txBody>
          <a:bodyPr anchor="ctr"/>
          <a:lstStyle/>
          <a:p>
            <a:pPr algn="ctr"/>
            <a:endParaRPr/>
          </a:p>
        </p:txBody>
      </p:sp>
      <p:grpSp>
        <p:nvGrpSpPr>
          <p:cNvPr id="43" name="b67488b9-9081-420b-9299-a187616de81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189D649-F175-428F-AFF6-E98E1FC6C61D}"/>
              </a:ext>
            </a:extLst>
          </p:cNvPr>
          <p:cNvGrpSpPr>
            <a:grpSpLocks noChangeAspect="1"/>
          </p:cNvGrpSpPr>
          <p:nvPr>
            <p:custDataLst>
              <p:tags r:id="rId1"/>
            </p:custDataLst>
          </p:nvPr>
        </p:nvGrpSpPr>
        <p:grpSpPr>
          <a:xfrm>
            <a:off x="6827520" y="1730763"/>
            <a:ext cx="4754748" cy="3910370"/>
            <a:chOff x="3297238" y="1079501"/>
            <a:chExt cx="5694363" cy="4683125"/>
          </a:xfrm>
        </p:grpSpPr>
        <p:sp>
          <p:nvSpPr>
            <p:cNvPr id="45" name="íṣḻíde">
              <a:extLst>
                <a:ext uri="{FF2B5EF4-FFF2-40B4-BE49-F238E27FC236}">
                  <a16:creationId xmlns:a16="http://schemas.microsoft.com/office/drawing/2014/main" id="{6C3B41D2-AFE1-46FA-ACDC-0D0D600C8871}"/>
                </a:ext>
              </a:extLst>
            </p:cNvPr>
            <p:cNvSpPr/>
            <p:nvPr/>
          </p:nvSpPr>
          <p:spPr bwMode="auto">
            <a:xfrm>
              <a:off x="6702425" y="5641976"/>
              <a:ext cx="1139825" cy="112713"/>
            </a:xfrm>
            <a:prstGeom prst="ellipse">
              <a:avLst/>
            </a:prstGeom>
            <a:solidFill>
              <a:srgbClr val="4285F4">
                <a:alpha val="20000"/>
              </a:srgbClr>
            </a:solidFill>
            <a:ln>
              <a:noFill/>
            </a:ln>
          </p:spPr>
          <p:txBody>
            <a:bodyPr anchor="ctr"/>
            <a:lstStyle/>
            <a:p>
              <a:pPr algn="ctr"/>
              <a:endParaRPr/>
            </a:p>
          </p:txBody>
        </p:sp>
        <p:sp>
          <p:nvSpPr>
            <p:cNvPr id="46" name="iSľíḋe">
              <a:extLst>
                <a:ext uri="{FF2B5EF4-FFF2-40B4-BE49-F238E27FC236}">
                  <a16:creationId xmlns:a16="http://schemas.microsoft.com/office/drawing/2014/main" id="{2B6F18C5-A045-424B-B6F2-D685AD79AF7F}"/>
                </a:ext>
              </a:extLst>
            </p:cNvPr>
            <p:cNvSpPr/>
            <p:nvPr/>
          </p:nvSpPr>
          <p:spPr bwMode="auto">
            <a:xfrm>
              <a:off x="3297238" y="1079501"/>
              <a:ext cx="5694363" cy="4337050"/>
            </a:xfrm>
            <a:custGeom>
              <a:avLst/>
              <a:gdLst>
                <a:gd name="T0" fmla="*/ 1761 w 4093"/>
                <a:gd name="T1" fmla="*/ 67 h 3122"/>
                <a:gd name="T2" fmla="*/ 2350 w 4093"/>
                <a:gd name="T3" fmla="*/ 142 h 3122"/>
                <a:gd name="T4" fmla="*/ 3711 w 4093"/>
                <a:gd name="T5" fmla="*/ 1420 h 3122"/>
                <a:gd name="T6" fmla="*/ 3998 w 4093"/>
                <a:gd name="T7" fmla="*/ 2006 h 3122"/>
                <a:gd name="T8" fmla="*/ 3426 w 4093"/>
                <a:gd name="T9" fmla="*/ 3016 h 3122"/>
                <a:gd name="T10" fmla="*/ 2970 w 4093"/>
                <a:gd name="T11" fmla="*/ 3101 h 3122"/>
                <a:gd name="T12" fmla="*/ 2124 w 4093"/>
                <a:gd name="T13" fmla="*/ 3036 h 3122"/>
                <a:gd name="T14" fmla="*/ 1560 w 4093"/>
                <a:gd name="T15" fmla="*/ 2790 h 3122"/>
                <a:gd name="T16" fmla="*/ 273 w 4093"/>
                <a:gd name="T17" fmla="*/ 1710 h 3122"/>
                <a:gd name="T18" fmla="*/ 3 w 4093"/>
                <a:gd name="T19" fmla="*/ 1075 h 3122"/>
                <a:gd name="T20" fmla="*/ 384 w 4093"/>
                <a:gd name="T21" fmla="*/ 589 h 3122"/>
                <a:gd name="T22" fmla="*/ 690 w 4093"/>
                <a:gd name="T23" fmla="*/ 607 h 3122"/>
                <a:gd name="T24" fmla="*/ 1142 w 4093"/>
                <a:gd name="T25" fmla="*/ 647 h 3122"/>
                <a:gd name="T26" fmla="*/ 1523 w 4093"/>
                <a:gd name="T27" fmla="*/ 429 h 3122"/>
                <a:gd name="T28" fmla="*/ 1761 w 4093"/>
                <a:gd name="T29" fmla="*/ 67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93" h="3122">
                  <a:moveTo>
                    <a:pt x="1761" y="67"/>
                  </a:moveTo>
                  <a:cubicBezTo>
                    <a:pt x="1942" y="0"/>
                    <a:pt x="2162" y="57"/>
                    <a:pt x="2350" y="142"/>
                  </a:cubicBezTo>
                  <a:cubicBezTo>
                    <a:pt x="2940" y="406"/>
                    <a:pt x="3369" y="909"/>
                    <a:pt x="3711" y="1420"/>
                  </a:cubicBezTo>
                  <a:cubicBezTo>
                    <a:pt x="3834" y="1606"/>
                    <a:pt x="3952" y="1799"/>
                    <a:pt x="3998" y="2006"/>
                  </a:cubicBezTo>
                  <a:cubicBezTo>
                    <a:pt x="4093" y="2427"/>
                    <a:pt x="3846" y="2863"/>
                    <a:pt x="3426" y="3016"/>
                  </a:cubicBezTo>
                  <a:cubicBezTo>
                    <a:pt x="3284" y="3068"/>
                    <a:pt x="3127" y="3089"/>
                    <a:pt x="2970" y="3101"/>
                  </a:cubicBezTo>
                  <a:cubicBezTo>
                    <a:pt x="2690" y="3122"/>
                    <a:pt x="2401" y="3114"/>
                    <a:pt x="2124" y="3036"/>
                  </a:cubicBezTo>
                  <a:cubicBezTo>
                    <a:pt x="1927" y="2980"/>
                    <a:pt x="1740" y="2889"/>
                    <a:pt x="1560" y="2790"/>
                  </a:cubicBezTo>
                  <a:cubicBezTo>
                    <a:pt x="1060" y="2512"/>
                    <a:pt x="602" y="2151"/>
                    <a:pt x="273" y="1710"/>
                  </a:cubicBezTo>
                  <a:cubicBezTo>
                    <a:pt x="129" y="1516"/>
                    <a:pt x="7" y="1298"/>
                    <a:pt x="3" y="1075"/>
                  </a:cubicBezTo>
                  <a:cubicBezTo>
                    <a:pt x="0" y="852"/>
                    <a:pt x="145" y="627"/>
                    <a:pt x="384" y="589"/>
                  </a:cubicBezTo>
                  <a:cubicBezTo>
                    <a:pt x="483" y="574"/>
                    <a:pt x="588" y="590"/>
                    <a:pt x="690" y="607"/>
                  </a:cubicBezTo>
                  <a:cubicBezTo>
                    <a:pt x="841" y="631"/>
                    <a:pt x="993" y="657"/>
                    <a:pt x="1142" y="647"/>
                  </a:cubicBezTo>
                  <a:cubicBezTo>
                    <a:pt x="1295" y="635"/>
                    <a:pt x="1495" y="575"/>
                    <a:pt x="1523" y="429"/>
                  </a:cubicBezTo>
                  <a:cubicBezTo>
                    <a:pt x="1552" y="271"/>
                    <a:pt x="1581" y="134"/>
                    <a:pt x="1761" y="67"/>
                  </a:cubicBezTo>
                </a:path>
              </a:pathLst>
            </a:custGeom>
            <a:solidFill>
              <a:srgbClr val="4285F4">
                <a:alpha val="20000"/>
              </a:srgbClr>
            </a:solidFill>
            <a:ln>
              <a:noFill/>
            </a:ln>
          </p:spPr>
          <p:txBody>
            <a:bodyPr anchor="ctr"/>
            <a:lstStyle/>
            <a:p>
              <a:pPr algn="ctr"/>
              <a:endParaRPr/>
            </a:p>
          </p:txBody>
        </p:sp>
        <p:sp>
          <p:nvSpPr>
            <p:cNvPr id="47" name="iṩḻíḋê">
              <a:extLst>
                <a:ext uri="{FF2B5EF4-FFF2-40B4-BE49-F238E27FC236}">
                  <a16:creationId xmlns:a16="http://schemas.microsoft.com/office/drawing/2014/main" id="{21A5F988-FDF4-478D-A513-8BE46AC4D057}"/>
                </a:ext>
              </a:extLst>
            </p:cNvPr>
            <p:cNvSpPr/>
            <p:nvPr/>
          </p:nvSpPr>
          <p:spPr bwMode="auto">
            <a:xfrm>
              <a:off x="4654550" y="5360988"/>
              <a:ext cx="273050" cy="236538"/>
            </a:xfrm>
            <a:custGeom>
              <a:avLst/>
              <a:gdLst>
                <a:gd name="T0" fmla="*/ 4 w 197"/>
                <a:gd name="T1" fmla="*/ 12 h 171"/>
                <a:gd name="T2" fmla="*/ 174 w 197"/>
                <a:gd name="T3" fmla="*/ 136 h 171"/>
                <a:gd name="T4" fmla="*/ 157 w 197"/>
                <a:gd name="T5" fmla="*/ 171 h 171"/>
                <a:gd name="T6" fmla="*/ 137 w 197"/>
                <a:gd name="T7" fmla="*/ 164 h 171"/>
                <a:gd name="T8" fmla="*/ 116 w 197"/>
                <a:gd name="T9" fmla="*/ 165 h 171"/>
                <a:gd name="T10" fmla="*/ 91 w 197"/>
                <a:gd name="T11" fmla="*/ 154 h 171"/>
                <a:gd name="T12" fmla="*/ 15 w 197"/>
                <a:gd name="T13" fmla="*/ 43 h 171"/>
                <a:gd name="T14" fmla="*/ 0 w 197"/>
                <a:gd name="T15" fmla="*/ 19 h 171"/>
                <a:gd name="T16" fmla="*/ 33 w 197"/>
                <a:gd name="T17" fmla="*/ 33 h 171"/>
                <a:gd name="T18" fmla="*/ 31 w 197"/>
                <a:gd name="T19" fmla="*/ 76 h 171"/>
                <a:gd name="T20" fmla="*/ 38 w 197"/>
                <a:gd name="T21" fmla="*/ 35 h 171"/>
                <a:gd name="T22" fmla="*/ 55 w 197"/>
                <a:gd name="T23" fmla="*/ 43 h 171"/>
                <a:gd name="T24" fmla="*/ 50 w 197"/>
                <a:gd name="T25" fmla="*/ 113 h 171"/>
                <a:gd name="T26" fmla="*/ 61 w 197"/>
                <a:gd name="T27" fmla="*/ 46 h 171"/>
                <a:gd name="T28" fmla="*/ 84 w 197"/>
                <a:gd name="T29" fmla="*/ 59 h 171"/>
                <a:gd name="T30" fmla="*/ 77 w 197"/>
                <a:gd name="T31" fmla="*/ 136 h 171"/>
                <a:gd name="T32" fmla="*/ 89 w 197"/>
                <a:gd name="T33" fmla="*/ 62 h 171"/>
                <a:gd name="T34" fmla="*/ 109 w 197"/>
                <a:gd name="T35" fmla="*/ 78 h 171"/>
                <a:gd name="T36" fmla="*/ 101 w 197"/>
                <a:gd name="T37" fmla="*/ 149 h 171"/>
                <a:gd name="T38" fmla="*/ 114 w 197"/>
                <a:gd name="T39" fmla="*/ 82 h 171"/>
                <a:gd name="T40" fmla="*/ 135 w 197"/>
                <a:gd name="T41" fmla="*/ 105 h 171"/>
                <a:gd name="T42" fmla="*/ 129 w 197"/>
                <a:gd name="T43" fmla="*/ 151 h 171"/>
                <a:gd name="T44" fmla="*/ 139 w 197"/>
                <a:gd name="T45" fmla="*/ 110 h 171"/>
                <a:gd name="T46" fmla="*/ 159 w 197"/>
                <a:gd name="T47" fmla="*/ 156 h 171"/>
                <a:gd name="T48" fmla="*/ 144 w 197"/>
                <a:gd name="T49" fmla="*/ 107 h 171"/>
                <a:gd name="T50" fmla="*/ 171 w 197"/>
                <a:gd name="T51" fmla="*/ 122 h 171"/>
                <a:gd name="T52" fmla="*/ 139 w 197"/>
                <a:gd name="T53" fmla="*/ 101 h 171"/>
                <a:gd name="T54" fmla="*/ 120 w 197"/>
                <a:gd name="T55" fmla="*/ 79 h 171"/>
                <a:gd name="T56" fmla="*/ 167 w 197"/>
                <a:gd name="T57" fmla="*/ 84 h 171"/>
                <a:gd name="T58" fmla="*/ 115 w 197"/>
                <a:gd name="T59" fmla="*/ 74 h 171"/>
                <a:gd name="T60" fmla="*/ 94 w 197"/>
                <a:gd name="T61" fmla="*/ 58 h 171"/>
                <a:gd name="T62" fmla="*/ 149 w 197"/>
                <a:gd name="T63" fmla="*/ 58 h 171"/>
                <a:gd name="T64" fmla="*/ 89 w 197"/>
                <a:gd name="T65" fmla="*/ 54 h 171"/>
                <a:gd name="T66" fmla="*/ 67 w 197"/>
                <a:gd name="T67" fmla="*/ 40 h 171"/>
                <a:gd name="T68" fmla="*/ 119 w 197"/>
                <a:gd name="T69" fmla="*/ 36 h 171"/>
                <a:gd name="T70" fmla="*/ 60 w 197"/>
                <a:gd name="T71" fmla="*/ 37 h 171"/>
                <a:gd name="T72" fmla="*/ 44 w 197"/>
                <a:gd name="T73" fmla="*/ 30 h 171"/>
                <a:gd name="T74" fmla="*/ 75 w 197"/>
                <a:gd name="T75" fmla="*/ 24 h 171"/>
                <a:gd name="T76" fmla="*/ 82 w 197"/>
                <a:gd name="T77" fmla="*/ 22 h 171"/>
                <a:gd name="T78" fmla="*/ 37 w 197"/>
                <a:gd name="T79" fmla="*/ 27 h 171"/>
                <a:gd name="T80" fmla="*/ 4 w 197"/>
                <a:gd name="T81"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7" h="171">
                  <a:moveTo>
                    <a:pt x="4" y="12"/>
                  </a:moveTo>
                  <a:cubicBezTo>
                    <a:pt x="4" y="12"/>
                    <a:pt x="197" y="0"/>
                    <a:pt x="174" y="136"/>
                  </a:cubicBezTo>
                  <a:cubicBezTo>
                    <a:pt x="174" y="136"/>
                    <a:pt x="179" y="160"/>
                    <a:pt x="157" y="171"/>
                  </a:cubicBezTo>
                  <a:cubicBezTo>
                    <a:pt x="157" y="171"/>
                    <a:pt x="157" y="160"/>
                    <a:pt x="137" y="164"/>
                  </a:cubicBezTo>
                  <a:cubicBezTo>
                    <a:pt x="130" y="165"/>
                    <a:pt x="123" y="165"/>
                    <a:pt x="116" y="165"/>
                  </a:cubicBezTo>
                  <a:cubicBezTo>
                    <a:pt x="107" y="164"/>
                    <a:pt x="98" y="161"/>
                    <a:pt x="91" y="154"/>
                  </a:cubicBezTo>
                  <a:cubicBezTo>
                    <a:pt x="91" y="154"/>
                    <a:pt x="37" y="132"/>
                    <a:pt x="15" y="43"/>
                  </a:cubicBezTo>
                  <a:cubicBezTo>
                    <a:pt x="15" y="43"/>
                    <a:pt x="0" y="24"/>
                    <a:pt x="0" y="19"/>
                  </a:cubicBezTo>
                  <a:cubicBezTo>
                    <a:pt x="33" y="33"/>
                    <a:pt x="33" y="33"/>
                    <a:pt x="33" y="33"/>
                  </a:cubicBezTo>
                  <a:cubicBezTo>
                    <a:pt x="33" y="33"/>
                    <a:pt x="22" y="56"/>
                    <a:pt x="31" y="76"/>
                  </a:cubicBezTo>
                  <a:cubicBezTo>
                    <a:pt x="31" y="76"/>
                    <a:pt x="32" y="34"/>
                    <a:pt x="38" y="35"/>
                  </a:cubicBezTo>
                  <a:cubicBezTo>
                    <a:pt x="39" y="35"/>
                    <a:pt x="55" y="43"/>
                    <a:pt x="55" y="43"/>
                  </a:cubicBezTo>
                  <a:cubicBezTo>
                    <a:pt x="55" y="43"/>
                    <a:pt x="36" y="84"/>
                    <a:pt x="50" y="113"/>
                  </a:cubicBezTo>
                  <a:cubicBezTo>
                    <a:pt x="50" y="113"/>
                    <a:pt x="45" y="63"/>
                    <a:pt x="61" y="46"/>
                  </a:cubicBezTo>
                  <a:cubicBezTo>
                    <a:pt x="84" y="59"/>
                    <a:pt x="84" y="59"/>
                    <a:pt x="84" y="59"/>
                  </a:cubicBezTo>
                  <a:cubicBezTo>
                    <a:pt x="84" y="59"/>
                    <a:pt x="61" y="101"/>
                    <a:pt x="77" y="136"/>
                  </a:cubicBezTo>
                  <a:cubicBezTo>
                    <a:pt x="77" y="136"/>
                    <a:pt x="73" y="83"/>
                    <a:pt x="89" y="62"/>
                  </a:cubicBezTo>
                  <a:cubicBezTo>
                    <a:pt x="109" y="78"/>
                    <a:pt x="109" y="78"/>
                    <a:pt x="109" y="78"/>
                  </a:cubicBezTo>
                  <a:cubicBezTo>
                    <a:pt x="109" y="78"/>
                    <a:pt x="88" y="120"/>
                    <a:pt x="101" y="149"/>
                  </a:cubicBezTo>
                  <a:cubicBezTo>
                    <a:pt x="101" y="149"/>
                    <a:pt x="103" y="87"/>
                    <a:pt x="114" y="82"/>
                  </a:cubicBezTo>
                  <a:cubicBezTo>
                    <a:pt x="114" y="82"/>
                    <a:pt x="132" y="98"/>
                    <a:pt x="135" y="105"/>
                  </a:cubicBezTo>
                  <a:cubicBezTo>
                    <a:pt x="135" y="105"/>
                    <a:pt x="120" y="135"/>
                    <a:pt x="129" y="151"/>
                  </a:cubicBezTo>
                  <a:cubicBezTo>
                    <a:pt x="129" y="151"/>
                    <a:pt x="135" y="110"/>
                    <a:pt x="139" y="110"/>
                  </a:cubicBezTo>
                  <a:cubicBezTo>
                    <a:pt x="139" y="110"/>
                    <a:pt x="157" y="137"/>
                    <a:pt x="159" y="156"/>
                  </a:cubicBezTo>
                  <a:cubicBezTo>
                    <a:pt x="159" y="156"/>
                    <a:pt x="159" y="128"/>
                    <a:pt x="144" y="107"/>
                  </a:cubicBezTo>
                  <a:cubicBezTo>
                    <a:pt x="144" y="107"/>
                    <a:pt x="161" y="110"/>
                    <a:pt x="171" y="122"/>
                  </a:cubicBezTo>
                  <a:cubicBezTo>
                    <a:pt x="171" y="122"/>
                    <a:pt x="169" y="102"/>
                    <a:pt x="139" y="101"/>
                  </a:cubicBezTo>
                  <a:cubicBezTo>
                    <a:pt x="139" y="101"/>
                    <a:pt x="124" y="80"/>
                    <a:pt x="120" y="79"/>
                  </a:cubicBezTo>
                  <a:cubicBezTo>
                    <a:pt x="120" y="79"/>
                    <a:pt x="150" y="76"/>
                    <a:pt x="167" y="84"/>
                  </a:cubicBezTo>
                  <a:cubicBezTo>
                    <a:pt x="167" y="84"/>
                    <a:pt x="152" y="66"/>
                    <a:pt x="115" y="74"/>
                  </a:cubicBezTo>
                  <a:cubicBezTo>
                    <a:pt x="94" y="58"/>
                    <a:pt x="94" y="58"/>
                    <a:pt x="94" y="58"/>
                  </a:cubicBezTo>
                  <a:cubicBezTo>
                    <a:pt x="94" y="58"/>
                    <a:pt x="133" y="52"/>
                    <a:pt x="149" y="58"/>
                  </a:cubicBezTo>
                  <a:cubicBezTo>
                    <a:pt x="149" y="58"/>
                    <a:pt x="130" y="42"/>
                    <a:pt x="89" y="54"/>
                  </a:cubicBezTo>
                  <a:cubicBezTo>
                    <a:pt x="67" y="40"/>
                    <a:pt x="67" y="40"/>
                    <a:pt x="67" y="40"/>
                  </a:cubicBezTo>
                  <a:cubicBezTo>
                    <a:pt x="67" y="40"/>
                    <a:pt x="99" y="33"/>
                    <a:pt x="119" y="36"/>
                  </a:cubicBezTo>
                  <a:cubicBezTo>
                    <a:pt x="119" y="36"/>
                    <a:pt x="98" y="25"/>
                    <a:pt x="60" y="37"/>
                  </a:cubicBezTo>
                  <a:cubicBezTo>
                    <a:pt x="44" y="30"/>
                    <a:pt x="44" y="30"/>
                    <a:pt x="44" y="30"/>
                  </a:cubicBezTo>
                  <a:cubicBezTo>
                    <a:pt x="44" y="30"/>
                    <a:pt x="68" y="25"/>
                    <a:pt x="75" y="24"/>
                  </a:cubicBezTo>
                  <a:cubicBezTo>
                    <a:pt x="82" y="23"/>
                    <a:pt x="82" y="22"/>
                    <a:pt x="82" y="22"/>
                  </a:cubicBezTo>
                  <a:cubicBezTo>
                    <a:pt x="67" y="19"/>
                    <a:pt x="52" y="21"/>
                    <a:pt x="37" y="27"/>
                  </a:cubicBezTo>
                  <a:cubicBezTo>
                    <a:pt x="37" y="27"/>
                    <a:pt x="3" y="14"/>
                    <a:pt x="4" y="12"/>
                  </a:cubicBezTo>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îṥlïḓê">
              <a:extLst>
                <a:ext uri="{FF2B5EF4-FFF2-40B4-BE49-F238E27FC236}">
                  <a16:creationId xmlns:a16="http://schemas.microsoft.com/office/drawing/2014/main" id="{56F4F3A9-0D6F-4B7B-80E4-B5D79CE4B811}"/>
                </a:ext>
              </a:extLst>
            </p:cNvPr>
            <p:cNvSpPr/>
            <p:nvPr/>
          </p:nvSpPr>
          <p:spPr bwMode="auto">
            <a:xfrm>
              <a:off x="4654550" y="5583238"/>
              <a:ext cx="381000" cy="61913"/>
            </a:xfrm>
            <a:custGeom>
              <a:avLst/>
              <a:gdLst>
                <a:gd name="T0" fmla="*/ 169 w 274"/>
                <a:gd name="T1" fmla="*/ 0 h 45"/>
                <a:gd name="T2" fmla="*/ 157 w 274"/>
                <a:gd name="T3" fmla="*/ 11 h 45"/>
                <a:gd name="T4" fmla="*/ 145 w 274"/>
                <a:gd name="T5" fmla="*/ 3 h 45"/>
                <a:gd name="T6" fmla="*/ 137 w 274"/>
                <a:gd name="T7" fmla="*/ 4 h 45"/>
                <a:gd name="T8" fmla="*/ 123 w 274"/>
                <a:gd name="T9" fmla="*/ 5 h 45"/>
                <a:gd name="T10" fmla="*/ 116 w 274"/>
                <a:gd name="T11" fmla="*/ 5 h 45"/>
                <a:gd name="T12" fmla="*/ 99 w 274"/>
                <a:gd name="T13" fmla="*/ 0 h 45"/>
                <a:gd name="T14" fmla="*/ 0 w 274"/>
                <a:gd name="T15" fmla="*/ 22 h 45"/>
                <a:gd name="T16" fmla="*/ 137 w 274"/>
                <a:gd name="T17" fmla="*/ 45 h 45"/>
                <a:gd name="T18" fmla="*/ 274 w 274"/>
                <a:gd name="T19" fmla="*/ 22 h 45"/>
                <a:gd name="T20" fmla="*/ 169 w 274"/>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 h="45">
                  <a:moveTo>
                    <a:pt x="169" y="0"/>
                  </a:moveTo>
                  <a:cubicBezTo>
                    <a:pt x="167" y="4"/>
                    <a:pt x="163" y="8"/>
                    <a:pt x="157" y="11"/>
                  </a:cubicBezTo>
                  <a:cubicBezTo>
                    <a:pt x="157" y="11"/>
                    <a:pt x="157" y="3"/>
                    <a:pt x="145" y="3"/>
                  </a:cubicBezTo>
                  <a:cubicBezTo>
                    <a:pt x="143" y="3"/>
                    <a:pt x="140" y="3"/>
                    <a:pt x="137" y="4"/>
                  </a:cubicBezTo>
                  <a:cubicBezTo>
                    <a:pt x="133" y="5"/>
                    <a:pt x="128" y="5"/>
                    <a:pt x="123" y="5"/>
                  </a:cubicBezTo>
                  <a:cubicBezTo>
                    <a:pt x="121" y="5"/>
                    <a:pt x="119" y="5"/>
                    <a:pt x="116" y="5"/>
                  </a:cubicBezTo>
                  <a:cubicBezTo>
                    <a:pt x="110" y="5"/>
                    <a:pt x="105" y="3"/>
                    <a:pt x="99" y="0"/>
                  </a:cubicBezTo>
                  <a:cubicBezTo>
                    <a:pt x="42" y="3"/>
                    <a:pt x="0" y="12"/>
                    <a:pt x="0" y="22"/>
                  </a:cubicBezTo>
                  <a:cubicBezTo>
                    <a:pt x="0" y="35"/>
                    <a:pt x="62" y="45"/>
                    <a:pt x="137" y="45"/>
                  </a:cubicBezTo>
                  <a:cubicBezTo>
                    <a:pt x="213" y="45"/>
                    <a:pt x="274" y="35"/>
                    <a:pt x="274" y="22"/>
                  </a:cubicBezTo>
                  <a:cubicBezTo>
                    <a:pt x="274" y="11"/>
                    <a:pt x="229" y="2"/>
                    <a:pt x="169" y="0"/>
                  </a:cubicBezTo>
                </a:path>
              </a:pathLst>
            </a:custGeom>
            <a:solidFill>
              <a:srgbClr val="ECF3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Sḻïďè">
              <a:extLst>
                <a:ext uri="{FF2B5EF4-FFF2-40B4-BE49-F238E27FC236}">
                  <a16:creationId xmlns:a16="http://schemas.microsoft.com/office/drawing/2014/main" id="{2F7C4660-FD99-420B-9CAF-E6F49A9AD558}"/>
                </a:ext>
              </a:extLst>
            </p:cNvPr>
            <p:cNvSpPr/>
            <p:nvPr/>
          </p:nvSpPr>
          <p:spPr bwMode="auto">
            <a:xfrm>
              <a:off x="4791075" y="5581651"/>
              <a:ext cx="98425" cy="15875"/>
            </a:xfrm>
            <a:custGeom>
              <a:avLst/>
              <a:gdLst>
                <a:gd name="T0" fmla="*/ 38 w 70"/>
                <a:gd name="T1" fmla="*/ 0 h 12"/>
                <a:gd name="T2" fmla="*/ 0 w 70"/>
                <a:gd name="T3" fmla="*/ 1 h 12"/>
                <a:gd name="T4" fmla="*/ 17 w 70"/>
                <a:gd name="T5" fmla="*/ 6 h 12"/>
                <a:gd name="T6" fmla="*/ 24 w 70"/>
                <a:gd name="T7" fmla="*/ 6 h 12"/>
                <a:gd name="T8" fmla="*/ 38 w 70"/>
                <a:gd name="T9" fmla="*/ 5 h 12"/>
                <a:gd name="T10" fmla="*/ 46 w 70"/>
                <a:gd name="T11" fmla="*/ 4 h 12"/>
                <a:gd name="T12" fmla="*/ 58 w 70"/>
                <a:gd name="T13" fmla="*/ 12 h 12"/>
                <a:gd name="T14" fmla="*/ 70 w 70"/>
                <a:gd name="T15" fmla="*/ 1 h 12"/>
                <a:gd name="T16" fmla="*/ 38 w 7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
                  <a:moveTo>
                    <a:pt x="38" y="0"/>
                  </a:moveTo>
                  <a:cubicBezTo>
                    <a:pt x="25" y="0"/>
                    <a:pt x="12" y="1"/>
                    <a:pt x="0" y="1"/>
                  </a:cubicBezTo>
                  <a:cubicBezTo>
                    <a:pt x="6" y="4"/>
                    <a:pt x="11" y="6"/>
                    <a:pt x="17" y="6"/>
                  </a:cubicBezTo>
                  <a:cubicBezTo>
                    <a:pt x="20" y="6"/>
                    <a:pt x="22" y="6"/>
                    <a:pt x="24" y="6"/>
                  </a:cubicBezTo>
                  <a:cubicBezTo>
                    <a:pt x="29" y="6"/>
                    <a:pt x="34" y="6"/>
                    <a:pt x="38" y="5"/>
                  </a:cubicBezTo>
                  <a:cubicBezTo>
                    <a:pt x="41" y="4"/>
                    <a:pt x="44" y="4"/>
                    <a:pt x="46" y="4"/>
                  </a:cubicBezTo>
                  <a:cubicBezTo>
                    <a:pt x="58" y="4"/>
                    <a:pt x="58" y="12"/>
                    <a:pt x="58" y="12"/>
                  </a:cubicBezTo>
                  <a:cubicBezTo>
                    <a:pt x="64" y="9"/>
                    <a:pt x="68" y="5"/>
                    <a:pt x="70" y="1"/>
                  </a:cubicBezTo>
                  <a:cubicBezTo>
                    <a:pt x="60" y="0"/>
                    <a:pt x="49" y="0"/>
                    <a:pt x="38" y="0"/>
                  </a:cubicBezTo>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šḻïdé">
              <a:extLst>
                <a:ext uri="{FF2B5EF4-FFF2-40B4-BE49-F238E27FC236}">
                  <a16:creationId xmlns:a16="http://schemas.microsoft.com/office/drawing/2014/main" id="{F4594F74-7C99-41C7-B416-15558E529E36}"/>
                </a:ext>
              </a:extLst>
            </p:cNvPr>
            <p:cNvSpPr/>
            <p:nvPr/>
          </p:nvSpPr>
          <p:spPr bwMode="auto">
            <a:xfrm>
              <a:off x="4297363" y="5241926"/>
              <a:ext cx="153988" cy="131763"/>
            </a:xfrm>
            <a:custGeom>
              <a:avLst/>
              <a:gdLst>
                <a:gd name="T0" fmla="*/ 2 w 111"/>
                <a:gd name="T1" fmla="*/ 6 h 95"/>
                <a:gd name="T2" fmla="*/ 98 w 111"/>
                <a:gd name="T3" fmla="*/ 76 h 95"/>
                <a:gd name="T4" fmla="*/ 89 w 111"/>
                <a:gd name="T5" fmla="*/ 95 h 95"/>
                <a:gd name="T6" fmla="*/ 78 w 111"/>
                <a:gd name="T7" fmla="*/ 92 h 95"/>
                <a:gd name="T8" fmla="*/ 66 w 111"/>
                <a:gd name="T9" fmla="*/ 92 h 95"/>
                <a:gd name="T10" fmla="*/ 51 w 111"/>
                <a:gd name="T11" fmla="*/ 86 h 95"/>
                <a:gd name="T12" fmla="*/ 9 w 111"/>
                <a:gd name="T13" fmla="*/ 24 h 95"/>
                <a:gd name="T14" fmla="*/ 0 w 111"/>
                <a:gd name="T15" fmla="*/ 10 h 95"/>
                <a:gd name="T16" fmla="*/ 19 w 111"/>
                <a:gd name="T17" fmla="*/ 18 h 95"/>
                <a:gd name="T18" fmla="*/ 17 w 111"/>
                <a:gd name="T19" fmla="*/ 42 h 95"/>
                <a:gd name="T20" fmla="*/ 21 w 111"/>
                <a:gd name="T21" fmla="*/ 19 h 95"/>
                <a:gd name="T22" fmla="*/ 31 w 111"/>
                <a:gd name="T23" fmla="*/ 24 h 95"/>
                <a:gd name="T24" fmla="*/ 28 w 111"/>
                <a:gd name="T25" fmla="*/ 64 h 95"/>
                <a:gd name="T26" fmla="*/ 34 w 111"/>
                <a:gd name="T27" fmla="*/ 25 h 95"/>
                <a:gd name="T28" fmla="*/ 47 w 111"/>
                <a:gd name="T29" fmla="*/ 33 h 95"/>
                <a:gd name="T30" fmla="*/ 43 w 111"/>
                <a:gd name="T31" fmla="*/ 76 h 95"/>
                <a:gd name="T32" fmla="*/ 50 w 111"/>
                <a:gd name="T33" fmla="*/ 35 h 95"/>
                <a:gd name="T34" fmla="*/ 62 w 111"/>
                <a:gd name="T35" fmla="*/ 44 h 95"/>
                <a:gd name="T36" fmla="*/ 57 w 111"/>
                <a:gd name="T37" fmla="*/ 84 h 95"/>
                <a:gd name="T38" fmla="*/ 64 w 111"/>
                <a:gd name="T39" fmla="*/ 46 h 95"/>
                <a:gd name="T40" fmla="*/ 76 w 111"/>
                <a:gd name="T41" fmla="*/ 59 h 95"/>
                <a:gd name="T42" fmla="*/ 73 w 111"/>
                <a:gd name="T43" fmla="*/ 85 h 95"/>
                <a:gd name="T44" fmla="*/ 79 w 111"/>
                <a:gd name="T45" fmla="*/ 62 h 95"/>
                <a:gd name="T46" fmla="*/ 90 w 111"/>
                <a:gd name="T47" fmla="*/ 88 h 95"/>
                <a:gd name="T48" fmla="*/ 81 w 111"/>
                <a:gd name="T49" fmla="*/ 60 h 95"/>
                <a:gd name="T50" fmla="*/ 97 w 111"/>
                <a:gd name="T51" fmla="*/ 68 h 95"/>
                <a:gd name="T52" fmla="*/ 79 w 111"/>
                <a:gd name="T53" fmla="*/ 56 h 95"/>
                <a:gd name="T54" fmla="*/ 68 w 111"/>
                <a:gd name="T55" fmla="*/ 44 h 95"/>
                <a:gd name="T56" fmla="*/ 94 w 111"/>
                <a:gd name="T57" fmla="*/ 47 h 95"/>
                <a:gd name="T58" fmla="*/ 65 w 111"/>
                <a:gd name="T59" fmla="*/ 42 h 95"/>
                <a:gd name="T60" fmla="*/ 53 w 111"/>
                <a:gd name="T61" fmla="*/ 32 h 95"/>
                <a:gd name="T62" fmla="*/ 84 w 111"/>
                <a:gd name="T63" fmla="*/ 32 h 95"/>
                <a:gd name="T64" fmla="*/ 50 w 111"/>
                <a:gd name="T65" fmla="*/ 30 h 95"/>
                <a:gd name="T66" fmla="*/ 38 w 111"/>
                <a:gd name="T67" fmla="*/ 22 h 95"/>
                <a:gd name="T68" fmla="*/ 67 w 111"/>
                <a:gd name="T69" fmla="*/ 20 h 95"/>
                <a:gd name="T70" fmla="*/ 34 w 111"/>
                <a:gd name="T71" fmla="*/ 20 h 95"/>
                <a:gd name="T72" fmla="*/ 25 w 111"/>
                <a:gd name="T73" fmla="*/ 16 h 95"/>
                <a:gd name="T74" fmla="*/ 42 w 111"/>
                <a:gd name="T75" fmla="*/ 13 h 95"/>
                <a:gd name="T76" fmla="*/ 47 w 111"/>
                <a:gd name="T77" fmla="*/ 12 h 95"/>
                <a:gd name="T78" fmla="*/ 21 w 111"/>
                <a:gd name="T79" fmla="*/ 15 h 95"/>
                <a:gd name="T80" fmla="*/ 2 w 111"/>
                <a:gd name="T81" fmla="*/ 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95">
                  <a:moveTo>
                    <a:pt x="2" y="6"/>
                  </a:moveTo>
                  <a:cubicBezTo>
                    <a:pt x="2" y="6"/>
                    <a:pt x="111" y="0"/>
                    <a:pt x="98" y="76"/>
                  </a:cubicBezTo>
                  <a:cubicBezTo>
                    <a:pt x="100" y="84"/>
                    <a:pt x="96" y="92"/>
                    <a:pt x="89" y="95"/>
                  </a:cubicBezTo>
                  <a:cubicBezTo>
                    <a:pt x="89" y="95"/>
                    <a:pt x="89" y="90"/>
                    <a:pt x="78" y="92"/>
                  </a:cubicBezTo>
                  <a:cubicBezTo>
                    <a:pt x="74" y="92"/>
                    <a:pt x="70" y="93"/>
                    <a:pt x="66" y="92"/>
                  </a:cubicBezTo>
                  <a:cubicBezTo>
                    <a:pt x="61" y="92"/>
                    <a:pt x="55" y="90"/>
                    <a:pt x="51" y="86"/>
                  </a:cubicBezTo>
                  <a:cubicBezTo>
                    <a:pt x="51" y="86"/>
                    <a:pt x="21" y="74"/>
                    <a:pt x="9" y="24"/>
                  </a:cubicBezTo>
                  <a:cubicBezTo>
                    <a:pt x="9" y="24"/>
                    <a:pt x="0" y="13"/>
                    <a:pt x="0" y="10"/>
                  </a:cubicBezTo>
                  <a:cubicBezTo>
                    <a:pt x="19" y="18"/>
                    <a:pt x="19" y="18"/>
                    <a:pt x="19" y="18"/>
                  </a:cubicBezTo>
                  <a:cubicBezTo>
                    <a:pt x="19" y="18"/>
                    <a:pt x="12" y="31"/>
                    <a:pt x="17" y="42"/>
                  </a:cubicBezTo>
                  <a:cubicBezTo>
                    <a:pt x="17" y="42"/>
                    <a:pt x="18" y="18"/>
                    <a:pt x="21" y="19"/>
                  </a:cubicBezTo>
                  <a:cubicBezTo>
                    <a:pt x="22" y="19"/>
                    <a:pt x="31" y="24"/>
                    <a:pt x="31" y="24"/>
                  </a:cubicBezTo>
                  <a:cubicBezTo>
                    <a:pt x="31" y="24"/>
                    <a:pt x="20" y="47"/>
                    <a:pt x="28" y="64"/>
                  </a:cubicBezTo>
                  <a:cubicBezTo>
                    <a:pt x="28" y="64"/>
                    <a:pt x="25" y="35"/>
                    <a:pt x="34" y="25"/>
                  </a:cubicBezTo>
                  <a:cubicBezTo>
                    <a:pt x="47" y="33"/>
                    <a:pt x="47" y="33"/>
                    <a:pt x="47" y="33"/>
                  </a:cubicBezTo>
                  <a:cubicBezTo>
                    <a:pt x="47" y="33"/>
                    <a:pt x="35" y="57"/>
                    <a:pt x="43" y="76"/>
                  </a:cubicBezTo>
                  <a:cubicBezTo>
                    <a:pt x="43" y="76"/>
                    <a:pt x="41" y="46"/>
                    <a:pt x="50" y="35"/>
                  </a:cubicBezTo>
                  <a:cubicBezTo>
                    <a:pt x="62" y="44"/>
                    <a:pt x="62" y="44"/>
                    <a:pt x="62" y="44"/>
                  </a:cubicBezTo>
                  <a:cubicBezTo>
                    <a:pt x="62" y="44"/>
                    <a:pt x="50" y="67"/>
                    <a:pt x="57" y="84"/>
                  </a:cubicBezTo>
                  <a:cubicBezTo>
                    <a:pt x="57" y="84"/>
                    <a:pt x="58" y="49"/>
                    <a:pt x="64" y="46"/>
                  </a:cubicBezTo>
                  <a:cubicBezTo>
                    <a:pt x="64" y="46"/>
                    <a:pt x="75" y="55"/>
                    <a:pt x="76" y="59"/>
                  </a:cubicBezTo>
                  <a:cubicBezTo>
                    <a:pt x="76" y="59"/>
                    <a:pt x="68" y="76"/>
                    <a:pt x="73" y="85"/>
                  </a:cubicBezTo>
                  <a:cubicBezTo>
                    <a:pt x="73" y="85"/>
                    <a:pt x="76" y="62"/>
                    <a:pt x="79" y="62"/>
                  </a:cubicBezTo>
                  <a:cubicBezTo>
                    <a:pt x="79" y="62"/>
                    <a:pt x="89" y="77"/>
                    <a:pt x="90" y="88"/>
                  </a:cubicBezTo>
                  <a:cubicBezTo>
                    <a:pt x="89" y="78"/>
                    <a:pt x="86" y="68"/>
                    <a:pt x="81" y="60"/>
                  </a:cubicBezTo>
                  <a:cubicBezTo>
                    <a:pt x="87" y="61"/>
                    <a:pt x="92" y="64"/>
                    <a:pt x="97" y="68"/>
                  </a:cubicBezTo>
                  <a:cubicBezTo>
                    <a:pt x="97" y="68"/>
                    <a:pt x="95" y="57"/>
                    <a:pt x="79" y="56"/>
                  </a:cubicBezTo>
                  <a:cubicBezTo>
                    <a:pt x="79" y="56"/>
                    <a:pt x="70" y="45"/>
                    <a:pt x="68" y="44"/>
                  </a:cubicBezTo>
                  <a:cubicBezTo>
                    <a:pt x="68" y="44"/>
                    <a:pt x="84" y="43"/>
                    <a:pt x="94" y="47"/>
                  </a:cubicBezTo>
                  <a:cubicBezTo>
                    <a:pt x="94" y="47"/>
                    <a:pt x="86" y="37"/>
                    <a:pt x="65" y="42"/>
                  </a:cubicBezTo>
                  <a:cubicBezTo>
                    <a:pt x="53" y="32"/>
                    <a:pt x="53" y="32"/>
                    <a:pt x="53" y="32"/>
                  </a:cubicBezTo>
                  <a:cubicBezTo>
                    <a:pt x="53" y="32"/>
                    <a:pt x="75" y="29"/>
                    <a:pt x="84" y="32"/>
                  </a:cubicBezTo>
                  <a:cubicBezTo>
                    <a:pt x="84" y="32"/>
                    <a:pt x="74" y="23"/>
                    <a:pt x="50" y="30"/>
                  </a:cubicBezTo>
                  <a:cubicBezTo>
                    <a:pt x="38" y="22"/>
                    <a:pt x="38" y="22"/>
                    <a:pt x="38" y="22"/>
                  </a:cubicBezTo>
                  <a:cubicBezTo>
                    <a:pt x="47" y="20"/>
                    <a:pt x="57" y="19"/>
                    <a:pt x="67" y="20"/>
                  </a:cubicBezTo>
                  <a:cubicBezTo>
                    <a:pt x="67" y="20"/>
                    <a:pt x="55" y="14"/>
                    <a:pt x="34" y="20"/>
                  </a:cubicBezTo>
                  <a:cubicBezTo>
                    <a:pt x="25" y="16"/>
                    <a:pt x="25" y="16"/>
                    <a:pt x="25" y="16"/>
                  </a:cubicBezTo>
                  <a:cubicBezTo>
                    <a:pt x="25" y="16"/>
                    <a:pt x="38" y="14"/>
                    <a:pt x="42" y="13"/>
                  </a:cubicBezTo>
                  <a:cubicBezTo>
                    <a:pt x="46" y="13"/>
                    <a:pt x="47" y="12"/>
                    <a:pt x="47" y="12"/>
                  </a:cubicBezTo>
                  <a:cubicBezTo>
                    <a:pt x="38" y="10"/>
                    <a:pt x="29" y="11"/>
                    <a:pt x="21" y="15"/>
                  </a:cubicBezTo>
                  <a:cubicBezTo>
                    <a:pt x="21" y="15"/>
                    <a:pt x="2" y="7"/>
                    <a:pt x="2" y="6"/>
                  </a:cubicBezTo>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íSļîḍê">
              <a:extLst>
                <a:ext uri="{FF2B5EF4-FFF2-40B4-BE49-F238E27FC236}">
                  <a16:creationId xmlns:a16="http://schemas.microsoft.com/office/drawing/2014/main" id="{58141FE2-41FC-4FE8-A2BE-D042E81599EA}"/>
                </a:ext>
              </a:extLst>
            </p:cNvPr>
            <p:cNvSpPr/>
            <p:nvPr/>
          </p:nvSpPr>
          <p:spPr bwMode="auto">
            <a:xfrm>
              <a:off x="4297363" y="5365751"/>
              <a:ext cx="212725" cy="36513"/>
            </a:xfrm>
            <a:custGeom>
              <a:avLst/>
              <a:gdLst>
                <a:gd name="T0" fmla="*/ 96 w 154"/>
                <a:gd name="T1" fmla="*/ 0 h 26"/>
                <a:gd name="T2" fmla="*/ 89 w 154"/>
                <a:gd name="T3" fmla="*/ 6 h 26"/>
                <a:gd name="T4" fmla="*/ 82 w 154"/>
                <a:gd name="T5" fmla="*/ 2 h 26"/>
                <a:gd name="T6" fmla="*/ 78 w 154"/>
                <a:gd name="T7" fmla="*/ 3 h 26"/>
                <a:gd name="T8" fmla="*/ 70 w 154"/>
                <a:gd name="T9" fmla="*/ 3 h 26"/>
                <a:gd name="T10" fmla="*/ 66 w 154"/>
                <a:gd name="T11" fmla="*/ 3 h 26"/>
                <a:gd name="T12" fmla="*/ 56 w 154"/>
                <a:gd name="T13" fmla="*/ 1 h 26"/>
                <a:gd name="T14" fmla="*/ 0 w 154"/>
                <a:gd name="T15" fmla="*/ 13 h 26"/>
                <a:gd name="T16" fmla="*/ 77 w 154"/>
                <a:gd name="T17" fmla="*/ 26 h 26"/>
                <a:gd name="T18" fmla="*/ 154 w 154"/>
                <a:gd name="T19" fmla="*/ 13 h 26"/>
                <a:gd name="T20" fmla="*/ 96 w 154"/>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6">
                  <a:moveTo>
                    <a:pt x="96" y="0"/>
                  </a:moveTo>
                  <a:cubicBezTo>
                    <a:pt x="94" y="3"/>
                    <a:pt x="92" y="5"/>
                    <a:pt x="89" y="6"/>
                  </a:cubicBezTo>
                  <a:cubicBezTo>
                    <a:pt x="89" y="6"/>
                    <a:pt x="89" y="2"/>
                    <a:pt x="82" y="2"/>
                  </a:cubicBezTo>
                  <a:cubicBezTo>
                    <a:pt x="81" y="2"/>
                    <a:pt x="79" y="2"/>
                    <a:pt x="78" y="3"/>
                  </a:cubicBezTo>
                  <a:cubicBezTo>
                    <a:pt x="75" y="3"/>
                    <a:pt x="72" y="3"/>
                    <a:pt x="70" y="3"/>
                  </a:cubicBezTo>
                  <a:cubicBezTo>
                    <a:pt x="68" y="3"/>
                    <a:pt x="67" y="3"/>
                    <a:pt x="66" y="3"/>
                  </a:cubicBezTo>
                  <a:cubicBezTo>
                    <a:pt x="62" y="3"/>
                    <a:pt x="59" y="2"/>
                    <a:pt x="56" y="1"/>
                  </a:cubicBezTo>
                  <a:cubicBezTo>
                    <a:pt x="24" y="2"/>
                    <a:pt x="0" y="7"/>
                    <a:pt x="0" y="13"/>
                  </a:cubicBezTo>
                  <a:cubicBezTo>
                    <a:pt x="0" y="20"/>
                    <a:pt x="35" y="26"/>
                    <a:pt x="77" y="26"/>
                  </a:cubicBezTo>
                  <a:cubicBezTo>
                    <a:pt x="120" y="26"/>
                    <a:pt x="154" y="20"/>
                    <a:pt x="154" y="13"/>
                  </a:cubicBezTo>
                  <a:cubicBezTo>
                    <a:pt x="154" y="7"/>
                    <a:pt x="129" y="2"/>
                    <a:pt x="96" y="0"/>
                  </a:cubicBezTo>
                </a:path>
              </a:pathLst>
            </a:custGeom>
            <a:solidFill>
              <a:srgbClr val="ECF3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ḻíḍe">
              <a:extLst>
                <a:ext uri="{FF2B5EF4-FFF2-40B4-BE49-F238E27FC236}">
                  <a16:creationId xmlns:a16="http://schemas.microsoft.com/office/drawing/2014/main" id="{6D6F5A13-C15E-4A31-84E9-3458989D6B34}"/>
                </a:ext>
              </a:extLst>
            </p:cNvPr>
            <p:cNvSpPr/>
            <p:nvPr/>
          </p:nvSpPr>
          <p:spPr bwMode="auto">
            <a:xfrm>
              <a:off x="4375150" y="5365751"/>
              <a:ext cx="55563" cy="7938"/>
            </a:xfrm>
            <a:custGeom>
              <a:avLst/>
              <a:gdLst>
                <a:gd name="T0" fmla="*/ 21 w 40"/>
                <a:gd name="T1" fmla="*/ 0 h 6"/>
                <a:gd name="T2" fmla="*/ 0 w 40"/>
                <a:gd name="T3" fmla="*/ 1 h 6"/>
                <a:gd name="T4" fmla="*/ 10 w 40"/>
                <a:gd name="T5" fmla="*/ 3 h 6"/>
                <a:gd name="T6" fmla="*/ 14 w 40"/>
                <a:gd name="T7" fmla="*/ 3 h 6"/>
                <a:gd name="T8" fmla="*/ 22 w 40"/>
                <a:gd name="T9" fmla="*/ 3 h 6"/>
                <a:gd name="T10" fmla="*/ 26 w 40"/>
                <a:gd name="T11" fmla="*/ 2 h 6"/>
                <a:gd name="T12" fmla="*/ 33 w 40"/>
                <a:gd name="T13" fmla="*/ 6 h 6"/>
                <a:gd name="T14" fmla="*/ 40 w 40"/>
                <a:gd name="T15" fmla="*/ 0 h 6"/>
                <a:gd name="T16" fmla="*/ 21 w 4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
                  <a:moveTo>
                    <a:pt x="21" y="0"/>
                  </a:moveTo>
                  <a:cubicBezTo>
                    <a:pt x="14" y="0"/>
                    <a:pt x="7" y="0"/>
                    <a:pt x="0" y="1"/>
                  </a:cubicBezTo>
                  <a:cubicBezTo>
                    <a:pt x="3" y="2"/>
                    <a:pt x="6" y="3"/>
                    <a:pt x="10" y="3"/>
                  </a:cubicBezTo>
                  <a:cubicBezTo>
                    <a:pt x="11" y="3"/>
                    <a:pt x="12" y="3"/>
                    <a:pt x="14" y="3"/>
                  </a:cubicBezTo>
                  <a:cubicBezTo>
                    <a:pt x="16" y="3"/>
                    <a:pt x="19" y="3"/>
                    <a:pt x="22" y="3"/>
                  </a:cubicBezTo>
                  <a:cubicBezTo>
                    <a:pt x="23" y="2"/>
                    <a:pt x="25" y="2"/>
                    <a:pt x="26" y="2"/>
                  </a:cubicBezTo>
                  <a:cubicBezTo>
                    <a:pt x="33" y="2"/>
                    <a:pt x="33" y="6"/>
                    <a:pt x="33" y="6"/>
                  </a:cubicBezTo>
                  <a:cubicBezTo>
                    <a:pt x="36" y="5"/>
                    <a:pt x="38" y="3"/>
                    <a:pt x="40" y="0"/>
                  </a:cubicBezTo>
                  <a:cubicBezTo>
                    <a:pt x="34" y="0"/>
                    <a:pt x="28" y="0"/>
                    <a:pt x="21" y="0"/>
                  </a:cubicBezTo>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íSḻîḍé">
              <a:extLst>
                <a:ext uri="{FF2B5EF4-FFF2-40B4-BE49-F238E27FC236}">
                  <a16:creationId xmlns:a16="http://schemas.microsoft.com/office/drawing/2014/main" id="{ABA665B5-6E62-49E4-AF92-5611779D2D06}"/>
                </a:ext>
              </a:extLst>
            </p:cNvPr>
            <p:cNvSpPr/>
            <p:nvPr/>
          </p:nvSpPr>
          <p:spPr bwMode="auto">
            <a:xfrm>
              <a:off x="8020050" y="5340351"/>
              <a:ext cx="188913" cy="161925"/>
            </a:xfrm>
            <a:custGeom>
              <a:avLst/>
              <a:gdLst>
                <a:gd name="T0" fmla="*/ 3 w 135"/>
                <a:gd name="T1" fmla="*/ 8 h 116"/>
                <a:gd name="T2" fmla="*/ 119 w 135"/>
                <a:gd name="T3" fmla="*/ 92 h 116"/>
                <a:gd name="T4" fmla="*/ 107 w 135"/>
                <a:gd name="T5" fmla="*/ 116 h 116"/>
                <a:gd name="T6" fmla="*/ 94 w 135"/>
                <a:gd name="T7" fmla="*/ 112 h 116"/>
                <a:gd name="T8" fmla="*/ 80 w 135"/>
                <a:gd name="T9" fmla="*/ 112 h 116"/>
                <a:gd name="T10" fmla="*/ 62 w 135"/>
                <a:gd name="T11" fmla="*/ 105 h 116"/>
                <a:gd name="T12" fmla="*/ 11 w 135"/>
                <a:gd name="T13" fmla="*/ 29 h 116"/>
                <a:gd name="T14" fmla="*/ 1 w 135"/>
                <a:gd name="T15" fmla="*/ 13 h 116"/>
                <a:gd name="T16" fmla="*/ 23 w 135"/>
                <a:gd name="T17" fmla="*/ 22 h 116"/>
                <a:gd name="T18" fmla="*/ 21 w 135"/>
                <a:gd name="T19" fmla="*/ 52 h 116"/>
                <a:gd name="T20" fmla="*/ 26 w 135"/>
                <a:gd name="T21" fmla="*/ 24 h 116"/>
                <a:gd name="T22" fmla="*/ 38 w 135"/>
                <a:gd name="T23" fmla="*/ 29 h 116"/>
                <a:gd name="T24" fmla="*/ 35 w 135"/>
                <a:gd name="T25" fmla="*/ 77 h 116"/>
                <a:gd name="T26" fmla="*/ 42 w 135"/>
                <a:gd name="T27" fmla="*/ 31 h 116"/>
                <a:gd name="T28" fmla="*/ 57 w 135"/>
                <a:gd name="T29" fmla="*/ 40 h 116"/>
                <a:gd name="T30" fmla="*/ 53 w 135"/>
                <a:gd name="T31" fmla="*/ 92 h 116"/>
                <a:gd name="T32" fmla="*/ 61 w 135"/>
                <a:gd name="T33" fmla="*/ 42 h 116"/>
                <a:gd name="T34" fmla="*/ 75 w 135"/>
                <a:gd name="T35" fmla="*/ 53 h 116"/>
                <a:gd name="T36" fmla="*/ 69 w 135"/>
                <a:gd name="T37" fmla="*/ 101 h 116"/>
                <a:gd name="T38" fmla="*/ 78 w 135"/>
                <a:gd name="T39" fmla="*/ 56 h 116"/>
                <a:gd name="T40" fmla="*/ 92 w 135"/>
                <a:gd name="T41" fmla="*/ 72 h 116"/>
                <a:gd name="T42" fmla="*/ 88 w 135"/>
                <a:gd name="T43" fmla="*/ 103 h 116"/>
                <a:gd name="T44" fmla="*/ 95 w 135"/>
                <a:gd name="T45" fmla="*/ 75 h 116"/>
                <a:gd name="T46" fmla="*/ 109 w 135"/>
                <a:gd name="T47" fmla="*/ 106 h 116"/>
                <a:gd name="T48" fmla="*/ 98 w 135"/>
                <a:gd name="T49" fmla="*/ 73 h 116"/>
                <a:gd name="T50" fmla="*/ 117 w 135"/>
                <a:gd name="T51" fmla="*/ 83 h 116"/>
                <a:gd name="T52" fmla="*/ 95 w 135"/>
                <a:gd name="T53" fmla="*/ 69 h 116"/>
                <a:gd name="T54" fmla="*/ 82 w 135"/>
                <a:gd name="T55" fmla="*/ 54 h 116"/>
                <a:gd name="T56" fmla="*/ 114 w 135"/>
                <a:gd name="T57" fmla="*/ 58 h 116"/>
                <a:gd name="T58" fmla="*/ 79 w 135"/>
                <a:gd name="T59" fmla="*/ 51 h 116"/>
                <a:gd name="T60" fmla="*/ 65 w 135"/>
                <a:gd name="T61" fmla="*/ 40 h 116"/>
                <a:gd name="T62" fmla="*/ 102 w 135"/>
                <a:gd name="T63" fmla="*/ 40 h 116"/>
                <a:gd name="T64" fmla="*/ 61 w 135"/>
                <a:gd name="T65" fmla="*/ 37 h 116"/>
                <a:gd name="T66" fmla="*/ 46 w 135"/>
                <a:gd name="T67" fmla="*/ 28 h 116"/>
                <a:gd name="T68" fmla="*/ 81 w 135"/>
                <a:gd name="T69" fmla="*/ 25 h 116"/>
                <a:gd name="T70" fmla="*/ 41 w 135"/>
                <a:gd name="T71" fmla="*/ 26 h 116"/>
                <a:gd name="T72" fmla="*/ 30 w 135"/>
                <a:gd name="T73" fmla="*/ 21 h 116"/>
                <a:gd name="T74" fmla="*/ 52 w 135"/>
                <a:gd name="T75" fmla="*/ 17 h 116"/>
                <a:gd name="T76" fmla="*/ 57 w 135"/>
                <a:gd name="T77" fmla="*/ 15 h 116"/>
                <a:gd name="T78" fmla="*/ 26 w 135"/>
                <a:gd name="T79" fmla="*/ 19 h 116"/>
                <a:gd name="T80" fmla="*/ 3 w 135"/>
                <a:gd name="T81" fmla="*/ 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116">
                  <a:moveTo>
                    <a:pt x="3" y="8"/>
                  </a:moveTo>
                  <a:cubicBezTo>
                    <a:pt x="3" y="8"/>
                    <a:pt x="135" y="0"/>
                    <a:pt x="119" y="92"/>
                  </a:cubicBezTo>
                  <a:cubicBezTo>
                    <a:pt x="121" y="102"/>
                    <a:pt x="116" y="112"/>
                    <a:pt x="107" y="116"/>
                  </a:cubicBezTo>
                  <a:cubicBezTo>
                    <a:pt x="107" y="116"/>
                    <a:pt x="107" y="109"/>
                    <a:pt x="94" y="112"/>
                  </a:cubicBezTo>
                  <a:cubicBezTo>
                    <a:pt x="89" y="112"/>
                    <a:pt x="84" y="113"/>
                    <a:pt x="80" y="112"/>
                  </a:cubicBezTo>
                  <a:cubicBezTo>
                    <a:pt x="73" y="112"/>
                    <a:pt x="67" y="109"/>
                    <a:pt x="62" y="105"/>
                  </a:cubicBezTo>
                  <a:cubicBezTo>
                    <a:pt x="62" y="105"/>
                    <a:pt x="25" y="90"/>
                    <a:pt x="11" y="29"/>
                  </a:cubicBezTo>
                  <a:cubicBezTo>
                    <a:pt x="11" y="29"/>
                    <a:pt x="0" y="16"/>
                    <a:pt x="1" y="13"/>
                  </a:cubicBezTo>
                  <a:cubicBezTo>
                    <a:pt x="23" y="22"/>
                    <a:pt x="23" y="22"/>
                    <a:pt x="23" y="22"/>
                  </a:cubicBezTo>
                  <a:cubicBezTo>
                    <a:pt x="23" y="22"/>
                    <a:pt x="15" y="38"/>
                    <a:pt x="21" y="52"/>
                  </a:cubicBezTo>
                  <a:cubicBezTo>
                    <a:pt x="21" y="52"/>
                    <a:pt x="22" y="23"/>
                    <a:pt x="26" y="24"/>
                  </a:cubicBezTo>
                  <a:cubicBezTo>
                    <a:pt x="27" y="24"/>
                    <a:pt x="38" y="29"/>
                    <a:pt x="38" y="29"/>
                  </a:cubicBezTo>
                  <a:cubicBezTo>
                    <a:pt x="38" y="29"/>
                    <a:pt x="25" y="57"/>
                    <a:pt x="35" y="77"/>
                  </a:cubicBezTo>
                  <a:cubicBezTo>
                    <a:pt x="35" y="77"/>
                    <a:pt x="31" y="43"/>
                    <a:pt x="42" y="31"/>
                  </a:cubicBezTo>
                  <a:cubicBezTo>
                    <a:pt x="57" y="40"/>
                    <a:pt x="57" y="40"/>
                    <a:pt x="57" y="40"/>
                  </a:cubicBezTo>
                  <a:cubicBezTo>
                    <a:pt x="57" y="40"/>
                    <a:pt x="42" y="69"/>
                    <a:pt x="53" y="92"/>
                  </a:cubicBezTo>
                  <a:cubicBezTo>
                    <a:pt x="53" y="92"/>
                    <a:pt x="50" y="56"/>
                    <a:pt x="61" y="42"/>
                  </a:cubicBezTo>
                  <a:cubicBezTo>
                    <a:pt x="75" y="53"/>
                    <a:pt x="75" y="53"/>
                    <a:pt x="75" y="53"/>
                  </a:cubicBezTo>
                  <a:cubicBezTo>
                    <a:pt x="75" y="53"/>
                    <a:pt x="60" y="82"/>
                    <a:pt x="69" y="101"/>
                  </a:cubicBezTo>
                  <a:cubicBezTo>
                    <a:pt x="69" y="101"/>
                    <a:pt x="70" y="60"/>
                    <a:pt x="78" y="56"/>
                  </a:cubicBezTo>
                  <a:cubicBezTo>
                    <a:pt x="78" y="56"/>
                    <a:pt x="90" y="67"/>
                    <a:pt x="92" y="72"/>
                  </a:cubicBezTo>
                  <a:cubicBezTo>
                    <a:pt x="92" y="72"/>
                    <a:pt x="82" y="92"/>
                    <a:pt x="88" y="103"/>
                  </a:cubicBezTo>
                  <a:cubicBezTo>
                    <a:pt x="88" y="103"/>
                    <a:pt x="92" y="75"/>
                    <a:pt x="95" y="75"/>
                  </a:cubicBezTo>
                  <a:cubicBezTo>
                    <a:pt x="95" y="75"/>
                    <a:pt x="107" y="94"/>
                    <a:pt x="109" y="106"/>
                  </a:cubicBezTo>
                  <a:cubicBezTo>
                    <a:pt x="108" y="95"/>
                    <a:pt x="104" y="83"/>
                    <a:pt x="98" y="73"/>
                  </a:cubicBezTo>
                  <a:cubicBezTo>
                    <a:pt x="105" y="75"/>
                    <a:pt x="112" y="78"/>
                    <a:pt x="117" y="83"/>
                  </a:cubicBezTo>
                  <a:cubicBezTo>
                    <a:pt x="117" y="83"/>
                    <a:pt x="115" y="70"/>
                    <a:pt x="95" y="69"/>
                  </a:cubicBezTo>
                  <a:cubicBezTo>
                    <a:pt x="95" y="69"/>
                    <a:pt x="85" y="55"/>
                    <a:pt x="82" y="54"/>
                  </a:cubicBezTo>
                  <a:cubicBezTo>
                    <a:pt x="82" y="54"/>
                    <a:pt x="102" y="52"/>
                    <a:pt x="114" y="58"/>
                  </a:cubicBezTo>
                  <a:cubicBezTo>
                    <a:pt x="114" y="58"/>
                    <a:pt x="104" y="45"/>
                    <a:pt x="79" y="51"/>
                  </a:cubicBezTo>
                  <a:cubicBezTo>
                    <a:pt x="65" y="40"/>
                    <a:pt x="65" y="40"/>
                    <a:pt x="65" y="40"/>
                  </a:cubicBezTo>
                  <a:cubicBezTo>
                    <a:pt x="65" y="40"/>
                    <a:pt x="91" y="36"/>
                    <a:pt x="102" y="40"/>
                  </a:cubicBezTo>
                  <a:cubicBezTo>
                    <a:pt x="102" y="40"/>
                    <a:pt x="89" y="29"/>
                    <a:pt x="61" y="37"/>
                  </a:cubicBezTo>
                  <a:cubicBezTo>
                    <a:pt x="46" y="28"/>
                    <a:pt x="46" y="28"/>
                    <a:pt x="46" y="28"/>
                  </a:cubicBezTo>
                  <a:cubicBezTo>
                    <a:pt x="46" y="28"/>
                    <a:pt x="68" y="23"/>
                    <a:pt x="81" y="25"/>
                  </a:cubicBezTo>
                  <a:cubicBezTo>
                    <a:pt x="81" y="25"/>
                    <a:pt x="67" y="17"/>
                    <a:pt x="41" y="26"/>
                  </a:cubicBezTo>
                  <a:cubicBezTo>
                    <a:pt x="30" y="21"/>
                    <a:pt x="30" y="21"/>
                    <a:pt x="30" y="21"/>
                  </a:cubicBezTo>
                  <a:cubicBezTo>
                    <a:pt x="30" y="21"/>
                    <a:pt x="47" y="17"/>
                    <a:pt x="52" y="17"/>
                  </a:cubicBezTo>
                  <a:cubicBezTo>
                    <a:pt x="56" y="16"/>
                    <a:pt x="57" y="15"/>
                    <a:pt x="57" y="15"/>
                  </a:cubicBezTo>
                  <a:cubicBezTo>
                    <a:pt x="46" y="13"/>
                    <a:pt x="36" y="15"/>
                    <a:pt x="26" y="19"/>
                  </a:cubicBezTo>
                  <a:cubicBezTo>
                    <a:pt x="26" y="19"/>
                    <a:pt x="3" y="10"/>
                    <a:pt x="3" y="8"/>
                  </a:cubicBezTo>
                  <a:close/>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ṥḻiḑe">
              <a:extLst>
                <a:ext uri="{FF2B5EF4-FFF2-40B4-BE49-F238E27FC236}">
                  <a16:creationId xmlns:a16="http://schemas.microsoft.com/office/drawing/2014/main" id="{7A0074C3-C593-45E8-BFE4-B5F1EEBEB459}"/>
                </a:ext>
              </a:extLst>
            </p:cNvPr>
            <p:cNvSpPr/>
            <p:nvPr/>
          </p:nvSpPr>
          <p:spPr bwMode="auto">
            <a:xfrm>
              <a:off x="8021638" y="5492751"/>
              <a:ext cx="258763" cy="42863"/>
            </a:xfrm>
            <a:prstGeom prst="ellipse">
              <a:avLst/>
            </a:prstGeom>
            <a:solidFill>
              <a:srgbClr val="4285F4">
                <a:alpha val="20000"/>
              </a:srgbClr>
            </a:solidFill>
            <a:ln>
              <a:noFill/>
            </a:ln>
          </p:spPr>
          <p:txBody>
            <a:bodyPr anchor="ctr"/>
            <a:lstStyle/>
            <a:p>
              <a:pPr algn="ctr"/>
              <a:endParaRPr/>
            </a:p>
          </p:txBody>
        </p:sp>
        <p:sp>
          <p:nvSpPr>
            <p:cNvPr id="66" name="i$lïḑè">
              <a:extLst>
                <a:ext uri="{FF2B5EF4-FFF2-40B4-BE49-F238E27FC236}">
                  <a16:creationId xmlns:a16="http://schemas.microsoft.com/office/drawing/2014/main" id="{E5175A07-911E-466C-9D83-C67CFBA3F929}"/>
                </a:ext>
              </a:extLst>
            </p:cNvPr>
            <p:cNvSpPr/>
            <p:nvPr/>
          </p:nvSpPr>
          <p:spPr bwMode="auto">
            <a:xfrm>
              <a:off x="6691313" y="3413126"/>
              <a:ext cx="111125" cy="87313"/>
            </a:xfrm>
            <a:custGeom>
              <a:avLst/>
              <a:gdLst>
                <a:gd name="T0" fmla="*/ 0 w 80"/>
                <a:gd name="T1" fmla="*/ 43 h 62"/>
                <a:gd name="T2" fmla="*/ 80 w 80"/>
                <a:gd name="T3" fmla="*/ 5 h 62"/>
                <a:gd name="T4" fmla="*/ 80 w 80"/>
                <a:gd name="T5" fmla="*/ 62 h 62"/>
                <a:gd name="T6" fmla="*/ 45 w 80"/>
                <a:gd name="T7" fmla="*/ 62 h 62"/>
                <a:gd name="T8" fmla="*/ 18 w 80"/>
                <a:gd name="T9" fmla="*/ 55 h 62"/>
                <a:gd name="T10" fmla="*/ 0 w 80"/>
                <a:gd name="T11" fmla="*/ 43 h 62"/>
              </a:gdLst>
              <a:ahLst/>
              <a:cxnLst>
                <a:cxn ang="0">
                  <a:pos x="T0" y="T1"/>
                </a:cxn>
                <a:cxn ang="0">
                  <a:pos x="T2" y="T3"/>
                </a:cxn>
                <a:cxn ang="0">
                  <a:pos x="T4" y="T5"/>
                </a:cxn>
                <a:cxn ang="0">
                  <a:pos x="T6" y="T7"/>
                </a:cxn>
                <a:cxn ang="0">
                  <a:pos x="T8" y="T9"/>
                </a:cxn>
                <a:cxn ang="0">
                  <a:pos x="T10" y="T11"/>
                </a:cxn>
              </a:cxnLst>
              <a:rect l="0" t="0" r="r" b="b"/>
              <a:pathLst>
                <a:path w="80" h="62">
                  <a:moveTo>
                    <a:pt x="0" y="43"/>
                  </a:moveTo>
                  <a:cubicBezTo>
                    <a:pt x="17" y="15"/>
                    <a:pt x="48" y="0"/>
                    <a:pt x="80" y="5"/>
                  </a:cubicBezTo>
                  <a:cubicBezTo>
                    <a:pt x="80" y="62"/>
                    <a:pt x="80" y="62"/>
                    <a:pt x="80" y="62"/>
                  </a:cubicBezTo>
                  <a:cubicBezTo>
                    <a:pt x="45" y="62"/>
                    <a:pt x="45" y="62"/>
                    <a:pt x="45" y="62"/>
                  </a:cubicBezTo>
                  <a:cubicBezTo>
                    <a:pt x="18" y="55"/>
                    <a:pt x="18" y="55"/>
                    <a:pt x="18" y="55"/>
                  </a:cubicBezTo>
                  <a:cubicBezTo>
                    <a:pt x="0" y="43"/>
                    <a:pt x="0" y="43"/>
                    <a:pt x="0" y="43"/>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i$ľiďe">
              <a:extLst>
                <a:ext uri="{FF2B5EF4-FFF2-40B4-BE49-F238E27FC236}">
                  <a16:creationId xmlns:a16="http://schemas.microsoft.com/office/drawing/2014/main" id="{4100932C-DA91-45A5-A510-6000090FF2DC}"/>
                </a:ext>
              </a:extLst>
            </p:cNvPr>
            <p:cNvSpPr/>
            <p:nvPr/>
          </p:nvSpPr>
          <p:spPr bwMode="auto">
            <a:xfrm>
              <a:off x="6691313" y="3421063"/>
              <a:ext cx="111125" cy="57150"/>
            </a:xfrm>
            <a:custGeom>
              <a:avLst/>
              <a:gdLst>
                <a:gd name="T0" fmla="*/ 33 w 80"/>
                <a:gd name="T1" fmla="*/ 7 h 41"/>
                <a:gd name="T2" fmla="*/ 0 w 80"/>
                <a:gd name="T3" fmla="*/ 38 h 41"/>
                <a:gd name="T4" fmla="*/ 0 w 80"/>
                <a:gd name="T5" fmla="*/ 38 h 41"/>
                <a:gd name="T6" fmla="*/ 20 w 80"/>
                <a:gd name="T7" fmla="*/ 41 h 41"/>
                <a:gd name="T8" fmla="*/ 39 w 80"/>
                <a:gd name="T9" fmla="*/ 38 h 41"/>
                <a:gd name="T10" fmla="*/ 38 w 80"/>
                <a:gd name="T11" fmla="*/ 31 h 41"/>
                <a:gd name="T12" fmla="*/ 33 w 80"/>
                <a:gd name="T13" fmla="*/ 7 h 41"/>
                <a:gd name="T14" fmla="*/ 77 w 80"/>
                <a:gd name="T15" fmla="*/ 0 h 41"/>
                <a:gd name="T16" fmla="*/ 78 w 80"/>
                <a:gd name="T17" fmla="*/ 3 h 41"/>
                <a:gd name="T18" fmla="*/ 80 w 80"/>
                <a:gd name="T19" fmla="*/ 0 h 41"/>
                <a:gd name="T20" fmla="*/ 77 w 80"/>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1">
                  <a:moveTo>
                    <a:pt x="33" y="7"/>
                  </a:moveTo>
                  <a:cubicBezTo>
                    <a:pt x="20" y="14"/>
                    <a:pt x="8" y="24"/>
                    <a:pt x="0" y="38"/>
                  </a:cubicBezTo>
                  <a:cubicBezTo>
                    <a:pt x="0" y="38"/>
                    <a:pt x="0" y="38"/>
                    <a:pt x="0" y="38"/>
                  </a:cubicBezTo>
                  <a:cubicBezTo>
                    <a:pt x="7" y="40"/>
                    <a:pt x="14" y="41"/>
                    <a:pt x="20" y="41"/>
                  </a:cubicBezTo>
                  <a:cubicBezTo>
                    <a:pt x="27" y="41"/>
                    <a:pt x="33" y="40"/>
                    <a:pt x="39" y="38"/>
                  </a:cubicBezTo>
                  <a:cubicBezTo>
                    <a:pt x="39" y="36"/>
                    <a:pt x="39" y="33"/>
                    <a:pt x="38" y="31"/>
                  </a:cubicBezTo>
                  <a:cubicBezTo>
                    <a:pt x="37" y="24"/>
                    <a:pt x="36" y="15"/>
                    <a:pt x="33" y="7"/>
                  </a:cubicBezTo>
                  <a:moveTo>
                    <a:pt x="77" y="0"/>
                  </a:moveTo>
                  <a:cubicBezTo>
                    <a:pt x="78" y="1"/>
                    <a:pt x="78" y="2"/>
                    <a:pt x="78" y="3"/>
                  </a:cubicBezTo>
                  <a:cubicBezTo>
                    <a:pt x="79" y="1"/>
                    <a:pt x="80" y="0"/>
                    <a:pt x="80" y="0"/>
                  </a:cubicBezTo>
                  <a:cubicBezTo>
                    <a:pt x="79" y="0"/>
                    <a:pt x="78" y="0"/>
                    <a:pt x="77"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ṧlíḓé">
              <a:extLst>
                <a:ext uri="{FF2B5EF4-FFF2-40B4-BE49-F238E27FC236}">
                  <a16:creationId xmlns:a16="http://schemas.microsoft.com/office/drawing/2014/main" id="{F5034423-9618-4F6D-9B1E-B04948DF8867}"/>
                </a:ext>
              </a:extLst>
            </p:cNvPr>
            <p:cNvSpPr/>
            <p:nvPr/>
          </p:nvSpPr>
          <p:spPr bwMode="auto">
            <a:xfrm>
              <a:off x="6456363" y="3241676"/>
              <a:ext cx="347663" cy="241300"/>
            </a:xfrm>
            <a:custGeom>
              <a:avLst/>
              <a:gdLst>
                <a:gd name="T0" fmla="*/ 251 w 251"/>
                <a:gd name="T1" fmla="*/ 144 h 174"/>
                <a:gd name="T2" fmla="*/ 209 w 251"/>
                <a:gd name="T3" fmla="*/ 174 h 174"/>
                <a:gd name="T4" fmla="*/ 207 w 251"/>
                <a:gd name="T5" fmla="*/ 160 h 174"/>
                <a:gd name="T6" fmla="*/ 190 w 251"/>
                <a:gd name="T7" fmla="*/ 117 h 174"/>
                <a:gd name="T8" fmla="*/ 62 w 251"/>
                <a:gd name="T9" fmla="*/ 22 h 174"/>
                <a:gd name="T10" fmla="*/ 219 w 251"/>
                <a:gd name="T11" fmla="*/ 73 h 174"/>
                <a:gd name="T12" fmla="*/ 231 w 251"/>
                <a:gd name="T13" fmla="*/ 90 h 174"/>
                <a:gd name="T14" fmla="*/ 245 w 251"/>
                <a:gd name="T15" fmla="*/ 125 h 174"/>
                <a:gd name="T16" fmla="*/ 251 w 251"/>
                <a:gd name="T17" fmla="*/ 14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74">
                  <a:moveTo>
                    <a:pt x="251" y="144"/>
                  </a:moveTo>
                  <a:cubicBezTo>
                    <a:pt x="209" y="174"/>
                    <a:pt x="209" y="174"/>
                    <a:pt x="209" y="174"/>
                  </a:cubicBezTo>
                  <a:cubicBezTo>
                    <a:pt x="209" y="174"/>
                    <a:pt x="208" y="168"/>
                    <a:pt x="207" y="160"/>
                  </a:cubicBezTo>
                  <a:cubicBezTo>
                    <a:pt x="205" y="145"/>
                    <a:pt x="201" y="121"/>
                    <a:pt x="190" y="117"/>
                  </a:cubicBezTo>
                  <a:cubicBezTo>
                    <a:pt x="175" y="110"/>
                    <a:pt x="0" y="44"/>
                    <a:pt x="62" y="22"/>
                  </a:cubicBezTo>
                  <a:cubicBezTo>
                    <a:pt x="124" y="0"/>
                    <a:pt x="219" y="73"/>
                    <a:pt x="219" y="73"/>
                  </a:cubicBezTo>
                  <a:cubicBezTo>
                    <a:pt x="219" y="73"/>
                    <a:pt x="224" y="74"/>
                    <a:pt x="231" y="90"/>
                  </a:cubicBezTo>
                  <a:cubicBezTo>
                    <a:pt x="235" y="99"/>
                    <a:pt x="241" y="113"/>
                    <a:pt x="245" y="125"/>
                  </a:cubicBezTo>
                  <a:cubicBezTo>
                    <a:pt x="249" y="136"/>
                    <a:pt x="251" y="144"/>
                    <a:pt x="251" y="144"/>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ïṩļîḑê">
              <a:extLst>
                <a:ext uri="{FF2B5EF4-FFF2-40B4-BE49-F238E27FC236}">
                  <a16:creationId xmlns:a16="http://schemas.microsoft.com/office/drawing/2014/main" id="{5138D824-71B4-4B92-953A-6D34F27E8C0C}"/>
                </a:ext>
              </a:extLst>
            </p:cNvPr>
            <p:cNvSpPr/>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close/>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îSļídé">
              <a:extLst>
                <a:ext uri="{FF2B5EF4-FFF2-40B4-BE49-F238E27FC236}">
                  <a16:creationId xmlns:a16="http://schemas.microsoft.com/office/drawing/2014/main" id="{DC3EB593-47B0-44D0-A738-0A64DDD5CD4A}"/>
                </a:ext>
              </a:extLst>
            </p:cNvPr>
            <p:cNvSpPr/>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ïṡľíḑe">
              <a:extLst>
                <a:ext uri="{FF2B5EF4-FFF2-40B4-BE49-F238E27FC236}">
                  <a16:creationId xmlns:a16="http://schemas.microsoft.com/office/drawing/2014/main" id="{3D9C3A0E-F80E-45BF-857B-04588D49EC3C}"/>
                </a:ext>
              </a:extLst>
            </p:cNvPr>
            <p:cNvSpPr/>
            <p:nvPr/>
          </p:nvSpPr>
          <p:spPr bwMode="auto">
            <a:xfrm>
              <a:off x="7118350" y="5434013"/>
              <a:ext cx="142875" cy="271463"/>
            </a:xfrm>
            <a:custGeom>
              <a:avLst/>
              <a:gdLst>
                <a:gd name="T0" fmla="*/ 50 w 102"/>
                <a:gd name="T1" fmla="*/ 1 h 196"/>
                <a:gd name="T2" fmla="*/ 33 w 102"/>
                <a:gd name="T3" fmla="*/ 19 h 196"/>
                <a:gd name="T4" fmla="*/ 21 w 102"/>
                <a:gd name="T5" fmla="*/ 91 h 196"/>
                <a:gd name="T6" fmla="*/ 12 w 102"/>
                <a:gd name="T7" fmla="*/ 131 h 196"/>
                <a:gd name="T8" fmla="*/ 42 w 102"/>
                <a:gd name="T9" fmla="*/ 190 h 196"/>
                <a:gd name="T10" fmla="*/ 102 w 102"/>
                <a:gd name="T11" fmla="*/ 168 h 196"/>
                <a:gd name="T12" fmla="*/ 100 w 102"/>
                <a:gd name="T13" fmla="*/ 39 h 196"/>
                <a:gd name="T14" fmla="*/ 50 w 102"/>
                <a:gd name="T15" fmla="*/ 1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96">
                  <a:moveTo>
                    <a:pt x="50" y="1"/>
                  </a:moveTo>
                  <a:cubicBezTo>
                    <a:pt x="50" y="1"/>
                    <a:pt x="38" y="0"/>
                    <a:pt x="33" y="19"/>
                  </a:cubicBezTo>
                  <a:cubicBezTo>
                    <a:pt x="28" y="38"/>
                    <a:pt x="21" y="91"/>
                    <a:pt x="21" y="91"/>
                  </a:cubicBezTo>
                  <a:cubicBezTo>
                    <a:pt x="21" y="91"/>
                    <a:pt x="18" y="123"/>
                    <a:pt x="12" y="131"/>
                  </a:cubicBezTo>
                  <a:cubicBezTo>
                    <a:pt x="6" y="138"/>
                    <a:pt x="0" y="184"/>
                    <a:pt x="42" y="190"/>
                  </a:cubicBezTo>
                  <a:cubicBezTo>
                    <a:pt x="84" y="196"/>
                    <a:pt x="102" y="168"/>
                    <a:pt x="102" y="168"/>
                  </a:cubicBezTo>
                  <a:cubicBezTo>
                    <a:pt x="100" y="39"/>
                    <a:pt x="100" y="39"/>
                    <a:pt x="100" y="39"/>
                  </a:cubicBezTo>
                  <a:cubicBezTo>
                    <a:pt x="50" y="1"/>
                    <a:pt x="50" y="1"/>
                    <a:pt x="50" y="1"/>
                  </a:cubicBezTo>
                </a:path>
              </a:pathLst>
            </a:custGeom>
            <a:solidFill>
              <a:srgbClr val="444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îsļîḋe">
              <a:extLst>
                <a:ext uri="{FF2B5EF4-FFF2-40B4-BE49-F238E27FC236}">
                  <a16:creationId xmlns:a16="http://schemas.microsoft.com/office/drawing/2014/main" id="{EB397803-156E-47A2-8DF7-8EE42E3D0C76}"/>
                </a:ext>
              </a:extLst>
            </p:cNvPr>
            <p:cNvSpPr/>
            <p:nvPr/>
          </p:nvSpPr>
          <p:spPr bwMode="auto">
            <a:xfrm>
              <a:off x="7299325" y="5443538"/>
              <a:ext cx="134938" cy="319088"/>
            </a:xfrm>
            <a:custGeom>
              <a:avLst/>
              <a:gdLst>
                <a:gd name="T0" fmla="*/ 66 w 97"/>
                <a:gd name="T1" fmla="*/ 0 h 230"/>
                <a:gd name="T2" fmla="*/ 92 w 97"/>
                <a:gd name="T3" fmla="*/ 60 h 230"/>
                <a:gd name="T4" fmla="*/ 89 w 97"/>
                <a:gd name="T5" fmla="*/ 135 h 230"/>
                <a:gd name="T6" fmla="*/ 92 w 97"/>
                <a:gd name="T7" fmla="*/ 158 h 230"/>
                <a:gd name="T8" fmla="*/ 92 w 97"/>
                <a:gd name="T9" fmla="*/ 187 h 230"/>
                <a:gd name="T10" fmla="*/ 7 w 97"/>
                <a:gd name="T11" fmla="*/ 184 h 230"/>
                <a:gd name="T12" fmla="*/ 3 w 97"/>
                <a:gd name="T13" fmla="*/ 140 h 230"/>
                <a:gd name="T14" fmla="*/ 15 w 97"/>
                <a:gd name="T15" fmla="*/ 46 h 230"/>
                <a:gd name="T16" fmla="*/ 66 w 97"/>
                <a:gd name="T1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0">
                  <a:moveTo>
                    <a:pt x="66" y="0"/>
                  </a:moveTo>
                  <a:cubicBezTo>
                    <a:pt x="66" y="0"/>
                    <a:pt x="93" y="28"/>
                    <a:pt x="92" y="60"/>
                  </a:cubicBezTo>
                  <a:cubicBezTo>
                    <a:pt x="92" y="92"/>
                    <a:pt x="89" y="135"/>
                    <a:pt x="89" y="135"/>
                  </a:cubicBezTo>
                  <a:cubicBezTo>
                    <a:pt x="89" y="135"/>
                    <a:pt x="87" y="153"/>
                    <a:pt x="92" y="158"/>
                  </a:cubicBezTo>
                  <a:cubicBezTo>
                    <a:pt x="97" y="163"/>
                    <a:pt x="92" y="187"/>
                    <a:pt x="92" y="187"/>
                  </a:cubicBezTo>
                  <a:cubicBezTo>
                    <a:pt x="92" y="187"/>
                    <a:pt x="46" y="230"/>
                    <a:pt x="7" y="184"/>
                  </a:cubicBezTo>
                  <a:cubicBezTo>
                    <a:pt x="7" y="184"/>
                    <a:pt x="0" y="157"/>
                    <a:pt x="3" y="140"/>
                  </a:cubicBezTo>
                  <a:cubicBezTo>
                    <a:pt x="6" y="123"/>
                    <a:pt x="15" y="46"/>
                    <a:pt x="15" y="46"/>
                  </a:cubicBezTo>
                  <a:lnTo>
                    <a:pt x="66" y="0"/>
                  </a:lnTo>
                  <a:close/>
                </a:path>
              </a:pathLst>
            </a:custGeom>
            <a:solidFill>
              <a:srgbClr val="444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1îḋé">
              <a:extLst>
                <a:ext uri="{FF2B5EF4-FFF2-40B4-BE49-F238E27FC236}">
                  <a16:creationId xmlns:a16="http://schemas.microsoft.com/office/drawing/2014/main" id="{F60DFAB0-3EB0-475F-B641-4D5EAF07F0F8}"/>
                </a:ext>
              </a:extLst>
            </p:cNvPr>
            <p:cNvSpPr/>
            <p:nvPr/>
          </p:nvSpPr>
          <p:spPr bwMode="auto">
            <a:xfrm>
              <a:off x="7142163" y="4592638"/>
              <a:ext cx="338138" cy="1049338"/>
            </a:xfrm>
            <a:custGeom>
              <a:avLst/>
              <a:gdLst>
                <a:gd name="T0" fmla="*/ 244 w 244"/>
                <a:gd name="T1" fmla="*/ 27 h 755"/>
                <a:gd name="T2" fmla="*/ 206 w 244"/>
                <a:gd name="T3" fmla="*/ 118 h 755"/>
                <a:gd name="T4" fmla="*/ 187 w 244"/>
                <a:gd name="T5" fmla="*/ 166 h 755"/>
                <a:gd name="T6" fmla="*/ 177 w 244"/>
                <a:gd name="T7" fmla="*/ 229 h 755"/>
                <a:gd name="T8" fmla="*/ 174 w 244"/>
                <a:gd name="T9" fmla="*/ 272 h 755"/>
                <a:gd name="T10" fmla="*/ 148 w 244"/>
                <a:gd name="T11" fmla="*/ 493 h 755"/>
                <a:gd name="T12" fmla="*/ 107 w 244"/>
                <a:gd name="T13" fmla="*/ 545 h 755"/>
                <a:gd name="T14" fmla="*/ 92 w 244"/>
                <a:gd name="T15" fmla="*/ 597 h 755"/>
                <a:gd name="T16" fmla="*/ 84 w 244"/>
                <a:gd name="T17" fmla="*/ 644 h 755"/>
                <a:gd name="T18" fmla="*/ 82 w 244"/>
                <a:gd name="T19" fmla="*/ 703 h 755"/>
                <a:gd name="T20" fmla="*/ 82 w 244"/>
                <a:gd name="T21" fmla="*/ 749 h 755"/>
                <a:gd name="T22" fmla="*/ 2 w 244"/>
                <a:gd name="T23" fmla="*/ 744 h 755"/>
                <a:gd name="T24" fmla="*/ 11 w 244"/>
                <a:gd name="T25" fmla="*/ 692 h 755"/>
                <a:gd name="T26" fmla="*/ 18 w 244"/>
                <a:gd name="T27" fmla="*/ 651 h 755"/>
                <a:gd name="T28" fmla="*/ 27 w 244"/>
                <a:gd name="T29" fmla="*/ 621 h 755"/>
                <a:gd name="T30" fmla="*/ 33 w 244"/>
                <a:gd name="T31" fmla="*/ 595 h 755"/>
                <a:gd name="T32" fmla="*/ 44 w 244"/>
                <a:gd name="T33" fmla="*/ 561 h 755"/>
                <a:gd name="T34" fmla="*/ 60 w 244"/>
                <a:gd name="T35" fmla="*/ 354 h 755"/>
                <a:gd name="T36" fmla="*/ 110 w 244"/>
                <a:gd name="T37" fmla="*/ 0 h 755"/>
                <a:gd name="T38" fmla="*/ 244 w 244"/>
                <a:gd name="T39" fmla="*/ 27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4" h="755">
                  <a:moveTo>
                    <a:pt x="244" y="27"/>
                  </a:moveTo>
                  <a:cubicBezTo>
                    <a:pt x="244" y="27"/>
                    <a:pt x="218" y="101"/>
                    <a:pt x="206" y="118"/>
                  </a:cubicBezTo>
                  <a:cubicBezTo>
                    <a:pt x="195" y="135"/>
                    <a:pt x="187" y="166"/>
                    <a:pt x="187" y="166"/>
                  </a:cubicBezTo>
                  <a:cubicBezTo>
                    <a:pt x="177" y="229"/>
                    <a:pt x="177" y="229"/>
                    <a:pt x="177" y="229"/>
                  </a:cubicBezTo>
                  <a:cubicBezTo>
                    <a:pt x="175" y="243"/>
                    <a:pt x="174" y="258"/>
                    <a:pt x="174" y="272"/>
                  </a:cubicBezTo>
                  <a:cubicBezTo>
                    <a:pt x="174" y="286"/>
                    <a:pt x="148" y="493"/>
                    <a:pt x="148" y="493"/>
                  </a:cubicBezTo>
                  <a:cubicBezTo>
                    <a:pt x="107" y="545"/>
                    <a:pt x="107" y="545"/>
                    <a:pt x="107" y="545"/>
                  </a:cubicBezTo>
                  <a:cubicBezTo>
                    <a:pt x="107" y="545"/>
                    <a:pt x="89" y="582"/>
                    <a:pt x="92" y="597"/>
                  </a:cubicBezTo>
                  <a:cubicBezTo>
                    <a:pt x="95" y="613"/>
                    <a:pt x="90" y="637"/>
                    <a:pt x="84" y="644"/>
                  </a:cubicBezTo>
                  <a:cubicBezTo>
                    <a:pt x="84" y="644"/>
                    <a:pt x="83" y="692"/>
                    <a:pt x="82" y="703"/>
                  </a:cubicBezTo>
                  <a:cubicBezTo>
                    <a:pt x="80" y="714"/>
                    <a:pt x="87" y="744"/>
                    <a:pt x="82" y="749"/>
                  </a:cubicBezTo>
                  <a:cubicBezTo>
                    <a:pt x="76" y="755"/>
                    <a:pt x="4" y="752"/>
                    <a:pt x="2" y="744"/>
                  </a:cubicBezTo>
                  <a:cubicBezTo>
                    <a:pt x="0" y="735"/>
                    <a:pt x="11" y="692"/>
                    <a:pt x="11" y="692"/>
                  </a:cubicBezTo>
                  <a:cubicBezTo>
                    <a:pt x="18" y="651"/>
                    <a:pt x="18" y="651"/>
                    <a:pt x="18" y="651"/>
                  </a:cubicBezTo>
                  <a:cubicBezTo>
                    <a:pt x="18" y="651"/>
                    <a:pt x="30" y="629"/>
                    <a:pt x="27" y="621"/>
                  </a:cubicBezTo>
                  <a:cubicBezTo>
                    <a:pt x="24" y="614"/>
                    <a:pt x="33" y="597"/>
                    <a:pt x="33" y="595"/>
                  </a:cubicBezTo>
                  <a:cubicBezTo>
                    <a:pt x="34" y="594"/>
                    <a:pt x="47" y="570"/>
                    <a:pt x="44" y="561"/>
                  </a:cubicBezTo>
                  <a:cubicBezTo>
                    <a:pt x="42" y="551"/>
                    <a:pt x="60" y="354"/>
                    <a:pt x="60" y="354"/>
                  </a:cubicBezTo>
                  <a:cubicBezTo>
                    <a:pt x="110" y="0"/>
                    <a:pt x="110" y="0"/>
                    <a:pt x="110" y="0"/>
                  </a:cubicBezTo>
                  <a:cubicBezTo>
                    <a:pt x="244" y="27"/>
                    <a:pt x="244" y="27"/>
                    <a:pt x="244" y="27"/>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íṣḻíḋe">
              <a:extLst>
                <a:ext uri="{FF2B5EF4-FFF2-40B4-BE49-F238E27FC236}">
                  <a16:creationId xmlns:a16="http://schemas.microsoft.com/office/drawing/2014/main" id="{4B7538D3-707C-42E6-AC29-97FA1820EA67}"/>
                </a:ext>
              </a:extLst>
            </p:cNvPr>
            <p:cNvSpPr/>
            <p:nvPr/>
          </p:nvSpPr>
          <p:spPr bwMode="auto">
            <a:xfrm>
              <a:off x="7370763" y="4659313"/>
              <a:ext cx="100013" cy="425450"/>
            </a:xfrm>
            <a:custGeom>
              <a:avLst/>
              <a:gdLst>
                <a:gd name="T0" fmla="*/ 2 w 72"/>
                <a:gd name="T1" fmla="*/ 291 h 307"/>
                <a:gd name="T2" fmla="*/ 0 w 72"/>
                <a:gd name="T3" fmla="*/ 307 h 307"/>
                <a:gd name="T4" fmla="*/ 0 w 72"/>
                <a:gd name="T5" fmla="*/ 307 h 307"/>
                <a:gd name="T6" fmla="*/ 0 w 72"/>
                <a:gd name="T7" fmla="*/ 307 h 307"/>
                <a:gd name="T8" fmla="*/ 2 w 72"/>
                <a:gd name="T9" fmla="*/ 291 h 307"/>
                <a:gd name="T10" fmla="*/ 9 w 72"/>
                <a:gd name="T11" fmla="*/ 223 h 307"/>
                <a:gd name="T12" fmla="*/ 9 w 72"/>
                <a:gd name="T13" fmla="*/ 225 h 307"/>
                <a:gd name="T14" fmla="*/ 9 w 72"/>
                <a:gd name="T15" fmla="*/ 225 h 307"/>
                <a:gd name="T16" fmla="*/ 9 w 72"/>
                <a:gd name="T17" fmla="*/ 223 h 307"/>
                <a:gd name="T18" fmla="*/ 41 w 72"/>
                <a:gd name="T19" fmla="*/ 71 h 307"/>
                <a:gd name="T20" fmla="*/ 29 w 72"/>
                <a:gd name="T21" fmla="*/ 97 h 307"/>
                <a:gd name="T22" fmla="*/ 41 w 72"/>
                <a:gd name="T23" fmla="*/ 71 h 307"/>
                <a:gd name="T24" fmla="*/ 72 w 72"/>
                <a:gd name="T25" fmla="*/ 0 h 307"/>
                <a:gd name="T26" fmla="*/ 70 w 72"/>
                <a:gd name="T27" fmla="*/ 6 h 307"/>
                <a:gd name="T28" fmla="*/ 70 w 72"/>
                <a:gd name="T29" fmla="*/ 6 h 307"/>
                <a:gd name="T30" fmla="*/ 41 w 72"/>
                <a:gd name="T31" fmla="*/ 71 h 307"/>
                <a:gd name="T32" fmla="*/ 70 w 72"/>
                <a:gd name="T33" fmla="*/ 6 h 307"/>
                <a:gd name="T34" fmla="*/ 72 w 72"/>
                <a:gd name="T35" fmla="*/ 0 h 307"/>
                <a:gd name="T36" fmla="*/ 72 w 72"/>
                <a:gd name="T3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307">
                  <a:moveTo>
                    <a:pt x="2" y="291"/>
                  </a:moveTo>
                  <a:cubicBezTo>
                    <a:pt x="1" y="296"/>
                    <a:pt x="1" y="302"/>
                    <a:pt x="0" y="307"/>
                  </a:cubicBezTo>
                  <a:cubicBezTo>
                    <a:pt x="0" y="307"/>
                    <a:pt x="0" y="307"/>
                    <a:pt x="0" y="307"/>
                  </a:cubicBezTo>
                  <a:cubicBezTo>
                    <a:pt x="0" y="307"/>
                    <a:pt x="0" y="307"/>
                    <a:pt x="0" y="307"/>
                  </a:cubicBezTo>
                  <a:cubicBezTo>
                    <a:pt x="1" y="302"/>
                    <a:pt x="1" y="296"/>
                    <a:pt x="2" y="291"/>
                  </a:cubicBezTo>
                  <a:moveTo>
                    <a:pt x="9" y="223"/>
                  </a:moveTo>
                  <a:cubicBezTo>
                    <a:pt x="9" y="224"/>
                    <a:pt x="9" y="224"/>
                    <a:pt x="9" y="225"/>
                  </a:cubicBezTo>
                  <a:cubicBezTo>
                    <a:pt x="9" y="225"/>
                    <a:pt x="9" y="225"/>
                    <a:pt x="9" y="225"/>
                  </a:cubicBezTo>
                  <a:cubicBezTo>
                    <a:pt x="9" y="224"/>
                    <a:pt x="9" y="224"/>
                    <a:pt x="9" y="223"/>
                  </a:cubicBezTo>
                  <a:moveTo>
                    <a:pt x="41" y="71"/>
                  </a:moveTo>
                  <a:cubicBezTo>
                    <a:pt x="37" y="79"/>
                    <a:pt x="32" y="88"/>
                    <a:pt x="29" y="97"/>
                  </a:cubicBezTo>
                  <a:cubicBezTo>
                    <a:pt x="33" y="88"/>
                    <a:pt x="37" y="79"/>
                    <a:pt x="41" y="71"/>
                  </a:cubicBezTo>
                  <a:moveTo>
                    <a:pt x="72" y="0"/>
                  </a:moveTo>
                  <a:cubicBezTo>
                    <a:pt x="71" y="2"/>
                    <a:pt x="70" y="4"/>
                    <a:pt x="70" y="6"/>
                  </a:cubicBezTo>
                  <a:cubicBezTo>
                    <a:pt x="70" y="6"/>
                    <a:pt x="70" y="6"/>
                    <a:pt x="70" y="6"/>
                  </a:cubicBezTo>
                  <a:cubicBezTo>
                    <a:pt x="61" y="29"/>
                    <a:pt x="48" y="61"/>
                    <a:pt x="41" y="71"/>
                  </a:cubicBezTo>
                  <a:cubicBezTo>
                    <a:pt x="48" y="61"/>
                    <a:pt x="61" y="29"/>
                    <a:pt x="70" y="6"/>
                  </a:cubicBezTo>
                  <a:cubicBezTo>
                    <a:pt x="70" y="4"/>
                    <a:pt x="71" y="2"/>
                    <a:pt x="72" y="0"/>
                  </a:cubicBezTo>
                  <a:cubicBezTo>
                    <a:pt x="72" y="0"/>
                    <a:pt x="72" y="0"/>
                    <a:pt x="72"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ṥḷíḍé">
              <a:extLst>
                <a:ext uri="{FF2B5EF4-FFF2-40B4-BE49-F238E27FC236}">
                  <a16:creationId xmlns:a16="http://schemas.microsoft.com/office/drawing/2014/main" id="{0A3561A0-260A-4C70-8294-2D941A98EA22}"/>
                </a:ext>
              </a:extLst>
            </p:cNvPr>
            <p:cNvSpPr/>
            <p:nvPr/>
          </p:nvSpPr>
          <p:spPr bwMode="auto">
            <a:xfrm>
              <a:off x="7332663" y="4660901"/>
              <a:ext cx="134938" cy="423863"/>
            </a:xfrm>
            <a:custGeom>
              <a:avLst/>
              <a:gdLst>
                <a:gd name="T0" fmla="*/ 0 w 97"/>
                <a:gd name="T1" fmla="*/ 0 h 305"/>
                <a:gd name="T2" fmla="*/ 0 w 97"/>
                <a:gd name="T3" fmla="*/ 0 h 305"/>
                <a:gd name="T4" fmla="*/ 0 w 97"/>
                <a:gd name="T5" fmla="*/ 1 h 305"/>
                <a:gd name="T6" fmla="*/ 10 w 97"/>
                <a:gd name="T7" fmla="*/ 109 h 305"/>
                <a:gd name="T8" fmla="*/ 20 w 97"/>
                <a:gd name="T9" fmla="*/ 203 h 305"/>
                <a:gd name="T10" fmla="*/ 19 w 97"/>
                <a:gd name="T11" fmla="*/ 252 h 305"/>
                <a:gd name="T12" fmla="*/ 27 w 97"/>
                <a:gd name="T13" fmla="*/ 305 h 305"/>
                <a:gd name="T14" fmla="*/ 29 w 97"/>
                <a:gd name="T15" fmla="*/ 289 h 305"/>
                <a:gd name="T16" fmla="*/ 36 w 97"/>
                <a:gd name="T17" fmla="*/ 223 h 305"/>
                <a:gd name="T18" fmla="*/ 36 w 97"/>
                <a:gd name="T19" fmla="*/ 223 h 305"/>
                <a:gd name="T20" fmla="*/ 36 w 97"/>
                <a:gd name="T21" fmla="*/ 223 h 305"/>
                <a:gd name="T22" fmla="*/ 36 w 97"/>
                <a:gd name="T23" fmla="*/ 221 h 305"/>
                <a:gd name="T24" fmla="*/ 39 w 97"/>
                <a:gd name="T25" fmla="*/ 180 h 305"/>
                <a:gd name="T26" fmla="*/ 49 w 97"/>
                <a:gd name="T27" fmla="*/ 117 h 305"/>
                <a:gd name="T28" fmla="*/ 56 w 97"/>
                <a:gd name="T29" fmla="*/ 95 h 305"/>
                <a:gd name="T30" fmla="*/ 68 w 97"/>
                <a:gd name="T31" fmla="*/ 69 h 305"/>
                <a:gd name="T32" fmla="*/ 68 w 97"/>
                <a:gd name="T33" fmla="*/ 69 h 305"/>
                <a:gd name="T34" fmla="*/ 68 w 97"/>
                <a:gd name="T35" fmla="*/ 69 h 305"/>
                <a:gd name="T36" fmla="*/ 97 w 97"/>
                <a:gd name="T37" fmla="*/ 4 h 305"/>
                <a:gd name="T38" fmla="*/ 0 w 97"/>
                <a:gd name="T3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305">
                  <a:moveTo>
                    <a:pt x="0" y="0"/>
                  </a:moveTo>
                  <a:cubicBezTo>
                    <a:pt x="0" y="0"/>
                    <a:pt x="0" y="0"/>
                    <a:pt x="0" y="0"/>
                  </a:cubicBezTo>
                  <a:cubicBezTo>
                    <a:pt x="0" y="0"/>
                    <a:pt x="0" y="1"/>
                    <a:pt x="0" y="1"/>
                  </a:cubicBezTo>
                  <a:cubicBezTo>
                    <a:pt x="0" y="34"/>
                    <a:pt x="5" y="93"/>
                    <a:pt x="10" y="109"/>
                  </a:cubicBezTo>
                  <a:cubicBezTo>
                    <a:pt x="17" y="131"/>
                    <a:pt x="23" y="197"/>
                    <a:pt x="20" y="203"/>
                  </a:cubicBezTo>
                  <a:cubicBezTo>
                    <a:pt x="18" y="210"/>
                    <a:pt x="19" y="252"/>
                    <a:pt x="19" y="252"/>
                  </a:cubicBezTo>
                  <a:cubicBezTo>
                    <a:pt x="24" y="270"/>
                    <a:pt x="26" y="287"/>
                    <a:pt x="27" y="305"/>
                  </a:cubicBezTo>
                  <a:cubicBezTo>
                    <a:pt x="28" y="300"/>
                    <a:pt x="28" y="294"/>
                    <a:pt x="29" y="289"/>
                  </a:cubicBezTo>
                  <a:cubicBezTo>
                    <a:pt x="33" y="255"/>
                    <a:pt x="36" y="228"/>
                    <a:pt x="36" y="223"/>
                  </a:cubicBezTo>
                  <a:cubicBezTo>
                    <a:pt x="36" y="223"/>
                    <a:pt x="36" y="223"/>
                    <a:pt x="36" y="223"/>
                  </a:cubicBezTo>
                  <a:cubicBezTo>
                    <a:pt x="36" y="223"/>
                    <a:pt x="36" y="223"/>
                    <a:pt x="36" y="223"/>
                  </a:cubicBezTo>
                  <a:cubicBezTo>
                    <a:pt x="36" y="222"/>
                    <a:pt x="36" y="222"/>
                    <a:pt x="36" y="221"/>
                  </a:cubicBezTo>
                  <a:cubicBezTo>
                    <a:pt x="36" y="208"/>
                    <a:pt x="37" y="194"/>
                    <a:pt x="39" y="180"/>
                  </a:cubicBezTo>
                  <a:cubicBezTo>
                    <a:pt x="49" y="117"/>
                    <a:pt x="49" y="117"/>
                    <a:pt x="49" y="117"/>
                  </a:cubicBezTo>
                  <a:cubicBezTo>
                    <a:pt x="49" y="117"/>
                    <a:pt x="52" y="107"/>
                    <a:pt x="56" y="95"/>
                  </a:cubicBezTo>
                  <a:cubicBezTo>
                    <a:pt x="59" y="86"/>
                    <a:pt x="64" y="77"/>
                    <a:pt x="68" y="69"/>
                  </a:cubicBezTo>
                  <a:cubicBezTo>
                    <a:pt x="68" y="69"/>
                    <a:pt x="68" y="69"/>
                    <a:pt x="68" y="69"/>
                  </a:cubicBezTo>
                  <a:cubicBezTo>
                    <a:pt x="68" y="69"/>
                    <a:pt x="68" y="69"/>
                    <a:pt x="68" y="69"/>
                  </a:cubicBezTo>
                  <a:cubicBezTo>
                    <a:pt x="75" y="59"/>
                    <a:pt x="88" y="27"/>
                    <a:pt x="97" y="4"/>
                  </a:cubicBezTo>
                  <a:cubicBezTo>
                    <a:pt x="70" y="2"/>
                    <a:pt x="34" y="1"/>
                    <a:pt x="0"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ïš1ïḋé">
              <a:extLst>
                <a:ext uri="{FF2B5EF4-FFF2-40B4-BE49-F238E27FC236}">
                  <a16:creationId xmlns:a16="http://schemas.microsoft.com/office/drawing/2014/main" id="{6545C25C-FFAF-401E-849C-4B162AEDF945}"/>
                </a:ext>
              </a:extLst>
            </p:cNvPr>
            <p:cNvSpPr/>
            <p:nvPr/>
          </p:nvSpPr>
          <p:spPr bwMode="auto">
            <a:xfrm>
              <a:off x="7202488" y="5124451"/>
              <a:ext cx="82550" cy="252413"/>
            </a:xfrm>
            <a:custGeom>
              <a:avLst/>
              <a:gdLst>
                <a:gd name="T0" fmla="*/ 58 w 59"/>
                <a:gd name="T1" fmla="*/ 174 h 182"/>
                <a:gd name="T2" fmla="*/ 55 w 59"/>
                <a:gd name="T3" fmla="*/ 182 h 182"/>
                <a:gd name="T4" fmla="*/ 59 w 59"/>
                <a:gd name="T5" fmla="*/ 174 h 182"/>
                <a:gd name="T6" fmla="*/ 58 w 59"/>
                <a:gd name="T7" fmla="*/ 174 h 182"/>
                <a:gd name="T8" fmla="*/ 13 w 59"/>
                <a:gd name="T9" fmla="*/ 0 h 182"/>
                <a:gd name="T10" fmla="*/ 13 w 59"/>
                <a:gd name="T11" fmla="*/ 1 h 182"/>
                <a:gd name="T12" fmla="*/ 0 w 59"/>
                <a:gd name="T13" fmla="*/ 176 h 182"/>
                <a:gd name="T14" fmla="*/ 13 w 59"/>
                <a:gd name="T15" fmla="*/ 1 h 182"/>
                <a:gd name="T16" fmla="*/ 13 w 59"/>
                <a:gd name="T17" fmla="*/ 1 h 182"/>
                <a:gd name="T18" fmla="*/ 13 w 59"/>
                <a:gd name="T19"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82">
                  <a:moveTo>
                    <a:pt x="58" y="174"/>
                  </a:moveTo>
                  <a:cubicBezTo>
                    <a:pt x="57" y="176"/>
                    <a:pt x="56" y="179"/>
                    <a:pt x="55" y="182"/>
                  </a:cubicBezTo>
                  <a:cubicBezTo>
                    <a:pt x="56" y="179"/>
                    <a:pt x="57" y="176"/>
                    <a:pt x="59" y="174"/>
                  </a:cubicBezTo>
                  <a:cubicBezTo>
                    <a:pt x="58" y="174"/>
                    <a:pt x="58" y="174"/>
                    <a:pt x="58" y="174"/>
                  </a:cubicBezTo>
                  <a:moveTo>
                    <a:pt x="13" y="0"/>
                  </a:moveTo>
                  <a:cubicBezTo>
                    <a:pt x="13" y="0"/>
                    <a:pt x="13" y="0"/>
                    <a:pt x="13" y="1"/>
                  </a:cubicBezTo>
                  <a:cubicBezTo>
                    <a:pt x="9" y="53"/>
                    <a:pt x="0" y="159"/>
                    <a:pt x="0" y="176"/>
                  </a:cubicBezTo>
                  <a:cubicBezTo>
                    <a:pt x="0" y="159"/>
                    <a:pt x="9" y="53"/>
                    <a:pt x="13" y="1"/>
                  </a:cubicBezTo>
                  <a:cubicBezTo>
                    <a:pt x="13" y="1"/>
                    <a:pt x="13" y="1"/>
                    <a:pt x="13" y="1"/>
                  </a:cubicBezTo>
                  <a:cubicBezTo>
                    <a:pt x="13" y="1"/>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ïšliḑé">
              <a:extLst>
                <a:ext uri="{FF2B5EF4-FFF2-40B4-BE49-F238E27FC236}">
                  <a16:creationId xmlns:a16="http://schemas.microsoft.com/office/drawing/2014/main" id="{9CB5D8FC-1F70-46AC-830C-11FABE880B2A}"/>
                </a:ext>
              </a:extLst>
            </p:cNvPr>
            <p:cNvSpPr/>
            <p:nvPr/>
          </p:nvSpPr>
          <p:spPr bwMode="auto">
            <a:xfrm>
              <a:off x="7180263" y="5400676"/>
              <a:ext cx="17463" cy="38100"/>
            </a:xfrm>
            <a:custGeom>
              <a:avLst/>
              <a:gdLst>
                <a:gd name="T0" fmla="*/ 12 w 12"/>
                <a:gd name="T1" fmla="*/ 0 h 27"/>
                <a:gd name="T2" fmla="*/ 12 w 12"/>
                <a:gd name="T3" fmla="*/ 0 h 27"/>
                <a:gd name="T4" fmla="*/ 5 w 12"/>
                <a:gd name="T5" fmla="*/ 14 h 27"/>
                <a:gd name="T6" fmla="*/ 0 w 12"/>
                <a:gd name="T7" fmla="*/ 27 h 27"/>
                <a:gd name="T8" fmla="*/ 0 w 12"/>
                <a:gd name="T9" fmla="*/ 27 h 27"/>
                <a:gd name="T10" fmla="*/ 5 w 12"/>
                <a:gd name="T11" fmla="*/ 14 h 27"/>
                <a:gd name="T12" fmla="*/ 12 w 12"/>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12" y="0"/>
                  </a:moveTo>
                  <a:cubicBezTo>
                    <a:pt x="12" y="0"/>
                    <a:pt x="12" y="0"/>
                    <a:pt x="12" y="0"/>
                  </a:cubicBezTo>
                  <a:cubicBezTo>
                    <a:pt x="9" y="7"/>
                    <a:pt x="5" y="14"/>
                    <a:pt x="5" y="14"/>
                  </a:cubicBezTo>
                  <a:cubicBezTo>
                    <a:pt x="5" y="15"/>
                    <a:pt x="2" y="21"/>
                    <a:pt x="0" y="27"/>
                  </a:cubicBezTo>
                  <a:cubicBezTo>
                    <a:pt x="0" y="27"/>
                    <a:pt x="0" y="27"/>
                    <a:pt x="0" y="27"/>
                  </a:cubicBezTo>
                  <a:cubicBezTo>
                    <a:pt x="2" y="21"/>
                    <a:pt x="5" y="15"/>
                    <a:pt x="5" y="14"/>
                  </a:cubicBezTo>
                  <a:cubicBezTo>
                    <a:pt x="5" y="14"/>
                    <a:pt x="9" y="7"/>
                    <a:pt x="12"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ṡlíḓè">
              <a:extLst>
                <a:ext uri="{FF2B5EF4-FFF2-40B4-BE49-F238E27FC236}">
                  <a16:creationId xmlns:a16="http://schemas.microsoft.com/office/drawing/2014/main" id="{E177208F-9A04-430F-9B80-D7C215550F3D}"/>
                </a:ext>
              </a:extLst>
            </p:cNvPr>
            <p:cNvSpPr/>
            <p:nvPr/>
          </p:nvSpPr>
          <p:spPr bwMode="auto">
            <a:xfrm>
              <a:off x="7197725" y="5375276"/>
              <a:ext cx="6350" cy="25400"/>
            </a:xfrm>
            <a:custGeom>
              <a:avLst/>
              <a:gdLst>
                <a:gd name="T0" fmla="*/ 5 w 5"/>
                <a:gd name="T1" fmla="*/ 0 h 18"/>
                <a:gd name="T2" fmla="*/ 0 w 5"/>
                <a:gd name="T3" fmla="*/ 18 h 18"/>
                <a:gd name="T4" fmla="*/ 0 w 5"/>
                <a:gd name="T5" fmla="*/ 18 h 18"/>
                <a:gd name="T6" fmla="*/ 5 w 5"/>
                <a:gd name="T7" fmla="*/ 0 h 18"/>
              </a:gdLst>
              <a:ahLst/>
              <a:cxnLst>
                <a:cxn ang="0">
                  <a:pos x="T0" y="T1"/>
                </a:cxn>
                <a:cxn ang="0">
                  <a:pos x="T2" y="T3"/>
                </a:cxn>
                <a:cxn ang="0">
                  <a:pos x="T4" y="T5"/>
                </a:cxn>
                <a:cxn ang="0">
                  <a:pos x="T6" y="T7"/>
                </a:cxn>
              </a:cxnLst>
              <a:rect l="0" t="0" r="r" b="b"/>
              <a:pathLst>
                <a:path w="5" h="18">
                  <a:moveTo>
                    <a:pt x="5" y="0"/>
                  </a:moveTo>
                  <a:cubicBezTo>
                    <a:pt x="5" y="5"/>
                    <a:pt x="2" y="12"/>
                    <a:pt x="0" y="18"/>
                  </a:cubicBezTo>
                  <a:cubicBezTo>
                    <a:pt x="0" y="18"/>
                    <a:pt x="0" y="18"/>
                    <a:pt x="0" y="18"/>
                  </a:cubicBezTo>
                  <a:cubicBezTo>
                    <a:pt x="2" y="12"/>
                    <a:pt x="5" y="5"/>
                    <a:pt x="5"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šḷiďè">
              <a:extLst>
                <a:ext uri="{FF2B5EF4-FFF2-40B4-BE49-F238E27FC236}">
                  <a16:creationId xmlns:a16="http://schemas.microsoft.com/office/drawing/2014/main" id="{6EAA924A-D78E-488E-B373-72BE6A8886C0}"/>
                </a:ext>
              </a:extLst>
            </p:cNvPr>
            <p:cNvSpPr/>
            <p:nvPr/>
          </p:nvSpPr>
          <p:spPr bwMode="auto">
            <a:xfrm>
              <a:off x="7269163" y="5419726"/>
              <a:ext cx="1588" cy="19050"/>
            </a:xfrm>
            <a:custGeom>
              <a:avLst/>
              <a:gdLst>
                <a:gd name="T0" fmla="*/ 0 w 1"/>
                <a:gd name="T1" fmla="*/ 0 h 13"/>
                <a:gd name="T2" fmla="*/ 0 w 1"/>
                <a:gd name="T3" fmla="*/ 2 h 13"/>
                <a:gd name="T4" fmla="*/ 1 w 1"/>
                <a:gd name="T5" fmla="*/ 13 h 13"/>
                <a:gd name="T6" fmla="*/ 0 w 1"/>
                <a:gd name="T7" fmla="*/ 2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1"/>
                    <a:pt x="0" y="2"/>
                    <a:pt x="0" y="2"/>
                  </a:cubicBezTo>
                  <a:cubicBezTo>
                    <a:pt x="1" y="5"/>
                    <a:pt x="1" y="9"/>
                    <a:pt x="1" y="13"/>
                  </a:cubicBezTo>
                  <a:cubicBezTo>
                    <a:pt x="1" y="9"/>
                    <a:pt x="1" y="5"/>
                    <a:pt x="0" y="2"/>
                  </a:cubicBezTo>
                  <a:cubicBezTo>
                    <a:pt x="0" y="1"/>
                    <a:pt x="0" y="1"/>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ṥlídê">
              <a:extLst>
                <a:ext uri="{FF2B5EF4-FFF2-40B4-BE49-F238E27FC236}">
                  <a16:creationId xmlns:a16="http://schemas.microsoft.com/office/drawing/2014/main" id="{B9ED2A32-4F9B-403C-952C-963280A56213}"/>
                </a:ext>
              </a:extLst>
            </p:cNvPr>
            <p:cNvSpPr/>
            <p:nvPr/>
          </p:nvSpPr>
          <p:spPr bwMode="auto">
            <a:xfrm>
              <a:off x="7143750" y="5438776"/>
              <a:ext cx="114300" cy="184150"/>
            </a:xfrm>
            <a:custGeom>
              <a:avLst/>
              <a:gdLst>
                <a:gd name="T0" fmla="*/ 79 w 82"/>
                <a:gd name="T1" fmla="*/ 97 h 133"/>
                <a:gd name="T2" fmla="*/ 82 w 82"/>
                <a:gd name="T3" fmla="*/ 133 h 133"/>
                <a:gd name="T4" fmla="*/ 79 w 82"/>
                <a:gd name="T5" fmla="*/ 97 h 133"/>
                <a:gd name="T6" fmla="*/ 25 w 82"/>
                <a:gd name="T7" fmla="*/ 14 h 133"/>
                <a:gd name="T8" fmla="*/ 16 w 82"/>
                <a:gd name="T9" fmla="*/ 43 h 133"/>
                <a:gd name="T10" fmla="*/ 9 w 82"/>
                <a:gd name="T11" fmla="*/ 84 h 133"/>
                <a:gd name="T12" fmla="*/ 0 w 82"/>
                <a:gd name="T13" fmla="*/ 133 h 133"/>
                <a:gd name="T14" fmla="*/ 9 w 82"/>
                <a:gd name="T15" fmla="*/ 84 h 133"/>
                <a:gd name="T16" fmla="*/ 16 w 82"/>
                <a:gd name="T17" fmla="*/ 43 h 133"/>
                <a:gd name="T18" fmla="*/ 25 w 82"/>
                <a:gd name="T19" fmla="*/ 14 h 133"/>
                <a:gd name="T20" fmla="*/ 26 w 82"/>
                <a:gd name="T21" fmla="*/ 0 h 133"/>
                <a:gd name="T22" fmla="*/ 26 w 82"/>
                <a:gd name="T23" fmla="*/ 0 h 133"/>
                <a:gd name="T24" fmla="*/ 25 w 82"/>
                <a:gd name="T25" fmla="*/ 13 h 133"/>
                <a:gd name="T26" fmla="*/ 26 w 82"/>
                <a:gd name="T2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79" y="97"/>
                  </a:moveTo>
                  <a:cubicBezTo>
                    <a:pt x="79" y="106"/>
                    <a:pt x="82" y="123"/>
                    <a:pt x="82" y="133"/>
                  </a:cubicBezTo>
                  <a:cubicBezTo>
                    <a:pt x="82" y="123"/>
                    <a:pt x="79" y="106"/>
                    <a:pt x="79" y="97"/>
                  </a:cubicBezTo>
                  <a:moveTo>
                    <a:pt x="25" y="14"/>
                  </a:moveTo>
                  <a:cubicBezTo>
                    <a:pt x="28" y="21"/>
                    <a:pt x="16" y="43"/>
                    <a:pt x="16" y="43"/>
                  </a:cubicBezTo>
                  <a:cubicBezTo>
                    <a:pt x="9" y="84"/>
                    <a:pt x="9" y="84"/>
                    <a:pt x="9" y="84"/>
                  </a:cubicBezTo>
                  <a:cubicBezTo>
                    <a:pt x="9" y="84"/>
                    <a:pt x="0" y="120"/>
                    <a:pt x="0" y="133"/>
                  </a:cubicBezTo>
                  <a:cubicBezTo>
                    <a:pt x="0" y="120"/>
                    <a:pt x="9" y="84"/>
                    <a:pt x="9" y="84"/>
                  </a:cubicBezTo>
                  <a:cubicBezTo>
                    <a:pt x="16" y="43"/>
                    <a:pt x="16" y="43"/>
                    <a:pt x="16" y="43"/>
                  </a:cubicBezTo>
                  <a:cubicBezTo>
                    <a:pt x="16" y="43"/>
                    <a:pt x="28" y="21"/>
                    <a:pt x="25" y="14"/>
                  </a:cubicBezTo>
                  <a:moveTo>
                    <a:pt x="26" y="0"/>
                  </a:moveTo>
                  <a:cubicBezTo>
                    <a:pt x="26" y="0"/>
                    <a:pt x="26" y="0"/>
                    <a:pt x="26" y="0"/>
                  </a:cubicBezTo>
                  <a:cubicBezTo>
                    <a:pt x="25" y="4"/>
                    <a:pt x="24" y="10"/>
                    <a:pt x="25" y="13"/>
                  </a:cubicBezTo>
                  <a:cubicBezTo>
                    <a:pt x="24" y="10"/>
                    <a:pt x="25" y="4"/>
                    <a:pt x="26"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íśḷiḓè">
              <a:extLst>
                <a:ext uri="{FF2B5EF4-FFF2-40B4-BE49-F238E27FC236}">
                  <a16:creationId xmlns:a16="http://schemas.microsoft.com/office/drawing/2014/main" id="{57D01C44-B29A-4637-BC72-32B89D800644}"/>
                </a:ext>
              </a:extLst>
            </p:cNvPr>
            <p:cNvSpPr/>
            <p:nvPr/>
          </p:nvSpPr>
          <p:spPr bwMode="auto">
            <a:xfrm>
              <a:off x="7143750" y="5126038"/>
              <a:ext cx="139700" cy="512763"/>
            </a:xfrm>
            <a:custGeom>
              <a:avLst/>
              <a:gdLst>
                <a:gd name="T0" fmla="*/ 55 w 100"/>
                <a:gd name="T1" fmla="*/ 0 h 369"/>
                <a:gd name="T2" fmla="*/ 42 w 100"/>
                <a:gd name="T3" fmla="*/ 175 h 369"/>
                <a:gd name="T4" fmla="*/ 42 w 100"/>
                <a:gd name="T5" fmla="*/ 178 h 369"/>
                <a:gd name="T6" fmla="*/ 43 w 100"/>
                <a:gd name="T7" fmla="*/ 180 h 369"/>
                <a:gd name="T8" fmla="*/ 38 w 100"/>
                <a:gd name="T9" fmla="*/ 198 h 369"/>
                <a:gd name="T10" fmla="*/ 31 w 100"/>
                <a:gd name="T11" fmla="*/ 212 h 369"/>
                <a:gd name="T12" fmla="*/ 26 w 100"/>
                <a:gd name="T13" fmla="*/ 225 h 369"/>
                <a:gd name="T14" fmla="*/ 25 w 100"/>
                <a:gd name="T15" fmla="*/ 238 h 369"/>
                <a:gd name="T16" fmla="*/ 25 w 100"/>
                <a:gd name="T17" fmla="*/ 238 h 369"/>
                <a:gd name="T18" fmla="*/ 25 w 100"/>
                <a:gd name="T19" fmla="*/ 239 h 369"/>
                <a:gd name="T20" fmla="*/ 16 w 100"/>
                <a:gd name="T21" fmla="*/ 268 h 369"/>
                <a:gd name="T22" fmla="*/ 9 w 100"/>
                <a:gd name="T23" fmla="*/ 309 h 369"/>
                <a:gd name="T24" fmla="*/ 0 w 100"/>
                <a:gd name="T25" fmla="*/ 358 h 369"/>
                <a:gd name="T26" fmla="*/ 0 w 100"/>
                <a:gd name="T27" fmla="*/ 360 h 369"/>
                <a:gd name="T28" fmla="*/ 55 w 100"/>
                <a:gd name="T29" fmla="*/ 369 h 369"/>
                <a:gd name="T30" fmla="*/ 80 w 100"/>
                <a:gd name="T31" fmla="*/ 366 h 369"/>
                <a:gd name="T32" fmla="*/ 82 w 100"/>
                <a:gd name="T33" fmla="*/ 358 h 369"/>
                <a:gd name="T34" fmla="*/ 79 w 100"/>
                <a:gd name="T35" fmla="*/ 322 h 369"/>
                <a:gd name="T36" fmla="*/ 80 w 100"/>
                <a:gd name="T37" fmla="*/ 320 h 369"/>
                <a:gd name="T38" fmla="*/ 82 w 100"/>
                <a:gd name="T39" fmla="*/ 261 h 369"/>
                <a:gd name="T40" fmla="*/ 91 w 100"/>
                <a:gd name="T41" fmla="*/ 225 h 369"/>
                <a:gd name="T42" fmla="*/ 90 w 100"/>
                <a:gd name="T43" fmla="*/ 214 h 369"/>
                <a:gd name="T44" fmla="*/ 90 w 100"/>
                <a:gd name="T45" fmla="*/ 212 h 369"/>
                <a:gd name="T46" fmla="*/ 97 w 100"/>
                <a:gd name="T47" fmla="*/ 181 h 369"/>
                <a:gd name="T48" fmla="*/ 100 w 100"/>
                <a:gd name="T49" fmla="*/ 173 h 369"/>
                <a:gd name="T50" fmla="*/ 93 w 100"/>
                <a:gd name="T51" fmla="*/ 151 h 369"/>
                <a:gd name="T52" fmla="*/ 55 w 100"/>
                <a:gd name="T53"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69">
                  <a:moveTo>
                    <a:pt x="55" y="0"/>
                  </a:moveTo>
                  <a:cubicBezTo>
                    <a:pt x="51" y="52"/>
                    <a:pt x="42" y="158"/>
                    <a:pt x="42" y="175"/>
                  </a:cubicBezTo>
                  <a:cubicBezTo>
                    <a:pt x="42" y="176"/>
                    <a:pt x="42" y="177"/>
                    <a:pt x="42" y="178"/>
                  </a:cubicBezTo>
                  <a:cubicBezTo>
                    <a:pt x="43" y="178"/>
                    <a:pt x="43" y="179"/>
                    <a:pt x="43" y="180"/>
                  </a:cubicBezTo>
                  <a:cubicBezTo>
                    <a:pt x="43" y="185"/>
                    <a:pt x="40" y="192"/>
                    <a:pt x="38" y="198"/>
                  </a:cubicBezTo>
                  <a:cubicBezTo>
                    <a:pt x="35" y="205"/>
                    <a:pt x="31" y="212"/>
                    <a:pt x="31" y="212"/>
                  </a:cubicBezTo>
                  <a:cubicBezTo>
                    <a:pt x="31" y="213"/>
                    <a:pt x="28" y="219"/>
                    <a:pt x="26" y="225"/>
                  </a:cubicBezTo>
                  <a:cubicBezTo>
                    <a:pt x="25" y="229"/>
                    <a:pt x="24" y="235"/>
                    <a:pt x="25" y="238"/>
                  </a:cubicBezTo>
                  <a:cubicBezTo>
                    <a:pt x="25" y="238"/>
                    <a:pt x="25" y="238"/>
                    <a:pt x="25" y="238"/>
                  </a:cubicBezTo>
                  <a:cubicBezTo>
                    <a:pt x="25" y="238"/>
                    <a:pt x="25" y="238"/>
                    <a:pt x="25" y="239"/>
                  </a:cubicBezTo>
                  <a:cubicBezTo>
                    <a:pt x="28" y="246"/>
                    <a:pt x="16" y="268"/>
                    <a:pt x="16" y="268"/>
                  </a:cubicBezTo>
                  <a:cubicBezTo>
                    <a:pt x="9" y="309"/>
                    <a:pt x="9" y="309"/>
                    <a:pt x="9" y="309"/>
                  </a:cubicBezTo>
                  <a:cubicBezTo>
                    <a:pt x="9" y="309"/>
                    <a:pt x="0" y="345"/>
                    <a:pt x="0" y="358"/>
                  </a:cubicBezTo>
                  <a:cubicBezTo>
                    <a:pt x="0" y="359"/>
                    <a:pt x="0" y="360"/>
                    <a:pt x="0" y="360"/>
                  </a:cubicBezTo>
                  <a:cubicBezTo>
                    <a:pt x="2" y="366"/>
                    <a:pt x="32" y="369"/>
                    <a:pt x="55" y="369"/>
                  </a:cubicBezTo>
                  <a:cubicBezTo>
                    <a:pt x="67" y="369"/>
                    <a:pt x="78" y="368"/>
                    <a:pt x="80" y="366"/>
                  </a:cubicBezTo>
                  <a:cubicBezTo>
                    <a:pt x="81" y="365"/>
                    <a:pt x="82" y="362"/>
                    <a:pt x="82" y="358"/>
                  </a:cubicBezTo>
                  <a:cubicBezTo>
                    <a:pt x="82" y="348"/>
                    <a:pt x="79" y="331"/>
                    <a:pt x="79" y="322"/>
                  </a:cubicBezTo>
                  <a:cubicBezTo>
                    <a:pt x="79" y="321"/>
                    <a:pt x="80" y="320"/>
                    <a:pt x="80" y="320"/>
                  </a:cubicBezTo>
                  <a:cubicBezTo>
                    <a:pt x="81" y="309"/>
                    <a:pt x="82" y="261"/>
                    <a:pt x="82" y="261"/>
                  </a:cubicBezTo>
                  <a:cubicBezTo>
                    <a:pt x="87" y="255"/>
                    <a:pt x="91" y="239"/>
                    <a:pt x="91" y="225"/>
                  </a:cubicBezTo>
                  <a:cubicBezTo>
                    <a:pt x="91" y="221"/>
                    <a:pt x="91" y="217"/>
                    <a:pt x="90" y="214"/>
                  </a:cubicBezTo>
                  <a:cubicBezTo>
                    <a:pt x="90" y="214"/>
                    <a:pt x="90" y="213"/>
                    <a:pt x="90" y="212"/>
                  </a:cubicBezTo>
                  <a:cubicBezTo>
                    <a:pt x="89" y="204"/>
                    <a:pt x="93" y="191"/>
                    <a:pt x="97" y="181"/>
                  </a:cubicBezTo>
                  <a:cubicBezTo>
                    <a:pt x="98" y="178"/>
                    <a:pt x="99" y="175"/>
                    <a:pt x="100" y="173"/>
                  </a:cubicBezTo>
                  <a:cubicBezTo>
                    <a:pt x="93" y="151"/>
                    <a:pt x="93" y="151"/>
                    <a:pt x="93" y="151"/>
                  </a:cubicBezTo>
                  <a:cubicBezTo>
                    <a:pt x="82" y="126"/>
                    <a:pt x="66" y="54"/>
                    <a:pt x="55"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iSḻîďè">
              <a:extLst>
                <a:ext uri="{FF2B5EF4-FFF2-40B4-BE49-F238E27FC236}">
                  <a16:creationId xmlns:a16="http://schemas.microsoft.com/office/drawing/2014/main" id="{14F2D828-029F-421A-84E5-566066461B9F}"/>
                </a:ext>
              </a:extLst>
            </p:cNvPr>
            <p:cNvSpPr/>
            <p:nvPr/>
          </p:nvSpPr>
          <p:spPr bwMode="auto">
            <a:xfrm>
              <a:off x="7124700" y="4625976"/>
              <a:ext cx="296863" cy="1046163"/>
            </a:xfrm>
            <a:custGeom>
              <a:avLst/>
              <a:gdLst>
                <a:gd name="T0" fmla="*/ 212 w 213"/>
                <a:gd name="T1" fmla="*/ 739 h 752"/>
                <a:gd name="T2" fmla="*/ 133 w 213"/>
                <a:gd name="T3" fmla="*/ 746 h 752"/>
                <a:gd name="T4" fmla="*/ 133 w 213"/>
                <a:gd name="T5" fmla="*/ 668 h 752"/>
                <a:gd name="T6" fmla="*/ 138 w 213"/>
                <a:gd name="T7" fmla="*/ 634 h 752"/>
                <a:gd name="T8" fmla="*/ 129 w 213"/>
                <a:gd name="T9" fmla="*/ 601 h 752"/>
                <a:gd name="T10" fmla="*/ 126 w 213"/>
                <a:gd name="T11" fmla="*/ 568 h 752"/>
                <a:gd name="T12" fmla="*/ 115 w 213"/>
                <a:gd name="T13" fmla="*/ 532 h 752"/>
                <a:gd name="T14" fmla="*/ 107 w 213"/>
                <a:gd name="T15" fmla="*/ 510 h 752"/>
                <a:gd name="T16" fmla="*/ 69 w 213"/>
                <a:gd name="T17" fmla="*/ 359 h 752"/>
                <a:gd name="T18" fmla="*/ 60 w 213"/>
                <a:gd name="T19" fmla="*/ 295 h 752"/>
                <a:gd name="T20" fmla="*/ 56 w 213"/>
                <a:gd name="T21" fmla="*/ 222 h 752"/>
                <a:gd name="T22" fmla="*/ 37 w 213"/>
                <a:gd name="T23" fmla="*/ 136 h 752"/>
                <a:gd name="T24" fmla="*/ 7 w 213"/>
                <a:gd name="T25" fmla="*/ 39 h 752"/>
                <a:gd name="T26" fmla="*/ 0 w 213"/>
                <a:gd name="T27" fmla="*/ 10 h 752"/>
                <a:gd name="T28" fmla="*/ 119 w 213"/>
                <a:gd name="T29" fmla="*/ 1 h 752"/>
                <a:gd name="T30" fmla="*/ 152 w 213"/>
                <a:gd name="T31" fmla="*/ 2 h 752"/>
                <a:gd name="T32" fmla="*/ 150 w 213"/>
                <a:gd name="T33" fmla="*/ 26 h 752"/>
                <a:gd name="T34" fmla="*/ 160 w 213"/>
                <a:gd name="T35" fmla="*/ 134 h 752"/>
                <a:gd name="T36" fmla="*/ 170 w 213"/>
                <a:gd name="T37" fmla="*/ 228 h 752"/>
                <a:gd name="T38" fmla="*/ 169 w 213"/>
                <a:gd name="T39" fmla="*/ 277 h 752"/>
                <a:gd name="T40" fmla="*/ 177 w 213"/>
                <a:gd name="T41" fmla="*/ 330 h 752"/>
                <a:gd name="T42" fmla="*/ 175 w 213"/>
                <a:gd name="T43" fmla="*/ 426 h 752"/>
                <a:gd name="T44" fmla="*/ 181 w 213"/>
                <a:gd name="T45" fmla="*/ 556 h 752"/>
                <a:gd name="T46" fmla="*/ 196 w 213"/>
                <a:gd name="T47" fmla="*/ 609 h 752"/>
                <a:gd name="T48" fmla="*/ 201 w 213"/>
                <a:gd name="T49" fmla="*/ 663 h 752"/>
                <a:gd name="T50" fmla="*/ 212 w 213"/>
                <a:gd name="T51" fmla="*/ 7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3" h="752">
                  <a:moveTo>
                    <a:pt x="212" y="739"/>
                  </a:moveTo>
                  <a:cubicBezTo>
                    <a:pt x="213" y="744"/>
                    <a:pt x="143" y="752"/>
                    <a:pt x="133" y="746"/>
                  </a:cubicBezTo>
                  <a:cubicBezTo>
                    <a:pt x="123" y="740"/>
                    <a:pt x="133" y="668"/>
                    <a:pt x="133" y="668"/>
                  </a:cubicBezTo>
                  <a:cubicBezTo>
                    <a:pt x="138" y="634"/>
                    <a:pt x="138" y="634"/>
                    <a:pt x="138" y="634"/>
                  </a:cubicBezTo>
                  <a:cubicBezTo>
                    <a:pt x="133" y="634"/>
                    <a:pt x="126" y="607"/>
                    <a:pt x="129" y="601"/>
                  </a:cubicBezTo>
                  <a:cubicBezTo>
                    <a:pt x="132" y="595"/>
                    <a:pt x="126" y="568"/>
                    <a:pt x="126" y="568"/>
                  </a:cubicBezTo>
                  <a:cubicBezTo>
                    <a:pt x="115" y="532"/>
                    <a:pt x="115" y="532"/>
                    <a:pt x="115" y="532"/>
                  </a:cubicBezTo>
                  <a:cubicBezTo>
                    <a:pt x="107" y="510"/>
                    <a:pt x="107" y="510"/>
                    <a:pt x="107" y="510"/>
                  </a:cubicBezTo>
                  <a:cubicBezTo>
                    <a:pt x="96" y="484"/>
                    <a:pt x="79" y="412"/>
                    <a:pt x="69" y="359"/>
                  </a:cubicBezTo>
                  <a:cubicBezTo>
                    <a:pt x="63" y="325"/>
                    <a:pt x="59" y="298"/>
                    <a:pt x="60" y="295"/>
                  </a:cubicBezTo>
                  <a:cubicBezTo>
                    <a:pt x="62" y="286"/>
                    <a:pt x="56" y="222"/>
                    <a:pt x="56" y="222"/>
                  </a:cubicBezTo>
                  <a:cubicBezTo>
                    <a:pt x="56" y="222"/>
                    <a:pt x="48" y="157"/>
                    <a:pt x="37" y="136"/>
                  </a:cubicBezTo>
                  <a:cubicBezTo>
                    <a:pt x="30" y="123"/>
                    <a:pt x="16" y="72"/>
                    <a:pt x="7" y="39"/>
                  </a:cubicBezTo>
                  <a:cubicBezTo>
                    <a:pt x="3" y="22"/>
                    <a:pt x="0" y="10"/>
                    <a:pt x="0" y="10"/>
                  </a:cubicBezTo>
                  <a:cubicBezTo>
                    <a:pt x="0" y="10"/>
                    <a:pt x="74" y="4"/>
                    <a:pt x="119" y="1"/>
                  </a:cubicBezTo>
                  <a:cubicBezTo>
                    <a:pt x="139" y="0"/>
                    <a:pt x="154" y="0"/>
                    <a:pt x="152" y="2"/>
                  </a:cubicBezTo>
                  <a:cubicBezTo>
                    <a:pt x="150" y="4"/>
                    <a:pt x="150" y="13"/>
                    <a:pt x="150" y="26"/>
                  </a:cubicBezTo>
                  <a:cubicBezTo>
                    <a:pt x="150" y="59"/>
                    <a:pt x="155" y="118"/>
                    <a:pt x="160" y="134"/>
                  </a:cubicBezTo>
                  <a:cubicBezTo>
                    <a:pt x="167" y="156"/>
                    <a:pt x="173" y="222"/>
                    <a:pt x="170" y="228"/>
                  </a:cubicBezTo>
                  <a:cubicBezTo>
                    <a:pt x="168" y="235"/>
                    <a:pt x="169" y="277"/>
                    <a:pt x="169" y="277"/>
                  </a:cubicBezTo>
                  <a:cubicBezTo>
                    <a:pt x="174" y="295"/>
                    <a:pt x="176" y="312"/>
                    <a:pt x="177" y="330"/>
                  </a:cubicBezTo>
                  <a:cubicBezTo>
                    <a:pt x="179" y="362"/>
                    <a:pt x="178" y="394"/>
                    <a:pt x="175" y="426"/>
                  </a:cubicBezTo>
                  <a:cubicBezTo>
                    <a:pt x="175" y="426"/>
                    <a:pt x="183" y="545"/>
                    <a:pt x="181" y="556"/>
                  </a:cubicBezTo>
                  <a:cubicBezTo>
                    <a:pt x="179" y="567"/>
                    <a:pt x="196" y="603"/>
                    <a:pt x="196" y="609"/>
                  </a:cubicBezTo>
                  <a:cubicBezTo>
                    <a:pt x="196" y="616"/>
                    <a:pt x="201" y="663"/>
                    <a:pt x="201" y="663"/>
                  </a:cubicBezTo>
                  <a:cubicBezTo>
                    <a:pt x="201" y="663"/>
                    <a:pt x="212" y="734"/>
                    <a:pt x="212" y="739"/>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iṩ1íḍê">
              <a:extLst>
                <a:ext uri="{FF2B5EF4-FFF2-40B4-BE49-F238E27FC236}">
                  <a16:creationId xmlns:a16="http://schemas.microsoft.com/office/drawing/2014/main" id="{02413D67-6682-457B-9B3C-BDAFA34B9EEC}"/>
                </a:ext>
              </a:extLst>
            </p:cNvPr>
            <p:cNvSpPr/>
            <p:nvPr/>
          </p:nvSpPr>
          <p:spPr bwMode="auto">
            <a:xfrm>
              <a:off x="7218363" y="3351213"/>
              <a:ext cx="268288" cy="398463"/>
            </a:xfrm>
            <a:custGeom>
              <a:avLst/>
              <a:gdLst>
                <a:gd name="T0" fmla="*/ 184 w 193"/>
                <a:gd name="T1" fmla="*/ 228 h 287"/>
                <a:gd name="T2" fmla="*/ 175 w 193"/>
                <a:gd name="T3" fmla="*/ 237 h 287"/>
                <a:gd name="T4" fmla="*/ 170 w 193"/>
                <a:gd name="T5" fmla="*/ 243 h 287"/>
                <a:gd name="T6" fmla="*/ 138 w 193"/>
                <a:gd name="T7" fmla="*/ 278 h 287"/>
                <a:gd name="T8" fmla="*/ 55 w 193"/>
                <a:gd name="T9" fmla="*/ 287 h 287"/>
                <a:gd name="T10" fmla="*/ 11 w 193"/>
                <a:gd name="T11" fmla="*/ 275 h 287"/>
                <a:gd name="T12" fmla="*/ 0 w 193"/>
                <a:gd name="T13" fmla="*/ 272 h 287"/>
                <a:gd name="T14" fmla="*/ 2 w 193"/>
                <a:gd name="T15" fmla="*/ 224 h 287"/>
                <a:gd name="T16" fmla="*/ 28 w 193"/>
                <a:gd name="T17" fmla="*/ 137 h 287"/>
                <a:gd name="T18" fmla="*/ 46 w 193"/>
                <a:gd name="T19" fmla="*/ 114 h 287"/>
                <a:gd name="T20" fmla="*/ 54 w 193"/>
                <a:gd name="T21" fmla="*/ 94 h 287"/>
                <a:gd name="T22" fmla="*/ 55 w 193"/>
                <a:gd name="T23" fmla="*/ 91 h 287"/>
                <a:gd name="T24" fmla="*/ 63 w 193"/>
                <a:gd name="T25" fmla="*/ 55 h 287"/>
                <a:gd name="T26" fmla="*/ 88 w 193"/>
                <a:gd name="T27" fmla="*/ 42 h 287"/>
                <a:gd name="T28" fmla="*/ 170 w 193"/>
                <a:gd name="T29" fmla="*/ 55 h 287"/>
                <a:gd name="T30" fmla="*/ 161 w 193"/>
                <a:gd name="T31" fmla="*/ 80 h 287"/>
                <a:gd name="T32" fmla="*/ 160 w 193"/>
                <a:gd name="T33" fmla="*/ 83 h 287"/>
                <a:gd name="T34" fmla="*/ 163 w 193"/>
                <a:gd name="T35" fmla="*/ 143 h 287"/>
                <a:gd name="T36" fmla="*/ 166 w 193"/>
                <a:gd name="T37" fmla="*/ 148 h 287"/>
                <a:gd name="T38" fmla="*/ 172 w 193"/>
                <a:gd name="T39" fmla="*/ 154 h 287"/>
                <a:gd name="T40" fmla="*/ 181 w 193"/>
                <a:gd name="T41" fmla="*/ 214 h 287"/>
                <a:gd name="T42" fmla="*/ 182 w 193"/>
                <a:gd name="T43" fmla="*/ 219 h 287"/>
                <a:gd name="T44" fmla="*/ 184 w 193"/>
                <a:gd name="T45" fmla="*/ 22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287">
                  <a:moveTo>
                    <a:pt x="184" y="228"/>
                  </a:moveTo>
                  <a:cubicBezTo>
                    <a:pt x="175" y="237"/>
                    <a:pt x="175" y="237"/>
                    <a:pt x="175" y="237"/>
                  </a:cubicBezTo>
                  <a:cubicBezTo>
                    <a:pt x="170" y="243"/>
                    <a:pt x="170" y="243"/>
                    <a:pt x="170" y="243"/>
                  </a:cubicBezTo>
                  <a:cubicBezTo>
                    <a:pt x="138" y="278"/>
                    <a:pt x="138" y="278"/>
                    <a:pt x="138" y="278"/>
                  </a:cubicBezTo>
                  <a:cubicBezTo>
                    <a:pt x="55" y="287"/>
                    <a:pt x="55" y="287"/>
                    <a:pt x="55" y="287"/>
                  </a:cubicBezTo>
                  <a:cubicBezTo>
                    <a:pt x="11" y="275"/>
                    <a:pt x="11" y="275"/>
                    <a:pt x="11" y="275"/>
                  </a:cubicBezTo>
                  <a:cubicBezTo>
                    <a:pt x="0" y="272"/>
                    <a:pt x="0" y="272"/>
                    <a:pt x="0" y="272"/>
                  </a:cubicBezTo>
                  <a:cubicBezTo>
                    <a:pt x="0" y="272"/>
                    <a:pt x="0" y="250"/>
                    <a:pt x="2" y="224"/>
                  </a:cubicBezTo>
                  <a:cubicBezTo>
                    <a:pt x="5" y="190"/>
                    <a:pt x="12" y="148"/>
                    <a:pt x="28" y="137"/>
                  </a:cubicBezTo>
                  <a:cubicBezTo>
                    <a:pt x="36" y="131"/>
                    <a:pt x="42" y="123"/>
                    <a:pt x="46" y="114"/>
                  </a:cubicBezTo>
                  <a:cubicBezTo>
                    <a:pt x="50" y="107"/>
                    <a:pt x="52" y="101"/>
                    <a:pt x="54" y="94"/>
                  </a:cubicBezTo>
                  <a:cubicBezTo>
                    <a:pt x="55" y="93"/>
                    <a:pt x="55" y="92"/>
                    <a:pt x="55" y="91"/>
                  </a:cubicBezTo>
                  <a:cubicBezTo>
                    <a:pt x="59" y="79"/>
                    <a:pt x="61" y="67"/>
                    <a:pt x="63" y="55"/>
                  </a:cubicBezTo>
                  <a:cubicBezTo>
                    <a:pt x="63" y="55"/>
                    <a:pt x="73" y="49"/>
                    <a:pt x="88" y="42"/>
                  </a:cubicBezTo>
                  <a:cubicBezTo>
                    <a:pt x="126" y="24"/>
                    <a:pt x="193" y="0"/>
                    <a:pt x="170" y="55"/>
                  </a:cubicBezTo>
                  <a:cubicBezTo>
                    <a:pt x="166" y="63"/>
                    <a:pt x="163" y="71"/>
                    <a:pt x="161" y="80"/>
                  </a:cubicBezTo>
                  <a:cubicBezTo>
                    <a:pt x="161" y="81"/>
                    <a:pt x="160" y="82"/>
                    <a:pt x="160" y="83"/>
                  </a:cubicBezTo>
                  <a:cubicBezTo>
                    <a:pt x="152" y="114"/>
                    <a:pt x="157" y="133"/>
                    <a:pt x="163" y="143"/>
                  </a:cubicBezTo>
                  <a:cubicBezTo>
                    <a:pt x="164" y="145"/>
                    <a:pt x="165" y="147"/>
                    <a:pt x="166" y="148"/>
                  </a:cubicBezTo>
                  <a:cubicBezTo>
                    <a:pt x="168" y="150"/>
                    <a:pt x="170" y="152"/>
                    <a:pt x="172" y="154"/>
                  </a:cubicBezTo>
                  <a:cubicBezTo>
                    <a:pt x="181" y="214"/>
                    <a:pt x="181" y="214"/>
                    <a:pt x="181" y="214"/>
                  </a:cubicBezTo>
                  <a:cubicBezTo>
                    <a:pt x="182" y="219"/>
                    <a:pt x="182" y="219"/>
                    <a:pt x="182" y="219"/>
                  </a:cubicBezTo>
                  <a:cubicBezTo>
                    <a:pt x="184" y="228"/>
                    <a:pt x="184" y="228"/>
                    <a:pt x="184" y="228"/>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şḷíḓé">
              <a:extLst>
                <a:ext uri="{FF2B5EF4-FFF2-40B4-BE49-F238E27FC236}">
                  <a16:creationId xmlns:a16="http://schemas.microsoft.com/office/drawing/2014/main" id="{7C99CB8E-5DC2-4B5B-A714-82B163F6E58B}"/>
                </a:ext>
              </a:extLst>
            </p:cNvPr>
            <p:cNvSpPr/>
            <p:nvPr/>
          </p:nvSpPr>
          <p:spPr bwMode="auto">
            <a:xfrm>
              <a:off x="7292975" y="3479801"/>
              <a:ext cx="74613" cy="19050"/>
            </a:xfrm>
            <a:custGeom>
              <a:avLst/>
              <a:gdLst>
                <a:gd name="T0" fmla="*/ 2 w 54"/>
                <a:gd name="T1" fmla="*/ 0 h 14"/>
                <a:gd name="T2" fmla="*/ 0 w 54"/>
                <a:gd name="T3" fmla="*/ 5 h 14"/>
                <a:gd name="T4" fmla="*/ 34 w 54"/>
                <a:gd name="T5" fmla="*/ 14 h 14"/>
                <a:gd name="T6" fmla="*/ 54 w 54"/>
                <a:gd name="T7" fmla="*/ 8 h 14"/>
                <a:gd name="T8" fmla="*/ 44 w 54"/>
                <a:gd name="T9" fmla="*/ 8 h 14"/>
                <a:gd name="T10" fmla="*/ 2 w 54"/>
                <a:gd name="T11" fmla="*/ 0 h 14"/>
              </a:gdLst>
              <a:ahLst/>
              <a:cxnLst>
                <a:cxn ang="0">
                  <a:pos x="T0" y="T1"/>
                </a:cxn>
                <a:cxn ang="0">
                  <a:pos x="T2" y="T3"/>
                </a:cxn>
                <a:cxn ang="0">
                  <a:pos x="T4" y="T5"/>
                </a:cxn>
                <a:cxn ang="0">
                  <a:pos x="T6" y="T7"/>
                </a:cxn>
                <a:cxn ang="0">
                  <a:pos x="T8" y="T9"/>
                </a:cxn>
                <a:cxn ang="0">
                  <a:pos x="T10" y="T11"/>
                </a:cxn>
              </a:cxnLst>
              <a:rect l="0" t="0" r="r" b="b"/>
              <a:pathLst>
                <a:path w="54" h="14">
                  <a:moveTo>
                    <a:pt x="2" y="0"/>
                  </a:moveTo>
                  <a:cubicBezTo>
                    <a:pt x="1" y="1"/>
                    <a:pt x="1" y="3"/>
                    <a:pt x="0" y="5"/>
                  </a:cubicBezTo>
                  <a:cubicBezTo>
                    <a:pt x="14" y="11"/>
                    <a:pt x="18" y="14"/>
                    <a:pt x="34" y="14"/>
                  </a:cubicBezTo>
                  <a:cubicBezTo>
                    <a:pt x="40" y="14"/>
                    <a:pt x="47" y="11"/>
                    <a:pt x="54" y="8"/>
                  </a:cubicBezTo>
                  <a:cubicBezTo>
                    <a:pt x="51" y="8"/>
                    <a:pt x="48" y="8"/>
                    <a:pt x="44" y="8"/>
                  </a:cubicBezTo>
                  <a:cubicBezTo>
                    <a:pt x="29" y="8"/>
                    <a:pt x="15" y="5"/>
                    <a:pt x="2"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ïŝ1îdé">
              <a:extLst>
                <a:ext uri="{FF2B5EF4-FFF2-40B4-BE49-F238E27FC236}">
                  <a16:creationId xmlns:a16="http://schemas.microsoft.com/office/drawing/2014/main" id="{BCD0014F-18D2-4E23-BBBF-29B650E162A7}"/>
                </a:ext>
              </a:extLst>
            </p:cNvPr>
            <p:cNvSpPr/>
            <p:nvPr/>
          </p:nvSpPr>
          <p:spPr bwMode="auto">
            <a:xfrm>
              <a:off x="7207250" y="3194051"/>
              <a:ext cx="295275" cy="296863"/>
            </a:xfrm>
            <a:custGeom>
              <a:avLst/>
              <a:gdLst>
                <a:gd name="T0" fmla="*/ 213 w 213"/>
                <a:gd name="T1" fmla="*/ 107 h 213"/>
                <a:gd name="T2" fmla="*/ 117 w 213"/>
                <a:gd name="T3" fmla="*/ 213 h 213"/>
                <a:gd name="T4" fmla="*/ 106 w 213"/>
                <a:gd name="T5" fmla="*/ 213 h 213"/>
                <a:gd name="T6" fmla="*/ 0 w 213"/>
                <a:gd name="T7" fmla="*/ 107 h 213"/>
                <a:gd name="T8" fmla="*/ 106 w 213"/>
                <a:gd name="T9" fmla="*/ 0 h 213"/>
                <a:gd name="T10" fmla="*/ 213 w 213"/>
                <a:gd name="T11" fmla="*/ 107 h 213"/>
              </a:gdLst>
              <a:ahLst/>
              <a:cxnLst>
                <a:cxn ang="0">
                  <a:pos x="T0" y="T1"/>
                </a:cxn>
                <a:cxn ang="0">
                  <a:pos x="T2" y="T3"/>
                </a:cxn>
                <a:cxn ang="0">
                  <a:pos x="T4" y="T5"/>
                </a:cxn>
                <a:cxn ang="0">
                  <a:pos x="T6" y="T7"/>
                </a:cxn>
                <a:cxn ang="0">
                  <a:pos x="T8" y="T9"/>
                </a:cxn>
                <a:cxn ang="0">
                  <a:pos x="T10" y="T11"/>
                </a:cxn>
              </a:cxnLst>
              <a:rect l="0" t="0" r="r" b="b"/>
              <a:pathLst>
                <a:path w="213" h="213">
                  <a:moveTo>
                    <a:pt x="213" y="107"/>
                  </a:moveTo>
                  <a:cubicBezTo>
                    <a:pt x="213" y="161"/>
                    <a:pt x="172" y="207"/>
                    <a:pt x="117" y="213"/>
                  </a:cubicBezTo>
                  <a:cubicBezTo>
                    <a:pt x="114" y="213"/>
                    <a:pt x="110" y="213"/>
                    <a:pt x="106" y="213"/>
                  </a:cubicBezTo>
                  <a:cubicBezTo>
                    <a:pt x="47" y="213"/>
                    <a:pt x="0" y="166"/>
                    <a:pt x="0" y="107"/>
                  </a:cubicBezTo>
                  <a:cubicBezTo>
                    <a:pt x="0" y="48"/>
                    <a:pt x="47" y="0"/>
                    <a:pt x="106" y="0"/>
                  </a:cubicBezTo>
                  <a:cubicBezTo>
                    <a:pt x="165" y="0"/>
                    <a:pt x="213" y="48"/>
                    <a:pt x="213" y="107"/>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ṩḷíḑe">
              <a:extLst>
                <a:ext uri="{FF2B5EF4-FFF2-40B4-BE49-F238E27FC236}">
                  <a16:creationId xmlns:a16="http://schemas.microsoft.com/office/drawing/2014/main" id="{0E9E40B5-F1A4-4C1A-92ED-22CA95C7E90D}"/>
                </a:ext>
              </a:extLst>
            </p:cNvPr>
            <p:cNvSpPr/>
            <p:nvPr/>
          </p:nvSpPr>
          <p:spPr bwMode="auto">
            <a:xfrm>
              <a:off x="7173913" y="3652838"/>
              <a:ext cx="47625" cy="90488"/>
            </a:xfrm>
            <a:custGeom>
              <a:avLst/>
              <a:gdLst>
                <a:gd name="T0" fmla="*/ 35 w 35"/>
                <a:gd name="T1" fmla="*/ 0 h 65"/>
                <a:gd name="T2" fmla="*/ 12 w 35"/>
                <a:gd name="T3" fmla="*/ 16 h 65"/>
                <a:gd name="T4" fmla="*/ 0 w 35"/>
                <a:gd name="T5" fmla="*/ 60 h 65"/>
                <a:gd name="T6" fmla="*/ 1 w 35"/>
                <a:gd name="T7" fmla="*/ 65 h 65"/>
                <a:gd name="T8" fmla="*/ 12 w 35"/>
                <a:gd name="T9" fmla="*/ 23 h 65"/>
                <a:gd name="T10" fmla="*/ 34 w 35"/>
                <a:gd name="T11" fmla="*/ 7 h 65"/>
                <a:gd name="T12" fmla="*/ 34 w 35"/>
                <a:gd name="T13" fmla="*/ 7 h 65"/>
                <a:gd name="T14" fmla="*/ 35 w 35"/>
                <a:gd name="T15" fmla="*/ 0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5">
                  <a:moveTo>
                    <a:pt x="35" y="0"/>
                  </a:moveTo>
                  <a:cubicBezTo>
                    <a:pt x="12" y="16"/>
                    <a:pt x="12" y="16"/>
                    <a:pt x="12" y="16"/>
                  </a:cubicBezTo>
                  <a:cubicBezTo>
                    <a:pt x="0" y="60"/>
                    <a:pt x="0" y="60"/>
                    <a:pt x="0" y="60"/>
                  </a:cubicBezTo>
                  <a:cubicBezTo>
                    <a:pt x="0" y="60"/>
                    <a:pt x="0" y="62"/>
                    <a:pt x="1" y="65"/>
                  </a:cubicBezTo>
                  <a:cubicBezTo>
                    <a:pt x="12" y="23"/>
                    <a:pt x="12" y="23"/>
                    <a:pt x="12" y="23"/>
                  </a:cubicBezTo>
                  <a:cubicBezTo>
                    <a:pt x="34" y="7"/>
                    <a:pt x="34" y="7"/>
                    <a:pt x="34" y="7"/>
                  </a:cubicBezTo>
                  <a:cubicBezTo>
                    <a:pt x="34" y="7"/>
                    <a:pt x="34" y="7"/>
                    <a:pt x="34" y="7"/>
                  </a:cubicBezTo>
                  <a:cubicBezTo>
                    <a:pt x="34" y="5"/>
                    <a:pt x="35" y="2"/>
                    <a:pt x="35"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ïšļïḍê">
              <a:extLst>
                <a:ext uri="{FF2B5EF4-FFF2-40B4-BE49-F238E27FC236}">
                  <a16:creationId xmlns:a16="http://schemas.microsoft.com/office/drawing/2014/main" id="{81F9592A-605E-48CF-812F-2653BFC870BA}"/>
                </a:ext>
              </a:extLst>
            </p:cNvPr>
            <p:cNvSpPr/>
            <p:nvPr/>
          </p:nvSpPr>
          <p:spPr bwMode="auto">
            <a:xfrm>
              <a:off x="7219950" y="3644901"/>
              <a:ext cx="228600" cy="73025"/>
            </a:xfrm>
            <a:custGeom>
              <a:avLst/>
              <a:gdLst>
                <a:gd name="T0" fmla="*/ 1 w 164"/>
                <a:gd name="T1" fmla="*/ 6 h 53"/>
                <a:gd name="T2" fmla="*/ 1 w 164"/>
                <a:gd name="T3" fmla="*/ 6 h 53"/>
                <a:gd name="T4" fmla="*/ 0 w 164"/>
                <a:gd name="T5" fmla="*/ 13 h 53"/>
                <a:gd name="T6" fmla="*/ 0 w 164"/>
                <a:gd name="T7" fmla="*/ 13 h 53"/>
                <a:gd name="T8" fmla="*/ 0 w 164"/>
                <a:gd name="T9" fmla="*/ 13 h 53"/>
                <a:gd name="T10" fmla="*/ 1 w 164"/>
                <a:gd name="T11" fmla="*/ 6 h 53"/>
                <a:gd name="T12" fmla="*/ 161 w 164"/>
                <a:gd name="T13" fmla="*/ 0 h 53"/>
                <a:gd name="T14" fmla="*/ 93 w 164"/>
                <a:gd name="T15" fmla="*/ 44 h 53"/>
                <a:gd name="T16" fmla="*/ 84 w 164"/>
                <a:gd name="T17" fmla="*/ 47 h 53"/>
                <a:gd name="T18" fmla="*/ 55 w 164"/>
                <a:gd name="T19" fmla="*/ 37 h 53"/>
                <a:gd name="T20" fmla="*/ 34 w 164"/>
                <a:gd name="T21" fmla="*/ 24 h 53"/>
                <a:gd name="T22" fmla="*/ 23 w 164"/>
                <a:gd name="T23" fmla="*/ 16 h 53"/>
                <a:gd name="T24" fmla="*/ 22 w 164"/>
                <a:gd name="T25" fmla="*/ 20 h 53"/>
                <a:gd name="T26" fmla="*/ 22 w 164"/>
                <a:gd name="T27" fmla="*/ 20 h 53"/>
                <a:gd name="T28" fmla="*/ 34 w 164"/>
                <a:gd name="T29" fmla="*/ 30 h 53"/>
                <a:gd name="T30" fmla="*/ 55 w 164"/>
                <a:gd name="T31" fmla="*/ 43 h 53"/>
                <a:gd name="T32" fmla="*/ 85 w 164"/>
                <a:gd name="T33" fmla="*/ 53 h 53"/>
                <a:gd name="T34" fmla="*/ 93 w 164"/>
                <a:gd name="T35" fmla="*/ 51 h 53"/>
                <a:gd name="T36" fmla="*/ 164 w 164"/>
                <a:gd name="T37" fmla="*/ 4 h 53"/>
                <a:gd name="T38" fmla="*/ 164 w 164"/>
                <a:gd name="T39" fmla="*/ 4 h 53"/>
                <a:gd name="T40" fmla="*/ 164 w 164"/>
                <a:gd name="T41" fmla="*/ 2 h 53"/>
                <a:gd name="T42" fmla="*/ 161 w 164"/>
                <a:gd name="T4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4" h="53">
                  <a:moveTo>
                    <a:pt x="1" y="6"/>
                  </a:moveTo>
                  <a:cubicBezTo>
                    <a:pt x="1" y="6"/>
                    <a:pt x="1" y="6"/>
                    <a:pt x="1" y="6"/>
                  </a:cubicBezTo>
                  <a:cubicBezTo>
                    <a:pt x="1" y="8"/>
                    <a:pt x="0" y="11"/>
                    <a:pt x="0" y="13"/>
                  </a:cubicBezTo>
                  <a:cubicBezTo>
                    <a:pt x="0" y="13"/>
                    <a:pt x="0" y="13"/>
                    <a:pt x="0" y="13"/>
                  </a:cubicBezTo>
                  <a:cubicBezTo>
                    <a:pt x="0" y="13"/>
                    <a:pt x="0" y="13"/>
                    <a:pt x="0" y="13"/>
                  </a:cubicBezTo>
                  <a:cubicBezTo>
                    <a:pt x="0" y="11"/>
                    <a:pt x="1" y="8"/>
                    <a:pt x="1" y="6"/>
                  </a:cubicBezTo>
                  <a:moveTo>
                    <a:pt x="161" y="0"/>
                  </a:moveTo>
                  <a:cubicBezTo>
                    <a:pt x="139" y="13"/>
                    <a:pt x="100" y="37"/>
                    <a:pt x="93" y="44"/>
                  </a:cubicBezTo>
                  <a:cubicBezTo>
                    <a:pt x="91" y="47"/>
                    <a:pt x="88" y="47"/>
                    <a:pt x="84" y="47"/>
                  </a:cubicBezTo>
                  <a:cubicBezTo>
                    <a:pt x="72" y="47"/>
                    <a:pt x="55" y="37"/>
                    <a:pt x="55" y="37"/>
                  </a:cubicBezTo>
                  <a:cubicBezTo>
                    <a:pt x="55" y="37"/>
                    <a:pt x="43" y="26"/>
                    <a:pt x="34" y="24"/>
                  </a:cubicBezTo>
                  <a:cubicBezTo>
                    <a:pt x="31" y="23"/>
                    <a:pt x="27" y="20"/>
                    <a:pt x="23" y="16"/>
                  </a:cubicBezTo>
                  <a:cubicBezTo>
                    <a:pt x="23" y="17"/>
                    <a:pt x="22" y="19"/>
                    <a:pt x="22" y="20"/>
                  </a:cubicBezTo>
                  <a:cubicBezTo>
                    <a:pt x="22" y="20"/>
                    <a:pt x="22" y="20"/>
                    <a:pt x="22" y="20"/>
                  </a:cubicBezTo>
                  <a:cubicBezTo>
                    <a:pt x="25" y="25"/>
                    <a:pt x="29" y="28"/>
                    <a:pt x="34" y="30"/>
                  </a:cubicBezTo>
                  <a:cubicBezTo>
                    <a:pt x="43" y="32"/>
                    <a:pt x="55" y="43"/>
                    <a:pt x="55" y="43"/>
                  </a:cubicBezTo>
                  <a:cubicBezTo>
                    <a:pt x="55" y="43"/>
                    <a:pt x="72" y="53"/>
                    <a:pt x="85" y="53"/>
                  </a:cubicBezTo>
                  <a:cubicBezTo>
                    <a:pt x="88" y="53"/>
                    <a:pt x="91" y="53"/>
                    <a:pt x="93" y="51"/>
                  </a:cubicBezTo>
                  <a:cubicBezTo>
                    <a:pt x="100" y="43"/>
                    <a:pt x="144" y="16"/>
                    <a:pt x="164" y="4"/>
                  </a:cubicBezTo>
                  <a:cubicBezTo>
                    <a:pt x="164" y="4"/>
                    <a:pt x="164" y="4"/>
                    <a:pt x="164" y="4"/>
                  </a:cubicBezTo>
                  <a:cubicBezTo>
                    <a:pt x="164" y="2"/>
                    <a:pt x="164" y="2"/>
                    <a:pt x="164" y="2"/>
                  </a:cubicBezTo>
                  <a:cubicBezTo>
                    <a:pt x="163" y="1"/>
                    <a:pt x="162" y="1"/>
                    <a:pt x="161"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Sḻíḓè">
              <a:extLst>
                <a:ext uri="{FF2B5EF4-FFF2-40B4-BE49-F238E27FC236}">
                  <a16:creationId xmlns:a16="http://schemas.microsoft.com/office/drawing/2014/main" id="{FEE48807-0CC7-49CA-A8BE-F14024DD3764}"/>
                </a:ext>
              </a:extLst>
            </p:cNvPr>
            <p:cNvSpPr/>
            <p:nvPr/>
          </p:nvSpPr>
          <p:spPr bwMode="auto">
            <a:xfrm>
              <a:off x="7154863" y="3822701"/>
              <a:ext cx="26988" cy="198438"/>
            </a:xfrm>
            <a:custGeom>
              <a:avLst/>
              <a:gdLst>
                <a:gd name="T0" fmla="*/ 19 w 19"/>
                <a:gd name="T1" fmla="*/ 0 h 143"/>
                <a:gd name="T2" fmla="*/ 12 w 19"/>
                <a:gd name="T3" fmla="*/ 78 h 143"/>
                <a:gd name="T4" fmla="*/ 1 w 19"/>
                <a:gd name="T5" fmla="*/ 143 h 143"/>
                <a:gd name="T6" fmla="*/ 1 w 19"/>
                <a:gd name="T7" fmla="*/ 143 h 143"/>
                <a:gd name="T8" fmla="*/ 12 w 19"/>
                <a:gd name="T9" fmla="*/ 84 h 143"/>
                <a:gd name="T10" fmla="*/ 19 w 19"/>
                <a:gd name="T11" fmla="*/ 3 h 143"/>
                <a:gd name="T12" fmla="*/ 19 w 19"/>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19" h="143">
                  <a:moveTo>
                    <a:pt x="19" y="0"/>
                  </a:moveTo>
                  <a:cubicBezTo>
                    <a:pt x="18" y="15"/>
                    <a:pt x="12" y="78"/>
                    <a:pt x="12" y="78"/>
                  </a:cubicBezTo>
                  <a:cubicBezTo>
                    <a:pt x="12" y="78"/>
                    <a:pt x="0" y="117"/>
                    <a:pt x="1" y="143"/>
                  </a:cubicBezTo>
                  <a:cubicBezTo>
                    <a:pt x="1" y="143"/>
                    <a:pt x="1" y="143"/>
                    <a:pt x="1" y="143"/>
                  </a:cubicBezTo>
                  <a:cubicBezTo>
                    <a:pt x="2" y="118"/>
                    <a:pt x="12" y="84"/>
                    <a:pt x="12" y="84"/>
                  </a:cubicBezTo>
                  <a:cubicBezTo>
                    <a:pt x="12" y="84"/>
                    <a:pt x="19" y="6"/>
                    <a:pt x="19" y="3"/>
                  </a:cubicBezTo>
                  <a:cubicBezTo>
                    <a:pt x="19" y="2"/>
                    <a:pt x="19" y="1"/>
                    <a:pt x="19"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ṩlíḍe">
              <a:extLst>
                <a:ext uri="{FF2B5EF4-FFF2-40B4-BE49-F238E27FC236}">
                  <a16:creationId xmlns:a16="http://schemas.microsoft.com/office/drawing/2014/main" id="{CAAD4E25-0140-4331-8DF6-864F1BB68725}"/>
                </a:ext>
              </a:extLst>
            </p:cNvPr>
            <p:cNvSpPr/>
            <p:nvPr/>
          </p:nvSpPr>
          <p:spPr bwMode="auto">
            <a:xfrm>
              <a:off x="7154863" y="3641726"/>
              <a:ext cx="368300" cy="425450"/>
            </a:xfrm>
            <a:custGeom>
              <a:avLst/>
              <a:gdLst>
                <a:gd name="T0" fmla="*/ 265 w 265"/>
                <a:gd name="T1" fmla="*/ 263 h 306"/>
                <a:gd name="T2" fmla="*/ 250 w 265"/>
                <a:gd name="T3" fmla="*/ 303 h 306"/>
                <a:gd name="T4" fmla="*/ 218 w 265"/>
                <a:gd name="T5" fmla="*/ 304 h 306"/>
                <a:gd name="T6" fmla="*/ 216 w 265"/>
                <a:gd name="T7" fmla="*/ 304 h 306"/>
                <a:gd name="T8" fmla="*/ 188 w 265"/>
                <a:gd name="T9" fmla="*/ 305 h 306"/>
                <a:gd name="T10" fmla="*/ 28 w 265"/>
                <a:gd name="T11" fmla="*/ 301 h 306"/>
                <a:gd name="T12" fmla="*/ 3 w 265"/>
                <a:gd name="T13" fmla="*/ 292 h 306"/>
                <a:gd name="T14" fmla="*/ 2 w 265"/>
                <a:gd name="T15" fmla="*/ 285 h 306"/>
                <a:gd name="T16" fmla="*/ 1 w 265"/>
                <a:gd name="T17" fmla="*/ 279 h 306"/>
                <a:gd name="T18" fmla="*/ 12 w 265"/>
                <a:gd name="T19" fmla="*/ 214 h 306"/>
                <a:gd name="T20" fmla="*/ 19 w 265"/>
                <a:gd name="T21" fmla="*/ 133 h 306"/>
                <a:gd name="T22" fmla="*/ 13 w 265"/>
                <a:gd name="T23" fmla="*/ 74 h 306"/>
                <a:gd name="T24" fmla="*/ 25 w 265"/>
                <a:gd name="T25" fmla="*/ 30 h 306"/>
                <a:gd name="T26" fmla="*/ 47 w 265"/>
                <a:gd name="T27" fmla="*/ 15 h 306"/>
                <a:gd name="T28" fmla="*/ 58 w 265"/>
                <a:gd name="T29" fmla="*/ 8 h 306"/>
                <a:gd name="T30" fmla="*/ 69 w 265"/>
                <a:gd name="T31" fmla="*/ 22 h 306"/>
                <a:gd name="T32" fmla="*/ 81 w 265"/>
                <a:gd name="T33" fmla="*/ 32 h 306"/>
                <a:gd name="T34" fmla="*/ 102 w 265"/>
                <a:gd name="T35" fmla="*/ 45 h 306"/>
                <a:gd name="T36" fmla="*/ 140 w 265"/>
                <a:gd name="T37" fmla="*/ 53 h 306"/>
                <a:gd name="T38" fmla="*/ 211 w 265"/>
                <a:gd name="T39" fmla="*/ 6 h 306"/>
                <a:gd name="T40" fmla="*/ 222 w 265"/>
                <a:gd name="T41" fmla="*/ 0 h 306"/>
                <a:gd name="T42" fmla="*/ 227 w 265"/>
                <a:gd name="T43" fmla="*/ 5 h 306"/>
                <a:gd name="T44" fmla="*/ 260 w 265"/>
                <a:gd name="T45" fmla="*/ 42 h 306"/>
                <a:gd name="T46" fmla="*/ 265 w 265"/>
                <a:gd name="T47"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5" h="306">
                  <a:moveTo>
                    <a:pt x="265" y="263"/>
                  </a:moveTo>
                  <a:cubicBezTo>
                    <a:pt x="250" y="303"/>
                    <a:pt x="250" y="303"/>
                    <a:pt x="250" y="303"/>
                  </a:cubicBezTo>
                  <a:cubicBezTo>
                    <a:pt x="250" y="303"/>
                    <a:pt x="237" y="304"/>
                    <a:pt x="218" y="304"/>
                  </a:cubicBezTo>
                  <a:cubicBezTo>
                    <a:pt x="216" y="304"/>
                    <a:pt x="216" y="304"/>
                    <a:pt x="216" y="304"/>
                  </a:cubicBezTo>
                  <a:cubicBezTo>
                    <a:pt x="208" y="304"/>
                    <a:pt x="198" y="305"/>
                    <a:pt x="188" y="305"/>
                  </a:cubicBezTo>
                  <a:cubicBezTo>
                    <a:pt x="137" y="306"/>
                    <a:pt x="65" y="306"/>
                    <a:pt x="28" y="301"/>
                  </a:cubicBezTo>
                  <a:cubicBezTo>
                    <a:pt x="14" y="299"/>
                    <a:pt x="5" y="296"/>
                    <a:pt x="3" y="292"/>
                  </a:cubicBezTo>
                  <a:cubicBezTo>
                    <a:pt x="3" y="290"/>
                    <a:pt x="2" y="287"/>
                    <a:pt x="2" y="285"/>
                  </a:cubicBezTo>
                  <a:cubicBezTo>
                    <a:pt x="1" y="283"/>
                    <a:pt x="1" y="281"/>
                    <a:pt x="1" y="279"/>
                  </a:cubicBezTo>
                  <a:cubicBezTo>
                    <a:pt x="0" y="254"/>
                    <a:pt x="12" y="214"/>
                    <a:pt x="12" y="214"/>
                  </a:cubicBezTo>
                  <a:cubicBezTo>
                    <a:pt x="12" y="214"/>
                    <a:pt x="19" y="136"/>
                    <a:pt x="19" y="133"/>
                  </a:cubicBezTo>
                  <a:cubicBezTo>
                    <a:pt x="19" y="129"/>
                    <a:pt x="13" y="74"/>
                    <a:pt x="13" y="74"/>
                  </a:cubicBezTo>
                  <a:cubicBezTo>
                    <a:pt x="25" y="30"/>
                    <a:pt x="25" y="30"/>
                    <a:pt x="25" y="30"/>
                  </a:cubicBezTo>
                  <a:cubicBezTo>
                    <a:pt x="47" y="15"/>
                    <a:pt x="47" y="15"/>
                    <a:pt x="47" y="15"/>
                  </a:cubicBezTo>
                  <a:cubicBezTo>
                    <a:pt x="58" y="8"/>
                    <a:pt x="58" y="8"/>
                    <a:pt x="58" y="8"/>
                  </a:cubicBezTo>
                  <a:cubicBezTo>
                    <a:pt x="61" y="13"/>
                    <a:pt x="65" y="18"/>
                    <a:pt x="69" y="22"/>
                  </a:cubicBezTo>
                  <a:cubicBezTo>
                    <a:pt x="72" y="27"/>
                    <a:pt x="76" y="30"/>
                    <a:pt x="81" y="32"/>
                  </a:cubicBezTo>
                  <a:cubicBezTo>
                    <a:pt x="90" y="34"/>
                    <a:pt x="102" y="45"/>
                    <a:pt x="102" y="45"/>
                  </a:cubicBezTo>
                  <a:cubicBezTo>
                    <a:pt x="102" y="45"/>
                    <a:pt x="131" y="62"/>
                    <a:pt x="140" y="53"/>
                  </a:cubicBezTo>
                  <a:cubicBezTo>
                    <a:pt x="147" y="45"/>
                    <a:pt x="191" y="18"/>
                    <a:pt x="211" y="6"/>
                  </a:cubicBezTo>
                  <a:cubicBezTo>
                    <a:pt x="218" y="2"/>
                    <a:pt x="222" y="0"/>
                    <a:pt x="222" y="0"/>
                  </a:cubicBezTo>
                  <a:cubicBezTo>
                    <a:pt x="227" y="5"/>
                    <a:pt x="227" y="5"/>
                    <a:pt x="227" y="5"/>
                  </a:cubicBezTo>
                  <a:cubicBezTo>
                    <a:pt x="260" y="42"/>
                    <a:pt x="260" y="42"/>
                    <a:pt x="260" y="42"/>
                  </a:cubicBezTo>
                  <a:cubicBezTo>
                    <a:pt x="265" y="263"/>
                    <a:pt x="265" y="263"/>
                    <a:pt x="265" y="26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Sļiḋe">
              <a:extLst>
                <a:ext uri="{FF2B5EF4-FFF2-40B4-BE49-F238E27FC236}">
                  <a16:creationId xmlns:a16="http://schemas.microsoft.com/office/drawing/2014/main" id="{348B4DE5-4600-4BCD-B41F-068B03F96F40}"/>
                </a:ext>
              </a:extLst>
            </p:cNvPr>
            <p:cNvSpPr/>
            <p:nvPr/>
          </p:nvSpPr>
          <p:spPr bwMode="auto">
            <a:xfrm>
              <a:off x="6743700" y="3414713"/>
              <a:ext cx="55563" cy="58738"/>
            </a:xfrm>
            <a:custGeom>
              <a:avLst/>
              <a:gdLst>
                <a:gd name="T0" fmla="*/ 38 w 40"/>
                <a:gd name="T1" fmla="*/ 0 h 42"/>
                <a:gd name="T2" fmla="*/ 0 w 40"/>
                <a:gd name="T3" fmla="*/ 35 h 42"/>
                <a:gd name="T4" fmla="*/ 1 w 40"/>
                <a:gd name="T5" fmla="*/ 42 h 42"/>
                <a:gd name="T6" fmla="*/ 40 w 40"/>
                <a:gd name="T7" fmla="*/ 7 h 42"/>
                <a:gd name="T8" fmla="*/ 38 w 40"/>
                <a:gd name="T9" fmla="*/ 0 h 42"/>
              </a:gdLst>
              <a:ahLst/>
              <a:cxnLst>
                <a:cxn ang="0">
                  <a:pos x="T0" y="T1"/>
                </a:cxn>
                <a:cxn ang="0">
                  <a:pos x="T2" y="T3"/>
                </a:cxn>
                <a:cxn ang="0">
                  <a:pos x="T4" y="T5"/>
                </a:cxn>
                <a:cxn ang="0">
                  <a:pos x="T6" y="T7"/>
                </a:cxn>
                <a:cxn ang="0">
                  <a:pos x="T8" y="T9"/>
                </a:cxn>
              </a:cxnLst>
              <a:rect l="0" t="0" r="r" b="b"/>
              <a:pathLst>
                <a:path w="40" h="42">
                  <a:moveTo>
                    <a:pt x="38" y="0"/>
                  </a:moveTo>
                  <a:cubicBezTo>
                    <a:pt x="34" y="6"/>
                    <a:pt x="21" y="26"/>
                    <a:pt x="0" y="35"/>
                  </a:cubicBezTo>
                  <a:cubicBezTo>
                    <a:pt x="1" y="37"/>
                    <a:pt x="1" y="40"/>
                    <a:pt x="1" y="42"/>
                  </a:cubicBezTo>
                  <a:cubicBezTo>
                    <a:pt x="23" y="34"/>
                    <a:pt x="36" y="14"/>
                    <a:pt x="40" y="7"/>
                  </a:cubicBezTo>
                  <a:cubicBezTo>
                    <a:pt x="40" y="5"/>
                    <a:pt x="39" y="2"/>
                    <a:pt x="38"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íṡḻíḋè">
              <a:extLst>
                <a:ext uri="{FF2B5EF4-FFF2-40B4-BE49-F238E27FC236}">
                  <a16:creationId xmlns:a16="http://schemas.microsoft.com/office/drawing/2014/main" id="{B9AD96CB-3831-4326-891E-88BC3C3FBD58}"/>
                </a:ext>
              </a:extLst>
            </p:cNvPr>
            <p:cNvSpPr/>
            <p:nvPr/>
          </p:nvSpPr>
          <p:spPr bwMode="auto">
            <a:xfrm>
              <a:off x="6691313" y="3421063"/>
              <a:ext cx="358775" cy="384175"/>
            </a:xfrm>
            <a:custGeom>
              <a:avLst/>
              <a:gdLst>
                <a:gd name="T0" fmla="*/ 232 w 258"/>
                <a:gd name="T1" fmla="*/ 117 h 277"/>
                <a:gd name="T2" fmla="*/ 223 w 258"/>
                <a:gd name="T3" fmla="*/ 114 h 277"/>
                <a:gd name="T4" fmla="*/ 199 w 258"/>
                <a:gd name="T5" fmla="*/ 132 h 277"/>
                <a:gd name="T6" fmla="*/ 171 w 258"/>
                <a:gd name="T7" fmla="*/ 146 h 277"/>
                <a:gd name="T8" fmla="*/ 150 w 258"/>
                <a:gd name="T9" fmla="*/ 163 h 277"/>
                <a:gd name="T10" fmla="*/ 139 w 258"/>
                <a:gd name="T11" fmla="*/ 155 h 277"/>
                <a:gd name="T12" fmla="*/ 130 w 258"/>
                <a:gd name="T13" fmla="*/ 129 h 277"/>
                <a:gd name="T14" fmla="*/ 102 w 258"/>
                <a:gd name="T15" fmla="*/ 61 h 277"/>
                <a:gd name="T16" fmla="*/ 80 w 258"/>
                <a:gd name="T17" fmla="*/ 0 h 277"/>
                <a:gd name="T18" fmla="*/ 0 w 258"/>
                <a:gd name="T19" fmla="*/ 38 h 277"/>
                <a:gd name="T20" fmla="*/ 38 w 258"/>
                <a:gd name="T21" fmla="*/ 143 h 277"/>
                <a:gd name="T22" fmla="*/ 64 w 258"/>
                <a:gd name="T23" fmla="*/ 223 h 277"/>
                <a:gd name="T24" fmla="*/ 124 w 258"/>
                <a:gd name="T25" fmla="*/ 264 h 277"/>
                <a:gd name="T26" fmla="*/ 208 w 258"/>
                <a:gd name="T27" fmla="*/ 264 h 277"/>
                <a:gd name="T28" fmla="*/ 244 w 258"/>
                <a:gd name="T29" fmla="*/ 240 h 277"/>
                <a:gd name="T30" fmla="*/ 258 w 258"/>
                <a:gd name="T31" fmla="*/ 230 h 277"/>
                <a:gd name="T32" fmla="*/ 258 w 258"/>
                <a:gd name="T33" fmla="*/ 172 h 277"/>
                <a:gd name="T34" fmla="*/ 232 w 258"/>
                <a:gd name="T35" fmla="*/ 11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8" h="277">
                  <a:moveTo>
                    <a:pt x="232" y="117"/>
                  </a:moveTo>
                  <a:cubicBezTo>
                    <a:pt x="223" y="114"/>
                    <a:pt x="223" y="114"/>
                    <a:pt x="223" y="114"/>
                  </a:cubicBezTo>
                  <a:cubicBezTo>
                    <a:pt x="223" y="114"/>
                    <a:pt x="208" y="130"/>
                    <a:pt x="199" y="132"/>
                  </a:cubicBezTo>
                  <a:cubicBezTo>
                    <a:pt x="190" y="134"/>
                    <a:pt x="171" y="146"/>
                    <a:pt x="171" y="146"/>
                  </a:cubicBezTo>
                  <a:cubicBezTo>
                    <a:pt x="150" y="163"/>
                    <a:pt x="150" y="163"/>
                    <a:pt x="150" y="163"/>
                  </a:cubicBezTo>
                  <a:cubicBezTo>
                    <a:pt x="150" y="163"/>
                    <a:pt x="134" y="166"/>
                    <a:pt x="139" y="155"/>
                  </a:cubicBezTo>
                  <a:cubicBezTo>
                    <a:pt x="143" y="143"/>
                    <a:pt x="130" y="129"/>
                    <a:pt x="130" y="129"/>
                  </a:cubicBezTo>
                  <a:cubicBezTo>
                    <a:pt x="130" y="129"/>
                    <a:pt x="102" y="73"/>
                    <a:pt x="102" y="61"/>
                  </a:cubicBezTo>
                  <a:cubicBezTo>
                    <a:pt x="102" y="49"/>
                    <a:pt x="80" y="0"/>
                    <a:pt x="80" y="0"/>
                  </a:cubicBezTo>
                  <a:cubicBezTo>
                    <a:pt x="80" y="0"/>
                    <a:pt x="51" y="55"/>
                    <a:pt x="0" y="38"/>
                  </a:cubicBezTo>
                  <a:cubicBezTo>
                    <a:pt x="0" y="38"/>
                    <a:pt x="37" y="122"/>
                    <a:pt x="38" y="143"/>
                  </a:cubicBezTo>
                  <a:cubicBezTo>
                    <a:pt x="39" y="164"/>
                    <a:pt x="64" y="223"/>
                    <a:pt x="64" y="223"/>
                  </a:cubicBezTo>
                  <a:cubicBezTo>
                    <a:pt x="64" y="223"/>
                    <a:pt x="73" y="267"/>
                    <a:pt x="124" y="264"/>
                  </a:cubicBezTo>
                  <a:cubicBezTo>
                    <a:pt x="124" y="264"/>
                    <a:pt x="193" y="277"/>
                    <a:pt x="208" y="264"/>
                  </a:cubicBezTo>
                  <a:cubicBezTo>
                    <a:pt x="224" y="251"/>
                    <a:pt x="237" y="241"/>
                    <a:pt x="244" y="240"/>
                  </a:cubicBezTo>
                  <a:cubicBezTo>
                    <a:pt x="252" y="238"/>
                    <a:pt x="258" y="230"/>
                    <a:pt x="258" y="230"/>
                  </a:cubicBezTo>
                  <a:cubicBezTo>
                    <a:pt x="258" y="172"/>
                    <a:pt x="258" y="172"/>
                    <a:pt x="258" y="172"/>
                  </a:cubicBezTo>
                  <a:cubicBezTo>
                    <a:pt x="232" y="117"/>
                    <a:pt x="232" y="117"/>
                    <a:pt x="232" y="117"/>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îšḻïḋé">
              <a:extLst>
                <a:ext uri="{FF2B5EF4-FFF2-40B4-BE49-F238E27FC236}">
                  <a16:creationId xmlns:a16="http://schemas.microsoft.com/office/drawing/2014/main" id="{E6FA91F9-4222-4ECD-A392-FE61E73C7760}"/>
                </a:ext>
              </a:extLst>
            </p:cNvPr>
            <p:cNvSpPr/>
            <p:nvPr/>
          </p:nvSpPr>
          <p:spPr bwMode="auto">
            <a:xfrm>
              <a:off x="6892925" y="3659188"/>
              <a:ext cx="15875" cy="69850"/>
            </a:xfrm>
            <a:custGeom>
              <a:avLst/>
              <a:gdLst>
                <a:gd name="T0" fmla="*/ 0 w 12"/>
                <a:gd name="T1" fmla="*/ 0 h 50"/>
                <a:gd name="T2" fmla="*/ 4 w 12"/>
                <a:gd name="T3" fmla="*/ 50 h 50"/>
                <a:gd name="T4" fmla="*/ 0 w 12"/>
                <a:gd name="T5" fmla="*/ 0 h 50"/>
              </a:gdLst>
              <a:ahLst/>
              <a:cxnLst>
                <a:cxn ang="0">
                  <a:pos x="T0" y="T1"/>
                </a:cxn>
                <a:cxn ang="0">
                  <a:pos x="T2" y="T3"/>
                </a:cxn>
                <a:cxn ang="0">
                  <a:pos x="T4" y="T5"/>
                </a:cxn>
              </a:cxnLst>
              <a:rect l="0" t="0" r="r" b="b"/>
              <a:pathLst>
                <a:path w="12" h="50">
                  <a:moveTo>
                    <a:pt x="0" y="0"/>
                  </a:moveTo>
                  <a:cubicBezTo>
                    <a:pt x="4" y="50"/>
                    <a:pt x="4" y="50"/>
                    <a:pt x="4" y="50"/>
                  </a:cubicBezTo>
                  <a:cubicBezTo>
                    <a:pt x="12" y="45"/>
                    <a:pt x="0" y="0"/>
                    <a:pt x="0"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şľïdé">
              <a:extLst>
                <a:ext uri="{FF2B5EF4-FFF2-40B4-BE49-F238E27FC236}">
                  <a16:creationId xmlns:a16="http://schemas.microsoft.com/office/drawing/2014/main" id="{1C8B4EA0-74F0-4FE7-874C-7970E247F781}"/>
                </a:ext>
              </a:extLst>
            </p:cNvPr>
            <p:cNvSpPr/>
            <p:nvPr/>
          </p:nvSpPr>
          <p:spPr bwMode="auto">
            <a:xfrm>
              <a:off x="7156450" y="4029076"/>
              <a:ext cx="0" cy="7938"/>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2"/>
                    <a:pt x="0" y="3"/>
                    <a:pt x="0" y="5"/>
                  </a:cubicBezTo>
                  <a:cubicBezTo>
                    <a:pt x="0" y="3"/>
                    <a:pt x="0" y="2"/>
                    <a:pt x="0"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îṥḻîḋé">
              <a:extLst>
                <a:ext uri="{FF2B5EF4-FFF2-40B4-BE49-F238E27FC236}">
                  <a16:creationId xmlns:a16="http://schemas.microsoft.com/office/drawing/2014/main" id="{B3711720-C133-44FE-BF84-C142B63058E9}"/>
                </a:ext>
              </a:extLst>
            </p:cNvPr>
            <p:cNvSpPr/>
            <p:nvPr/>
          </p:nvSpPr>
          <p:spPr bwMode="auto">
            <a:xfrm>
              <a:off x="7196138" y="4030663"/>
              <a:ext cx="227013" cy="20638"/>
            </a:xfrm>
            <a:custGeom>
              <a:avLst/>
              <a:gdLst>
                <a:gd name="T0" fmla="*/ 1 w 164"/>
                <a:gd name="T1" fmla="*/ 0 h 15"/>
                <a:gd name="T2" fmla="*/ 0 w 164"/>
                <a:gd name="T3" fmla="*/ 6 h 15"/>
                <a:gd name="T4" fmla="*/ 1 w 164"/>
                <a:gd name="T5" fmla="*/ 6 h 15"/>
                <a:gd name="T6" fmla="*/ 160 w 164"/>
                <a:gd name="T7" fmla="*/ 15 h 15"/>
                <a:gd name="T8" fmla="*/ 160 w 164"/>
                <a:gd name="T9" fmla="*/ 15 h 15"/>
                <a:gd name="T10" fmla="*/ 164 w 164"/>
                <a:gd name="T11" fmla="*/ 9 h 15"/>
                <a:gd name="T12" fmla="*/ 1 w 16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4" h="15">
                  <a:moveTo>
                    <a:pt x="1" y="0"/>
                  </a:moveTo>
                  <a:cubicBezTo>
                    <a:pt x="1" y="2"/>
                    <a:pt x="1" y="4"/>
                    <a:pt x="0" y="6"/>
                  </a:cubicBezTo>
                  <a:cubicBezTo>
                    <a:pt x="1" y="6"/>
                    <a:pt x="1" y="6"/>
                    <a:pt x="1" y="6"/>
                  </a:cubicBezTo>
                  <a:cubicBezTo>
                    <a:pt x="160" y="15"/>
                    <a:pt x="160" y="15"/>
                    <a:pt x="160" y="15"/>
                  </a:cubicBezTo>
                  <a:cubicBezTo>
                    <a:pt x="160" y="15"/>
                    <a:pt x="160" y="15"/>
                    <a:pt x="160" y="15"/>
                  </a:cubicBezTo>
                  <a:cubicBezTo>
                    <a:pt x="160" y="14"/>
                    <a:pt x="162" y="12"/>
                    <a:pt x="164" y="9"/>
                  </a:cubicBezTo>
                  <a:cubicBezTo>
                    <a:pt x="1" y="0"/>
                    <a:pt x="1" y="0"/>
                    <a:pt x="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îş1îdè">
              <a:extLst>
                <a:ext uri="{FF2B5EF4-FFF2-40B4-BE49-F238E27FC236}">
                  <a16:creationId xmlns:a16="http://schemas.microsoft.com/office/drawing/2014/main" id="{5DDD855D-CEE5-4EA2-A9E4-135645D4EED7}"/>
                </a:ext>
              </a:extLst>
            </p:cNvPr>
            <p:cNvSpPr/>
            <p:nvPr/>
          </p:nvSpPr>
          <p:spPr bwMode="auto">
            <a:xfrm>
              <a:off x="7467600" y="4659313"/>
              <a:ext cx="3175" cy="7938"/>
            </a:xfrm>
            <a:custGeom>
              <a:avLst/>
              <a:gdLst>
                <a:gd name="T0" fmla="*/ 2 w 2"/>
                <a:gd name="T1" fmla="*/ 0 h 6"/>
                <a:gd name="T2" fmla="*/ 0 w 2"/>
                <a:gd name="T3" fmla="*/ 6 h 6"/>
                <a:gd name="T4" fmla="*/ 0 w 2"/>
                <a:gd name="T5" fmla="*/ 6 h 6"/>
                <a:gd name="T6" fmla="*/ 2 w 2"/>
                <a:gd name="T7" fmla="*/ 0 h 6"/>
                <a:gd name="T8" fmla="*/ 2 w 2"/>
                <a:gd name="T9" fmla="*/ 0 h 6"/>
              </a:gdLst>
              <a:ahLst/>
              <a:cxnLst>
                <a:cxn ang="0">
                  <a:pos x="T0" y="T1"/>
                </a:cxn>
                <a:cxn ang="0">
                  <a:pos x="T2" y="T3"/>
                </a:cxn>
                <a:cxn ang="0">
                  <a:pos x="T4" y="T5"/>
                </a:cxn>
                <a:cxn ang="0">
                  <a:pos x="T6" y="T7"/>
                </a:cxn>
                <a:cxn ang="0">
                  <a:pos x="T8" y="T9"/>
                </a:cxn>
              </a:cxnLst>
              <a:rect l="0" t="0" r="r" b="b"/>
              <a:pathLst>
                <a:path w="2" h="6">
                  <a:moveTo>
                    <a:pt x="2" y="0"/>
                  </a:moveTo>
                  <a:cubicBezTo>
                    <a:pt x="1" y="2"/>
                    <a:pt x="0" y="4"/>
                    <a:pt x="0" y="6"/>
                  </a:cubicBezTo>
                  <a:cubicBezTo>
                    <a:pt x="0" y="6"/>
                    <a:pt x="0" y="6"/>
                    <a:pt x="0" y="6"/>
                  </a:cubicBezTo>
                  <a:cubicBezTo>
                    <a:pt x="0" y="4"/>
                    <a:pt x="1" y="2"/>
                    <a:pt x="2" y="0"/>
                  </a:cubicBezTo>
                  <a:cubicBezTo>
                    <a:pt x="2" y="0"/>
                    <a:pt x="2" y="0"/>
                    <a:pt x="2" y="0"/>
                  </a:cubicBezTo>
                </a:path>
              </a:pathLst>
            </a:custGeom>
            <a:solidFill>
              <a:srgbClr val="356B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îṧļîḑe">
              <a:extLst>
                <a:ext uri="{FF2B5EF4-FFF2-40B4-BE49-F238E27FC236}">
                  <a16:creationId xmlns:a16="http://schemas.microsoft.com/office/drawing/2014/main" id="{1BED912B-6DDA-4276-982C-781CE0F4CBE6}"/>
                </a:ext>
              </a:extLst>
            </p:cNvPr>
            <p:cNvSpPr/>
            <p:nvPr/>
          </p:nvSpPr>
          <p:spPr bwMode="auto">
            <a:xfrm>
              <a:off x="7332663" y="4654551"/>
              <a:ext cx="138113" cy="12700"/>
            </a:xfrm>
            <a:custGeom>
              <a:avLst/>
              <a:gdLst>
                <a:gd name="T0" fmla="*/ 0 w 99"/>
                <a:gd name="T1" fmla="*/ 0 h 9"/>
                <a:gd name="T2" fmla="*/ 0 w 99"/>
                <a:gd name="T3" fmla="*/ 5 h 9"/>
                <a:gd name="T4" fmla="*/ 0 w 99"/>
                <a:gd name="T5" fmla="*/ 5 h 9"/>
                <a:gd name="T6" fmla="*/ 97 w 99"/>
                <a:gd name="T7" fmla="*/ 9 h 9"/>
                <a:gd name="T8" fmla="*/ 99 w 99"/>
                <a:gd name="T9" fmla="*/ 3 h 9"/>
                <a:gd name="T10" fmla="*/ 0 w 99"/>
                <a:gd name="T11" fmla="*/ 0 h 9"/>
              </a:gdLst>
              <a:ahLst/>
              <a:cxnLst>
                <a:cxn ang="0">
                  <a:pos x="T0" y="T1"/>
                </a:cxn>
                <a:cxn ang="0">
                  <a:pos x="T2" y="T3"/>
                </a:cxn>
                <a:cxn ang="0">
                  <a:pos x="T4" y="T5"/>
                </a:cxn>
                <a:cxn ang="0">
                  <a:pos x="T6" y="T7"/>
                </a:cxn>
                <a:cxn ang="0">
                  <a:pos x="T8" y="T9"/>
                </a:cxn>
                <a:cxn ang="0">
                  <a:pos x="T10" y="T11"/>
                </a:cxn>
              </a:cxnLst>
              <a:rect l="0" t="0" r="r" b="b"/>
              <a:pathLst>
                <a:path w="99" h="9">
                  <a:moveTo>
                    <a:pt x="0" y="0"/>
                  </a:moveTo>
                  <a:cubicBezTo>
                    <a:pt x="0" y="1"/>
                    <a:pt x="0" y="3"/>
                    <a:pt x="0" y="5"/>
                  </a:cubicBezTo>
                  <a:cubicBezTo>
                    <a:pt x="0" y="5"/>
                    <a:pt x="0" y="5"/>
                    <a:pt x="0" y="5"/>
                  </a:cubicBezTo>
                  <a:cubicBezTo>
                    <a:pt x="34" y="6"/>
                    <a:pt x="70" y="7"/>
                    <a:pt x="97" y="9"/>
                  </a:cubicBezTo>
                  <a:cubicBezTo>
                    <a:pt x="97" y="7"/>
                    <a:pt x="98" y="5"/>
                    <a:pt x="99" y="3"/>
                  </a:cubicBezTo>
                  <a:cubicBezTo>
                    <a:pt x="72" y="2"/>
                    <a:pt x="35" y="0"/>
                    <a:pt x="0"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ïşḷîḓê">
              <a:extLst>
                <a:ext uri="{FF2B5EF4-FFF2-40B4-BE49-F238E27FC236}">
                  <a16:creationId xmlns:a16="http://schemas.microsoft.com/office/drawing/2014/main" id="{6DA21925-D360-4FDE-89CF-B767778AD65E}"/>
                </a:ext>
              </a:extLst>
            </p:cNvPr>
            <p:cNvSpPr/>
            <p:nvPr/>
          </p:nvSpPr>
          <p:spPr bwMode="auto">
            <a:xfrm>
              <a:off x="7132638" y="4654551"/>
              <a:ext cx="200025" cy="26988"/>
            </a:xfrm>
            <a:custGeom>
              <a:avLst/>
              <a:gdLst>
                <a:gd name="T0" fmla="*/ 136 w 144"/>
                <a:gd name="T1" fmla="*/ 0 h 19"/>
                <a:gd name="T2" fmla="*/ 52 w 144"/>
                <a:gd name="T3" fmla="*/ 6 h 19"/>
                <a:gd name="T4" fmla="*/ 8 w 144"/>
                <a:gd name="T5" fmla="*/ 13 h 19"/>
                <a:gd name="T6" fmla="*/ 0 w 144"/>
                <a:gd name="T7" fmla="*/ 13 h 19"/>
                <a:gd name="T8" fmla="*/ 1 w 144"/>
                <a:gd name="T9" fmla="*/ 19 h 19"/>
                <a:gd name="T10" fmla="*/ 8 w 144"/>
                <a:gd name="T11" fmla="*/ 19 h 19"/>
                <a:gd name="T12" fmla="*/ 52 w 144"/>
                <a:gd name="T13" fmla="*/ 12 h 19"/>
                <a:gd name="T14" fmla="*/ 109 w 144"/>
                <a:gd name="T15" fmla="*/ 6 h 19"/>
                <a:gd name="T16" fmla="*/ 144 w 144"/>
                <a:gd name="T17" fmla="*/ 5 h 19"/>
                <a:gd name="T18" fmla="*/ 144 w 144"/>
                <a:gd name="T19" fmla="*/ 0 h 19"/>
                <a:gd name="T20" fmla="*/ 136 w 144"/>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9">
                  <a:moveTo>
                    <a:pt x="136" y="0"/>
                  </a:moveTo>
                  <a:cubicBezTo>
                    <a:pt x="101" y="0"/>
                    <a:pt x="70" y="1"/>
                    <a:pt x="52" y="6"/>
                  </a:cubicBezTo>
                  <a:cubicBezTo>
                    <a:pt x="34" y="11"/>
                    <a:pt x="20" y="13"/>
                    <a:pt x="8" y="13"/>
                  </a:cubicBezTo>
                  <a:cubicBezTo>
                    <a:pt x="5" y="13"/>
                    <a:pt x="2" y="13"/>
                    <a:pt x="0" y="13"/>
                  </a:cubicBezTo>
                  <a:cubicBezTo>
                    <a:pt x="0" y="15"/>
                    <a:pt x="1" y="17"/>
                    <a:pt x="1" y="19"/>
                  </a:cubicBezTo>
                  <a:cubicBezTo>
                    <a:pt x="3" y="19"/>
                    <a:pt x="5" y="19"/>
                    <a:pt x="8" y="19"/>
                  </a:cubicBezTo>
                  <a:cubicBezTo>
                    <a:pt x="23" y="19"/>
                    <a:pt x="38" y="17"/>
                    <a:pt x="52" y="12"/>
                  </a:cubicBezTo>
                  <a:cubicBezTo>
                    <a:pt x="65" y="8"/>
                    <a:pt x="85" y="7"/>
                    <a:pt x="109" y="6"/>
                  </a:cubicBezTo>
                  <a:cubicBezTo>
                    <a:pt x="120" y="5"/>
                    <a:pt x="132" y="5"/>
                    <a:pt x="144" y="5"/>
                  </a:cubicBezTo>
                  <a:cubicBezTo>
                    <a:pt x="144" y="3"/>
                    <a:pt x="144" y="1"/>
                    <a:pt x="144" y="0"/>
                  </a:cubicBezTo>
                  <a:cubicBezTo>
                    <a:pt x="141" y="0"/>
                    <a:pt x="139" y="0"/>
                    <a:pt x="136"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îṥ1îḋè">
              <a:extLst>
                <a:ext uri="{FF2B5EF4-FFF2-40B4-BE49-F238E27FC236}">
                  <a16:creationId xmlns:a16="http://schemas.microsoft.com/office/drawing/2014/main" id="{1F304C7D-F61E-4E9A-A6F2-9A7DA0F6C5C9}"/>
                </a:ext>
              </a:extLst>
            </p:cNvPr>
            <p:cNvSpPr/>
            <p:nvPr/>
          </p:nvSpPr>
          <p:spPr bwMode="auto">
            <a:xfrm>
              <a:off x="7058025" y="4037013"/>
              <a:ext cx="501650" cy="646113"/>
            </a:xfrm>
            <a:custGeom>
              <a:avLst/>
              <a:gdLst>
                <a:gd name="T0" fmla="*/ 361 w 361"/>
                <a:gd name="T1" fmla="*/ 249 h 466"/>
                <a:gd name="T2" fmla="*/ 353 w 361"/>
                <a:gd name="T3" fmla="*/ 267 h 466"/>
                <a:gd name="T4" fmla="*/ 350 w 361"/>
                <a:gd name="T5" fmla="*/ 280 h 466"/>
                <a:gd name="T6" fmla="*/ 344 w 361"/>
                <a:gd name="T7" fmla="*/ 356 h 466"/>
                <a:gd name="T8" fmla="*/ 339 w 361"/>
                <a:gd name="T9" fmla="*/ 451 h 466"/>
                <a:gd name="T10" fmla="*/ 106 w 361"/>
                <a:gd name="T11" fmla="*/ 451 h 466"/>
                <a:gd name="T12" fmla="*/ 27 w 361"/>
                <a:gd name="T13" fmla="*/ 451 h 466"/>
                <a:gd name="T14" fmla="*/ 18 w 361"/>
                <a:gd name="T15" fmla="*/ 365 h 466"/>
                <a:gd name="T16" fmla="*/ 0 w 361"/>
                <a:gd name="T17" fmla="*/ 197 h 466"/>
                <a:gd name="T18" fmla="*/ 4 w 361"/>
                <a:gd name="T19" fmla="*/ 145 h 466"/>
                <a:gd name="T20" fmla="*/ 61 w 361"/>
                <a:gd name="T21" fmla="*/ 0 h 466"/>
                <a:gd name="T22" fmla="*/ 72 w 361"/>
                <a:gd name="T23" fmla="*/ 1 h 466"/>
                <a:gd name="T24" fmla="*/ 100 w 361"/>
                <a:gd name="T25" fmla="*/ 2 h 466"/>
                <a:gd name="T26" fmla="*/ 259 w 361"/>
                <a:gd name="T27" fmla="*/ 11 h 466"/>
                <a:gd name="T28" fmla="*/ 284 w 361"/>
                <a:gd name="T29" fmla="*/ 12 h 466"/>
                <a:gd name="T30" fmla="*/ 286 w 361"/>
                <a:gd name="T31" fmla="*/ 20 h 466"/>
                <a:gd name="T32" fmla="*/ 361 w 361"/>
                <a:gd name="T33" fmla="*/ 24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1" h="466">
                  <a:moveTo>
                    <a:pt x="361" y="249"/>
                  </a:moveTo>
                  <a:cubicBezTo>
                    <a:pt x="353" y="267"/>
                    <a:pt x="353" y="267"/>
                    <a:pt x="353" y="267"/>
                  </a:cubicBezTo>
                  <a:cubicBezTo>
                    <a:pt x="353" y="267"/>
                    <a:pt x="352" y="272"/>
                    <a:pt x="350" y="280"/>
                  </a:cubicBezTo>
                  <a:cubicBezTo>
                    <a:pt x="347" y="298"/>
                    <a:pt x="342" y="331"/>
                    <a:pt x="344" y="356"/>
                  </a:cubicBezTo>
                  <a:cubicBezTo>
                    <a:pt x="347" y="394"/>
                    <a:pt x="339" y="451"/>
                    <a:pt x="339" y="451"/>
                  </a:cubicBezTo>
                  <a:cubicBezTo>
                    <a:pt x="339" y="451"/>
                    <a:pt x="159" y="436"/>
                    <a:pt x="106" y="451"/>
                  </a:cubicBezTo>
                  <a:cubicBezTo>
                    <a:pt x="53" y="466"/>
                    <a:pt x="27" y="451"/>
                    <a:pt x="27" y="451"/>
                  </a:cubicBezTo>
                  <a:cubicBezTo>
                    <a:pt x="27" y="451"/>
                    <a:pt x="34" y="395"/>
                    <a:pt x="18" y="365"/>
                  </a:cubicBezTo>
                  <a:cubicBezTo>
                    <a:pt x="7" y="345"/>
                    <a:pt x="0" y="256"/>
                    <a:pt x="0" y="197"/>
                  </a:cubicBezTo>
                  <a:cubicBezTo>
                    <a:pt x="0" y="170"/>
                    <a:pt x="1" y="150"/>
                    <a:pt x="4" y="145"/>
                  </a:cubicBezTo>
                  <a:cubicBezTo>
                    <a:pt x="15" y="132"/>
                    <a:pt x="61" y="0"/>
                    <a:pt x="61" y="0"/>
                  </a:cubicBezTo>
                  <a:cubicBezTo>
                    <a:pt x="72" y="1"/>
                    <a:pt x="72" y="1"/>
                    <a:pt x="72" y="1"/>
                  </a:cubicBezTo>
                  <a:cubicBezTo>
                    <a:pt x="100" y="2"/>
                    <a:pt x="100" y="2"/>
                    <a:pt x="100" y="2"/>
                  </a:cubicBezTo>
                  <a:cubicBezTo>
                    <a:pt x="259" y="11"/>
                    <a:pt x="259" y="11"/>
                    <a:pt x="259" y="11"/>
                  </a:cubicBezTo>
                  <a:cubicBezTo>
                    <a:pt x="284" y="12"/>
                    <a:pt x="284" y="12"/>
                    <a:pt x="284" y="12"/>
                  </a:cubicBezTo>
                  <a:cubicBezTo>
                    <a:pt x="286" y="20"/>
                    <a:pt x="286" y="20"/>
                    <a:pt x="286" y="20"/>
                  </a:cubicBezTo>
                  <a:cubicBezTo>
                    <a:pt x="361" y="249"/>
                    <a:pt x="361" y="249"/>
                    <a:pt x="361" y="249"/>
                  </a:cubicBezTo>
                </a:path>
              </a:pathLst>
            </a:custGeom>
            <a:solidFill>
              <a:srgbClr val="444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îśḻïḑé">
              <a:extLst>
                <a:ext uri="{FF2B5EF4-FFF2-40B4-BE49-F238E27FC236}">
                  <a16:creationId xmlns:a16="http://schemas.microsoft.com/office/drawing/2014/main" id="{A96C32D7-14DB-4103-B456-6440B7B1206E}"/>
                </a:ext>
              </a:extLst>
            </p:cNvPr>
            <p:cNvSpPr/>
            <p:nvPr/>
          </p:nvSpPr>
          <p:spPr bwMode="auto">
            <a:xfrm>
              <a:off x="7562850" y="4198938"/>
              <a:ext cx="109538" cy="123825"/>
            </a:xfrm>
            <a:custGeom>
              <a:avLst/>
              <a:gdLst>
                <a:gd name="T0" fmla="*/ 78 w 79"/>
                <a:gd name="T1" fmla="*/ 74 h 89"/>
                <a:gd name="T2" fmla="*/ 79 w 79"/>
                <a:gd name="T3" fmla="*/ 89 h 89"/>
                <a:gd name="T4" fmla="*/ 4 w 79"/>
                <a:gd name="T5" fmla="*/ 32 h 89"/>
                <a:gd name="T6" fmla="*/ 4 w 79"/>
                <a:gd name="T7" fmla="*/ 4 h 89"/>
                <a:gd name="T8" fmla="*/ 68 w 79"/>
                <a:gd name="T9" fmla="*/ 9 h 89"/>
                <a:gd name="T10" fmla="*/ 78 w 79"/>
                <a:gd name="T11" fmla="*/ 74 h 89"/>
              </a:gdLst>
              <a:ahLst/>
              <a:cxnLst>
                <a:cxn ang="0">
                  <a:pos x="T0" y="T1"/>
                </a:cxn>
                <a:cxn ang="0">
                  <a:pos x="T2" y="T3"/>
                </a:cxn>
                <a:cxn ang="0">
                  <a:pos x="T4" y="T5"/>
                </a:cxn>
                <a:cxn ang="0">
                  <a:pos x="T6" y="T7"/>
                </a:cxn>
                <a:cxn ang="0">
                  <a:pos x="T8" y="T9"/>
                </a:cxn>
                <a:cxn ang="0">
                  <a:pos x="T10" y="T11"/>
                </a:cxn>
              </a:cxnLst>
              <a:rect l="0" t="0" r="r" b="b"/>
              <a:pathLst>
                <a:path w="79" h="89">
                  <a:moveTo>
                    <a:pt x="78" y="74"/>
                  </a:moveTo>
                  <a:cubicBezTo>
                    <a:pt x="79" y="89"/>
                    <a:pt x="79" y="89"/>
                    <a:pt x="79" y="89"/>
                  </a:cubicBezTo>
                  <a:cubicBezTo>
                    <a:pt x="79" y="89"/>
                    <a:pt x="0" y="64"/>
                    <a:pt x="4" y="32"/>
                  </a:cubicBezTo>
                  <a:cubicBezTo>
                    <a:pt x="8" y="0"/>
                    <a:pt x="4" y="4"/>
                    <a:pt x="4" y="4"/>
                  </a:cubicBezTo>
                  <a:cubicBezTo>
                    <a:pt x="68" y="9"/>
                    <a:pt x="68" y="9"/>
                    <a:pt x="68" y="9"/>
                  </a:cubicBezTo>
                  <a:cubicBezTo>
                    <a:pt x="78" y="74"/>
                    <a:pt x="78" y="74"/>
                    <a:pt x="78" y="74"/>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iŝ1iḓè">
              <a:extLst>
                <a:ext uri="{FF2B5EF4-FFF2-40B4-BE49-F238E27FC236}">
                  <a16:creationId xmlns:a16="http://schemas.microsoft.com/office/drawing/2014/main" id="{695BE8E5-3FCD-4D6C-8776-327791CB348E}"/>
                </a:ext>
              </a:extLst>
            </p:cNvPr>
            <p:cNvSpPr/>
            <p:nvPr/>
          </p:nvSpPr>
          <p:spPr bwMode="auto">
            <a:xfrm>
              <a:off x="7608888" y="4284663"/>
              <a:ext cx="63500" cy="38100"/>
            </a:xfrm>
            <a:custGeom>
              <a:avLst/>
              <a:gdLst>
                <a:gd name="T0" fmla="*/ 27 w 46"/>
                <a:gd name="T1" fmla="*/ 0 h 27"/>
                <a:gd name="T2" fmla="*/ 23 w 46"/>
                <a:gd name="T3" fmla="*/ 2 h 27"/>
                <a:gd name="T4" fmla="*/ 0 w 46"/>
                <a:gd name="T5" fmla="*/ 6 h 27"/>
                <a:gd name="T6" fmla="*/ 46 w 46"/>
                <a:gd name="T7" fmla="*/ 27 h 27"/>
                <a:gd name="T8" fmla="*/ 46 w 46"/>
                <a:gd name="T9" fmla="*/ 27 h 27"/>
                <a:gd name="T10" fmla="*/ 27 w 46"/>
                <a:gd name="T11" fmla="*/ 0 h 27"/>
              </a:gdLst>
              <a:ahLst/>
              <a:cxnLst>
                <a:cxn ang="0">
                  <a:pos x="T0" y="T1"/>
                </a:cxn>
                <a:cxn ang="0">
                  <a:pos x="T2" y="T3"/>
                </a:cxn>
                <a:cxn ang="0">
                  <a:pos x="T4" y="T5"/>
                </a:cxn>
                <a:cxn ang="0">
                  <a:pos x="T6" y="T7"/>
                </a:cxn>
                <a:cxn ang="0">
                  <a:pos x="T8" y="T9"/>
                </a:cxn>
                <a:cxn ang="0">
                  <a:pos x="T10" y="T11"/>
                </a:cxn>
              </a:cxnLst>
              <a:rect l="0" t="0" r="r" b="b"/>
              <a:pathLst>
                <a:path w="46" h="27">
                  <a:moveTo>
                    <a:pt x="27" y="0"/>
                  </a:moveTo>
                  <a:cubicBezTo>
                    <a:pt x="26" y="1"/>
                    <a:pt x="24" y="1"/>
                    <a:pt x="23" y="2"/>
                  </a:cubicBezTo>
                  <a:cubicBezTo>
                    <a:pt x="15" y="4"/>
                    <a:pt x="7" y="5"/>
                    <a:pt x="0" y="6"/>
                  </a:cubicBezTo>
                  <a:cubicBezTo>
                    <a:pt x="21" y="19"/>
                    <a:pt x="46" y="27"/>
                    <a:pt x="46" y="27"/>
                  </a:cubicBezTo>
                  <a:cubicBezTo>
                    <a:pt x="46" y="27"/>
                    <a:pt x="46" y="27"/>
                    <a:pt x="46" y="27"/>
                  </a:cubicBezTo>
                  <a:cubicBezTo>
                    <a:pt x="46" y="27"/>
                    <a:pt x="38" y="15"/>
                    <a:pt x="27"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šḷíḋè">
              <a:extLst>
                <a:ext uri="{FF2B5EF4-FFF2-40B4-BE49-F238E27FC236}">
                  <a16:creationId xmlns:a16="http://schemas.microsoft.com/office/drawing/2014/main" id="{43C5ADFC-B2E8-4776-ABF7-05EC75B20F0E}"/>
                </a:ext>
              </a:extLst>
            </p:cNvPr>
            <p:cNvSpPr/>
            <p:nvPr/>
          </p:nvSpPr>
          <p:spPr bwMode="auto">
            <a:xfrm>
              <a:off x="6950075" y="3659188"/>
              <a:ext cx="53975" cy="38100"/>
            </a:xfrm>
            <a:custGeom>
              <a:avLst/>
              <a:gdLst>
                <a:gd name="T0" fmla="*/ 37 w 39"/>
                <a:gd name="T1" fmla="*/ 26 h 27"/>
                <a:gd name="T2" fmla="*/ 39 w 39"/>
                <a:gd name="T3" fmla="*/ 27 h 27"/>
                <a:gd name="T4" fmla="*/ 37 w 39"/>
                <a:gd name="T5" fmla="*/ 26 h 27"/>
                <a:gd name="T6" fmla="*/ 0 w 39"/>
                <a:gd name="T7" fmla="*/ 0 h 27"/>
                <a:gd name="T8" fmla="*/ 12 w 39"/>
                <a:gd name="T9" fmla="*/ 12 h 27"/>
                <a:gd name="T10" fmla="*/ 37 w 39"/>
                <a:gd name="T11" fmla="*/ 26 h 27"/>
                <a:gd name="T12" fmla="*/ 31 w 39"/>
                <a:gd name="T13" fmla="*/ 23 h 27"/>
                <a:gd name="T14" fmla="*/ 15 w 39"/>
                <a:gd name="T15" fmla="*/ 10 h 27"/>
                <a:gd name="T16" fmla="*/ 0 w 39"/>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7">
                  <a:moveTo>
                    <a:pt x="37" y="26"/>
                  </a:moveTo>
                  <a:cubicBezTo>
                    <a:pt x="38" y="27"/>
                    <a:pt x="39" y="27"/>
                    <a:pt x="39" y="27"/>
                  </a:cubicBezTo>
                  <a:cubicBezTo>
                    <a:pt x="39" y="27"/>
                    <a:pt x="38" y="26"/>
                    <a:pt x="37" y="26"/>
                  </a:cubicBezTo>
                  <a:moveTo>
                    <a:pt x="0" y="0"/>
                  </a:moveTo>
                  <a:cubicBezTo>
                    <a:pt x="3" y="4"/>
                    <a:pt x="7" y="9"/>
                    <a:pt x="12" y="12"/>
                  </a:cubicBezTo>
                  <a:cubicBezTo>
                    <a:pt x="19" y="19"/>
                    <a:pt x="28" y="24"/>
                    <a:pt x="37" y="26"/>
                  </a:cubicBezTo>
                  <a:cubicBezTo>
                    <a:pt x="35" y="26"/>
                    <a:pt x="33" y="24"/>
                    <a:pt x="31" y="23"/>
                  </a:cubicBezTo>
                  <a:cubicBezTo>
                    <a:pt x="26" y="19"/>
                    <a:pt x="20" y="14"/>
                    <a:pt x="15" y="10"/>
                  </a:cubicBezTo>
                  <a:cubicBezTo>
                    <a:pt x="11" y="7"/>
                    <a:pt x="5" y="1"/>
                    <a:pt x="0"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ṣlíďe">
              <a:extLst>
                <a:ext uri="{FF2B5EF4-FFF2-40B4-BE49-F238E27FC236}">
                  <a16:creationId xmlns:a16="http://schemas.microsoft.com/office/drawing/2014/main" id="{CEBF084F-5E8F-45E1-8789-25FD79454503}"/>
                </a:ext>
              </a:extLst>
            </p:cNvPr>
            <p:cNvSpPr/>
            <p:nvPr/>
          </p:nvSpPr>
          <p:spPr bwMode="auto">
            <a:xfrm>
              <a:off x="6935788" y="3678238"/>
              <a:ext cx="42863" cy="82550"/>
            </a:xfrm>
            <a:custGeom>
              <a:avLst/>
              <a:gdLst>
                <a:gd name="T0" fmla="*/ 2 w 31"/>
                <a:gd name="T1" fmla="*/ 0 h 60"/>
                <a:gd name="T2" fmla="*/ 1 w 31"/>
                <a:gd name="T3" fmla="*/ 1 h 60"/>
                <a:gd name="T4" fmla="*/ 9 w 31"/>
                <a:gd name="T5" fmla="*/ 14 h 60"/>
                <a:gd name="T6" fmla="*/ 16 w 31"/>
                <a:gd name="T7" fmla="*/ 29 h 60"/>
                <a:gd name="T8" fmla="*/ 28 w 31"/>
                <a:gd name="T9" fmla="*/ 60 h 60"/>
                <a:gd name="T10" fmla="*/ 29 w 31"/>
                <a:gd name="T11" fmla="*/ 30 h 60"/>
                <a:gd name="T12" fmla="*/ 23 w 31"/>
                <a:gd name="T13" fmla="*/ 20 h 60"/>
                <a:gd name="T14" fmla="*/ 2 w 31"/>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60">
                  <a:moveTo>
                    <a:pt x="2" y="0"/>
                  </a:moveTo>
                  <a:cubicBezTo>
                    <a:pt x="2" y="0"/>
                    <a:pt x="1" y="1"/>
                    <a:pt x="1" y="1"/>
                  </a:cubicBezTo>
                  <a:cubicBezTo>
                    <a:pt x="0" y="3"/>
                    <a:pt x="8" y="12"/>
                    <a:pt x="9" y="14"/>
                  </a:cubicBezTo>
                  <a:cubicBezTo>
                    <a:pt x="11" y="19"/>
                    <a:pt x="14" y="24"/>
                    <a:pt x="16" y="29"/>
                  </a:cubicBezTo>
                  <a:cubicBezTo>
                    <a:pt x="28" y="60"/>
                    <a:pt x="28" y="60"/>
                    <a:pt x="28" y="60"/>
                  </a:cubicBezTo>
                  <a:cubicBezTo>
                    <a:pt x="31" y="50"/>
                    <a:pt x="31" y="40"/>
                    <a:pt x="29" y="30"/>
                  </a:cubicBezTo>
                  <a:cubicBezTo>
                    <a:pt x="27" y="26"/>
                    <a:pt x="25" y="23"/>
                    <a:pt x="23" y="20"/>
                  </a:cubicBezTo>
                  <a:cubicBezTo>
                    <a:pt x="21" y="17"/>
                    <a:pt x="7" y="0"/>
                    <a:pt x="2"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iSḷidê">
              <a:extLst>
                <a:ext uri="{FF2B5EF4-FFF2-40B4-BE49-F238E27FC236}">
                  <a16:creationId xmlns:a16="http://schemas.microsoft.com/office/drawing/2014/main" id="{FADB8CEF-D067-4EBD-8BE1-C2DEDE094895}"/>
                </a:ext>
              </a:extLst>
            </p:cNvPr>
            <p:cNvSpPr/>
            <p:nvPr/>
          </p:nvSpPr>
          <p:spPr bwMode="auto">
            <a:xfrm>
              <a:off x="7388225" y="3924301"/>
              <a:ext cx="100013" cy="17463"/>
            </a:xfrm>
            <a:custGeom>
              <a:avLst/>
              <a:gdLst>
                <a:gd name="T0" fmla="*/ 71 w 72"/>
                <a:gd name="T1" fmla="*/ 0 h 12"/>
                <a:gd name="T2" fmla="*/ 35 w 72"/>
                <a:gd name="T3" fmla="*/ 9 h 12"/>
                <a:gd name="T4" fmla="*/ 23 w 72"/>
                <a:gd name="T5" fmla="*/ 11 h 12"/>
                <a:gd name="T6" fmla="*/ 0 w 72"/>
                <a:gd name="T7" fmla="*/ 6 h 12"/>
                <a:gd name="T8" fmla="*/ 32 w 72"/>
                <a:gd name="T9" fmla="*/ 12 h 12"/>
                <a:gd name="T10" fmla="*/ 51 w 72"/>
                <a:gd name="T11" fmla="*/ 11 h 12"/>
                <a:gd name="T12" fmla="*/ 72 w 72"/>
                <a:gd name="T13" fmla="*/ 2 h 12"/>
                <a:gd name="T14" fmla="*/ 71 w 7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2">
                  <a:moveTo>
                    <a:pt x="71" y="0"/>
                  </a:moveTo>
                  <a:cubicBezTo>
                    <a:pt x="59" y="2"/>
                    <a:pt x="48" y="7"/>
                    <a:pt x="35" y="9"/>
                  </a:cubicBezTo>
                  <a:cubicBezTo>
                    <a:pt x="31" y="10"/>
                    <a:pt x="27" y="11"/>
                    <a:pt x="23" y="11"/>
                  </a:cubicBezTo>
                  <a:cubicBezTo>
                    <a:pt x="15" y="11"/>
                    <a:pt x="7" y="9"/>
                    <a:pt x="0" y="6"/>
                  </a:cubicBezTo>
                  <a:cubicBezTo>
                    <a:pt x="9" y="11"/>
                    <a:pt x="21" y="12"/>
                    <a:pt x="32" y="12"/>
                  </a:cubicBezTo>
                  <a:cubicBezTo>
                    <a:pt x="38" y="12"/>
                    <a:pt x="45" y="12"/>
                    <a:pt x="51" y="11"/>
                  </a:cubicBezTo>
                  <a:cubicBezTo>
                    <a:pt x="58" y="10"/>
                    <a:pt x="66" y="7"/>
                    <a:pt x="72" y="2"/>
                  </a:cubicBezTo>
                  <a:cubicBezTo>
                    <a:pt x="72" y="1"/>
                    <a:pt x="72" y="1"/>
                    <a:pt x="7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îšḷïďê">
              <a:extLst>
                <a:ext uri="{FF2B5EF4-FFF2-40B4-BE49-F238E27FC236}">
                  <a16:creationId xmlns:a16="http://schemas.microsoft.com/office/drawing/2014/main" id="{3015BAAF-AC02-4ACA-A04D-680D114BEB58}"/>
                </a:ext>
              </a:extLst>
            </p:cNvPr>
            <p:cNvSpPr/>
            <p:nvPr/>
          </p:nvSpPr>
          <p:spPr bwMode="auto">
            <a:xfrm>
              <a:off x="7318375" y="3762376"/>
              <a:ext cx="88900" cy="52388"/>
            </a:xfrm>
            <a:custGeom>
              <a:avLst/>
              <a:gdLst>
                <a:gd name="T0" fmla="*/ 56 w 64"/>
                <a:gd name="T1" fmla="*/ 36 h 38"/>
                <a:gd name="T2" fmla="*/ 57 w 64"/>
                <a:gd name="T3" fmla="*/ 37 h 38"/>
                <a:gd name="T4" fmla="*/ 62 w 64"/>
                <a:gd name="T5" fmla="*/ 38 h 38"/>
                <a:gd name="T6" fmla="*/ 64 w 64"/>
                <a:gd name="T7" fmla="*/ 38 h 38"/>
                <a:gd name="T8" fmla="*/ 56 w 64"/>
                <a:gd name="T9" fmla="*/ 36 h 38"/>
                <a:gd name="T10" fmla="*/ 3 w 64"/>
                <a:gd name="T11" fmla="*/ 2 h 38"/>
                <a:gd name="T12" fmla="*/ 56 w 64"/>
                <a:gd name="T13" fmla="*/ 36 h 38"/>
                <a:gd name="T14" fmla="*/ 28 w 64"/>
                <a:gd name="T15" fmla="*/ 19 h 38"/>
                <a:gd name="T16" fmla="*/ 3 w 64"/>
                <a:gd name="T17" fmla="*/ 2 h 38"/>
                <a:gd name="T18" fmla="*/ 0 w 64"/>
                <a:gd name="T19" fmla="*/ 0 h 38"/>
                <a:gd name="T20" fmla="*/ 3 w 64"/>
                <a:gd name="T21" fmla="*/ 2 h 38"/>
                <a:gd name="T22" fmla="*/ 0 w 64"/>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38">
                  <a:moveTo>
                    <a:pt x="56" y="36"/>
                  </a:moveTo>
                  <a:cubicBezTo>
                    <a:pt x="57" y="36"/>
                    <a:pt x="57" y="36"/>
                    <a:pt x="57" y="37"/>
                  </a:cubicBezTo>
                  <a:cubicBezTo>
                    <a:pt x="59" y="38"/>
                    <a:pt x="61" y="38"/>
                    <a:pt x="62" y="38"/>
                  </a:cubicBezTo>
                  <a:cubicBezTo>
                    <a:pt x="63" y="38"/>
                    <a:pt x="63" y="38"/>
                    <a:pt x="64" y="38"/>
                  </a:cubicBezTo>
                  <a:cubicBezTo>
                    <a:pt x="61" y="38"/>
                    <a:pt x="59" y="37"/>
                    <a:pt x="56" y="36"/>
                  </a:cubicBezTo>
                  <a:moveTo>
                    <a:pt x="3" y="2"/>
                  </a:moveTo>
                  <a:cubicBezTo>
                    <a:pt x="19" y="17"/>
                    <a:pt x="35" y="29"/>
                    <a:pt x="56" y="36"/>
                  </a:cubicBezTo>
                  <a:cubicBezTo>
                    <a:pt x="47" y="31"/>
                    <a:pt x="38" y="25"/>
                    <a:pt x="28" y="19"/>
                  </a:cubicBezTo>
                  <a:cubicBezTo>
                    <a:pt x="20" y="14"/>
                    <a:pt x="10" y="8"/>
                    <a:pt x="3" y="2"/>
                  </a:cubicBezTo>
                  <a:moveTo>
                    <a:pt x="0" y="0"/>
                  </a:moveTo>
                  <a:cubicBezTo>
                    <a:pt x="1" y="0"/>
                    <a:pt x="2" y="1"/>
                    <a:pt x="3" y="2"/>
                  </a:cubicBezTo>
                  <a:cubicBezTo>
                    <a:pt x="2" y="1"/>
                    <a:pt x="1"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îŝlïḍê">
              <a:extLst>
                <a:ext uri="{FF2B5EF4-FFF2-40B4-BE49-F238E27FC236}">
                  <a16:creationId xmlns:a16="http://schemas.microsoft.com/office/drawing/2014/main" id="{09CE3F9C-0A7A-4F13-AF34-240DA2774BCE}"/>
                </a:ext>
              </a:extLst>
            </p:cNvPr>
            <p:cNvSpPr/>
            <p:nvPr/>
          </p:nvSpPr>
          <p:spPr bwMode="auto">
            <a:xfrm>
              <a:off x="7407275" y="3946526"/>
              <a:ext cx="76200" cy="12700"/>
            </a:xfrm>
            <a:custGeom>
              <a:avLst/>
              <a:gdLst>
                <a:gd name="T0" fmla="*/ 53 w 55"/>
                <a:gd name="T1" fmla="*/ 0 h 10"/>
                <a:gd name="T2" fmla="*/ 49 w 55"/>
                <a:gd name="T3" fmla="*/ 1 h 10"/>
                <a:gd name="T4" fmla="*/ 15 w 55"/>
                <a:gd name="T5" fmla="*/ 8 h 10"/>
                <a:gd name="T6" fmla="*/ 0 w 55"/>
                <a:gd name="T7" fmla="*/ 7 h 10"/>
                <a:gd name="T8" fmla="*/ 20 w 55"/>
                <a:gd name="T9" fmla="*/ 10 h 10"/>
                <a:gd name="T10" fmla="*/ 23 w 55"/>
                <a:gd name="T11" fmla="*/ 10 h 10"/>
                <a:gd name="T12" fmla="*/ 26 w 55"/>
                <a:gd name="T13" fmla="*/ 10 h 10"/>
                <a:gd name="T14" fmla="*/ 27 w 55"/>
                <a:gd name="T15" fmla="*/ 10 h 10"/>
                <a:gd name="T16" fmla="*/ 30 w 55"/>
                <a:gd name="T17" fmla="*/ 10 h 10"/>
                <a:gd name="T18" fmla="*/ 42 w 55"/>
                <a:gd name="T19" fmla="*/ 9 h 10"/>
                <a:gd name="T20" fmla="*/ 55 w 55"/>
                <a:gd name="T21" fmla="*/ 1 h 10"/>
                <a:gd name="T22" fmla="*/ 53 w 55"/>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10">
                  <a:moveTo>
                    <a:pt x="53" y="0"/>
                  </a:moveTo>
                  <a:cubicBezTo>
                    <a:pt x="52" y="0"/>
                    <a:pt x="51" y="1"/>
                    <a:pt x="49" y="1"/>
                  </a:cubicBezTo>
                  <a:cubicBezTo>
                    <a:pt x="38" y="6"/>
                    <a:pt x="26" y="8"/>
                    <a:pt x="15" y="8"/>
                  </a:cubicBezTo>
                  <a:cubicBezTo>
                    <a:pt x="10" y="8"/>
                    <a:pt x="5" y="8"/>
                    <a:pt x="0" y="7"/>
                  </a:cubicBezTo>
                  <a:cubicBezTo>
                    <a:pt x="6" y="10"/>
                    <a:pt x="13" y="10"/>
                    <a:pt x="20" y="10"/>
                  </a:cubicBezTo>
                  <a:cubicBezTo>
                    <a:pt x="21" y="10"/>
                    <a:pt x="22" y="10"/>
                    <a:pt x="23" y="10"/>
                  </a:cubicBezTo>
                  <a:cubicBezTo>
                    <a:pt x="24" y="10"/>
                    <a:pt x="25" y="10"/>
                    <a:pt x="26" y="10"/>
                  </a:cubicBezTo>
                  <a:cubicBezTo>
                    <a:pt x="26" y="10"/>
                    <a:pt x="27" y="10"/>
                    <a:pt x="27" y="10"/>
                  </a:cubicBezTo>
                  <a:cubicBezTo>
                    <a:pt x="28" y="10"/>
                    <a:pt x="29" y="10"/>
                    <a:pt x="30" y="10"/>
                  </a:cubicBezTo>
                  <a:cubicBezTo>
                    <a:pt x="34" y="10"/>
                    <a:pt x="38" y="10"/>
                    <a:pt x="42" y="9"/>
                  </a:cubicBezTo>
                  <a:cubicBezTo>
                    <a:pt x="47" y="8"/>
                    <a:pt x="52" y="5"/>
                    <a:pt x="55" y="1"/>
                  </a:cubicBezTo>
                  <a:cubicBezTo>
                    <a:pt x="54" y="0"/>
                    <a:pt x="54" y="0"/>
                    <a:pt x="53"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išlíḋê">
              <a:extLst>
                <a:ext uri="{FF2B5EF4-FFF2-40B4-BE49-F238E27FC236}">
                  <a16:creationId xmlns:a16="http://schemas.microsoft.com/office/drawing/2014/main" id="{5D2146D5-556A-419E-A39E-4056CD8083EB}"/>
                </a:ext>
              </a:extLst>
            </p:cNvPr>
            <p:cNvSpPr/>
            <p:nvPr/>
          </p:nvSpPr>
          <p:spPr bwMode="auto">
            <a:xfrm>
              <a:off x="7137400" y="4270376"/>
              <a:ext cx="177800" cy="12700"/>
            </a:xfrm>
            <a:custGeom>
              <a:avLst/>
              <a:gdLst>
                <a:gd name="T0" fmla="*/ 44 w 128"/>
                <a:gd name="T1" fmla="*/ 0 h 10"/>
                <a:gd name="T2" fmla="*/ 24 w 128"/>
                <a:gd name="T3" fmla="*/ 0 h 10"/>
                <a:gd name="T4" fmla="*/ 24 w 128"/>
                <a:gd name="T5" fmla="*/ 0 h 10"/>
                <a:gd name="T6" fmla="*/ 19 w 128"/>
                <a:gd name="T7" fmla="*/ 0 h 10"/>
                <a:gd name="T8" fmla="*/ 13 w 128"/>
                <a:gd name="T9" fmla="*/ 0 h 10"/>
                <a:gd name="T10" fmla="*/ 5 w 128"/>
                <a:gd name="T11" fmla="*/ 1 h 10"/>
                <a:gd name="T12" fmla="*/ 12 w 128"/>
                <a:gd name="T13" fmla="*/ 6 h 10"/>
                <a:gd name="T14" fmla="*/ 32 w 128"/>
                <a:gd name="T15" fmla="*/ 7 h 10"/>
                <a:gd name="T16" fmla="*/ 72 w 128"/>
                <a:gd name="T17" fmla="*/ 10 h 10"/>
                <a:gd name="T18" fmla="*/ 88 w 128"/>
                <a:gd name="T19" fmla="*/ 10 h 10"/>
                <a:gd name="T20" fmla="*/ 97 w 128"/>
                <a:gd name="T21" fmla="*/ 10 h 10"/>
                <a:gd name="T22" fmla="*/ 128 w 128"/>
                <a:gd name="T23" fmla="*/ 4 h 10"/>
                <a:gd name="T24" fmla="*/ 84 w 128"/>
                <a:gd name="T25" fmla="*/ 1 h 10"/>
                <a:gd name="T26" fmla="*/ 44 w 128"/>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0">
                  <a:moveTo>
                    <a:pt x="44" y="0"/>
                  </a:moveTo>
                  <a:cubicBezTo>
                    <a:pt x="38" y="0"/>
                    <a:pt x="31" y="0"/>
                    <a:pt x="24" y="0"/>
                  </a:cubicBezTo>
                  <a:cubicBezTo>
                    <a:pt x="24" y="0"/>
                    <a:pt x="24" y="0"/>
                    <a:pt x="24" y="0"/>
                  </a:cubicBezTo>
                  <a:cubicBezTo>
                    <a:pt x="23" y="0"/>
                    <a:pt x="21" y="0"/>
                    <a:pt x="19" y="0"/>
                  </a:cubicBezTo>
                  <a:cubicBezTo>
                    <a:pt x="17" y="0"/>
                    <a:pt x="15" y="0"/>
                    <a:pt x="13" y="0"/>
                  </a:cubicBezTo>
                  <a:cubicBezTo>
                    <a:pt x="9" y="0"/>
                    <a:pt x="6" y="0"/>
                    <a:pt x="5" y="1"/>
                  </a:cubicBezTo>
                  <a:cubicBezTo>
                    <a:pt x="0" y="6"/>
                    <a:pt x="10" y="6"/>
                    <a:pt x="12" y="6"/>
                  </a:cubicBezTo>
                  <a:cubicBezTo>
                    <a:pt x="32" y="7"/>
                    <a:pt x="32" y="7"/>
                    <a:pt x="32" y="7"/>
                  </a:cubicBezTo>
                  <a:cubicBezTo>
                    <a:pt x="72" y="10"/>
                    <a:pt x="72" y="10"/>
                    <a:pt x="72" y="10"/>
                  </a:cubicBezTo>
                  <a:cubicBezTo>
                    <a:pt x="78" y="10"/>
                    <a:pt x="83" y="10"/>
                    <a:pt x="88" y="10"/>
                  </a:cubicBezTo>
                  <a:cubicBezTo>
                    <a:pt x="91" y="10"/>
                    <a:pt x="94" y="10"/>
                    <a:pt x="97" y="10"/>
                  </a:cubicBezTo>
                  <a:cubicBezTo>
                    <a:pt x="108" y="9"/>
                    <a:pt x="118" y="7"/>
                    <a:pt x="128" y="4"/>
                  </a:cubicBezTo>
                  <a:cubicBezTo>
                    <a:pt x="113" y="3"/>
                    <a:pt x="99" y="1"/>
                    <a:pt x="84" y="1"/>
                  </a:cubicBezTo>
                  <a:cubicBezTo>
                    <a:pt x="71" y="0"/>
                    <a:pt x="57" y="0"/>
                    <a:pt x="44"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slîḓé">
              <a:extLst>
                <a:ext uri="{FF2B5EF4-FFF2-40B4-BE49-F238E27FC236}">
                  <a16:creationId xmlns:a16="http://schemas.microsoft.com/office/drawing/2014/main" id="{C99EF710-E373-47BB-8BEF-01644E66AEA6}"/>
                </a:ext>
              </a:extLst>
            </p:cNvPr>
            <p:cNvSpPr/>
            <p:nvPr/>
          </p:nvSpPr>
          <p:spPr bwMode="auto">
            <a:xfrm>
              <a:off x="7123113" y="4297363"/>
              <a:ext cx="128588" cy="14288"/>
            </a:xfrm>
            <a:custGeom>
              <a:avLst/>
              <a:gdLst>
                <a:gd name="T0" fmla="*/ 0 w 92"/>
                <a:gd name="T1" fmla="*/ 0 h 10"/>
                <a:gd name="T2" fmla="*/ 46 w 92"/>
                <a:gd name="T3" fmla="*/ 9 h 10"/>
                <a:gd name="T4" fmla="*/ 52 w 92"/>
                <a:gd name="T5" fmla="*/ 10 h 10"/>
                <a:gd name="T6" fmla="*/ 69 w 92"/>
                <a:gd name="T7" fmla="*/ 9 h 10"/>
                <a:gd name="T8" fmla="*/ 91 w 92"/>
                <a:gd name="T9" fmla="*/ 4 h 10"/>
                <a:gd name="T10" fmla="*/ 92 w 92"/>
                <a:gd name="T11" fmla="*/ 4 h 10"/>
                <a:gd name="T12" fmla="*/ 0 w 9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2" h="10">
                  <a:moveTo>
                    <a:pt x="0" y="0"/>
                  </a:moveTo>
                  <a:cubicBezTo>
                    <a:pt x="15" y="6"/>
                    <a:pt x="30" y="9"/>
                    <a:pt x="46" y="9"/>
                  </a:cubicBezTo>
                  <a:cubicBezTo>
                    <a:pt x="48" y="10"/>
                    <a:pt x="50" y="10"/>
                    <a:pt x="52" y="10"/>
                  </a:cubicBezTo>
                  <a:cubicBezTo>
                    <a:pt x="58" y="10"/>
                    <a:pt x="63" y="9"/>
                    <a:pt x="69" y="9"/>
                  </a:cubicBezTo>
                  <a:cubicBezTo>
                    <a:pt x="76" y="8"/>
                    <a:pt x="85" y="4"/>
                    <a:pt x="91" y="4"/>
                  </a:cubicBezTo>
                  <a:cubicBezTo>
                    <a:pt x="91" y="4"/>
                    <a:pt x="92" y="4"/>
                    <a:pt x="92" y="4"/>
                  </a:cubicBezTo>
                  <a:cubicBezTo>
                    <a:pt x="61" y="3"/>
                    <a:pt x="31" y="2"/>
                    <a:pt x="0"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ľïďè">
              <a:extLst>
                <a:ext uri="{FF2B5EF4-FFF2-40B4-BE49-F238E27FC236}">
                  <a16:creationId xmlns:a16="http://schemas.microsoft.com/office/drawing/2014/main" id="{D871899D-AEB5-4811-B2C1-43E35C3608EA}"/>
                </a:ext>
              </a:extLst>
            </p:cNvPr>
            <p:cNvSpPr/>
            <p:nvPr/>
          </p:nvSpPr>
          <p:spPr bwMode="auto">
            <a:xfrm>
              <a:off x="7110413" y="4330701"/>
              <a:ext cx="106363" cy="17463"/>
            </a:xfrm>
            <a:custGeom>
              <a:avLst/>
              <a:gdLst>
                <a:gd name="T0" fmla="*/ 76 w 76"/>
                <a:gd name="T1" fmla="*/ 0 h 13"/>
                <a:gd name="T2" fmla="*/ 40 w 76"/>
                <a:gd name="T3" fmla="*/ 5 h 13"/>
                <a:gd name="T4" fmla="*/ 24 w 76"/>
                <a:gd name="T5" fmla="*/ 3 h 13"/>
                <a:gd name="T6" fmla="*/ 15 w 76"/>
                <a:gd name="T7" fmla="*/ 1 h 13"/>
                <a:gd name="T8" fmla="*/ 10 w 76"/>
                <a:gd name="T9" fmla="*/ 0 h 13"/>
                <a:gd name="T10" fmla="*/ 2 w 76"/>
                <a:gd name="T11" fmla="*/ 6 h 13"/>
                <a:gd name="T12" fmla="*/ 18 w 76"/>
                <a:gd name="T13" fmla="*/ 12 h 13"/>
                <a:gd name="T14" fmla="*/ 34 w 76"/>
                <a:gd name="T15" fmla="*/ 13 h 13"/>
                <a:gd name="T16" fmla="*/ 56 w 76"/>
                <a:gd name="T17" fmla="*/ 11 h 13"/>
                <a:gd name="T18" fmla="*/ 76 w 76"/>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
                  <a:moveTo>
                    <a:pt x="76" y="0"/>
                  </a:moveTo>
                  <a:cubicBezTo>
                    <a:pt x="64" y="3"/>
                    <a:pt x="52" y="5"/>
                    <a:pt x="40" y="5"/>
                  </a:cubicBezTo>
                  <a:cubicBezTo>
                    <a:pt x="35" y="5"/>
                    <a:pt x="29" y="5"/>
                    <a:pt x="24" y="3"/>
                  </a:cubicBezTo>
                  <a:cubicBezTo>
                    <a:pt x="21" y="2"/>
                    <a:pt x="18" y="1"/>
                    <a:pt x="15" y="1"/>
                  </a:cubicBezTo>
                  <a:cubicBezTo>
                    <a:pt x="14" y="1"/>
                    <a:pt x="12" y="0"/>
                    <a:pt x="10" y="0"/>
                  </a:cubicBezTo>
                  <a:cubicBezTo>
                    <a:pt x="5" y="0"/>
                    <a:pt x="0" y="1"/>
                    <a:pt x="2" y="6"/>
                  </a:cubicBezTo>
                  <a:cubicBezTo>
                    <a:pt x="4" y="10"/>
                    <a:pt x="14" y="11"/>
                    <a:pt x="18" y="12"/>
                  </a:cubicBezTo>
                  <a:cubicBezTo>
                    <a:pt x="23" y="13"/>
                    <a:pt x="28" y="13"/>
                    <a:pt x="34" y="13"/>
                  </a:cubicBezTo>
                  <a:cubicBezTo>
                    <a:pt x="41" y="13"/>
                    <a:pt x="49" y="12"/>
                    <a:pt x="56" y="11"/>
                  </a:cubicBezTo>
                  <a:cubicBezTo>
                    <a:pt x="64" y="9"/>
                    <a:pt x="72" y="6"/>
                    <a:pt x="76"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ļiḍê">
              <a:extLst>
                <a:ext uri="{FF2B5EF4-FFF2-40B4-BE49-F238E27FC236}">
                  <a16:creationId xmlns:a16="http://schemas.microsoft.com/office/drawing/2014/main" id="{27E65B13-D81C-47E1-8E7F-EF259FB7E78E}"/>
                </a:ext>
              </a:extLst>
            </p:cNvPr>
            <p:cNvSpPr/>
            <p:nvPr/>
          </p:nvSpPr>
          <p:spPr bwMode="auto">
            <a:xfrm>
              <a:off x="7229475" y="4364038"/>
              <a:ext cx="233363" cy="26988"/>
            </a:xfrm>
            <a:custGeom>
              <a:avLst/>
              <a:gdLst>
                <a:gd name="T0" fmla="*/ 157 w 168"/>
                <a:gd name="T1" fmla="*/ 0 h 19"/>
                <a:gd name="T2" fmla="*/ 98 w 168"/>
                <a:gd name="T3" fmla="*/ 6 h 19"/>
                <a:gd name="T4" fmla="*/ 54 w 168"/>
                <a:gd name="T5" fmla="*/ 14 h 19"/>
                <a:gd name="T6" fmla="*/ 40 w 168"/>
                <a:gd name="T7" fmla="*/ 12 h 19"/>
                <a:gd name="T8" fmla="*/ 25 w 168"/>
                <a:gd name="T9" fmla="*/ 8 h 19"/>
                <a:gd name="T10" fmla="*/ 20 w 168"/>
                <a:gd name="T11" fmla="*/ 8 h 19"/>
                <a:gd name="T12" fmla="*/ 0 w 168"/>
                <a:gd name="T13" fmla="*/ 14 h 19"/>
                <a:gd name="T14" fmla="*/ 36 w 168"/>
                <a:gd name="T15" fmla="*/ 19 h 19"/>
                <a:gd name="T16" fmla="*/ 55 w 168"/>
                <a:gd name="T17" fmla="*/ 19 h 19"/>
                <a:gd name="T18" fmla="*/ 104 w 168"/>
                <a:gd name="T19" fmla="*/ 16 h 19"/>
                <a:gd name="T20" fmla="*/ 136 w 168"/>
                <a:gd name="T21" fmla="*/ 9 h 19"/>
                <a:gd name="T22" fmla="*/ 153 w 168"/>
                <a:gd name="T23" fmla="*/ 5 h 19"/>
                <a:gd name="T24" fmla="*/ 168 w 168"/>
                <a:gd name="T25" fmla="*/ 0 h 19"/>
                <a:gd name="T26" fmla="*/ 157 w 16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9">
                  <a:moveTo>
                    <a:pt x="157" y="0"/>
                  </a:moveTo>
                  <a:cubicBezTo>
                    <a:pt x="137" y="0"/>
                    <a:pt x="117" y="2"/>
                    <a:pt x="98" y="6"/>
                  </a:cubicBezTo>
                  <a:cubicBezTo>
                    <a:pt x="83" y="10"/>
                    <a:pt x="69" y="14"/>
                    <a:pt x="54" y="14"/>
                  </a:cubicBezTo>
                  <a:cubicBezTo>
                    <a:pt x="49" y="14"/>
                    <a:pt x="44" y="14"/>
                    <a:pt x="40" y="12"/>
                  </a:cubicBezTo>
                  <a:cubicBezTo>
                    <a:pt x="35" y="11"/>
                    <a:pt x="30" y="9"/>
                    <a:pt x="25" y="8"/>
                  </a:cubicBezTo>
                  <a:cubicBezTo>
                    <a:pt x="23" y="8"/>
                    <a:pt x="22" y="8"/>
                    <a:pt x="20" y="8"/>
                  </a:cubicBezTo>
                  <a:cubicBezTo>
                    <a:pt x="13" y="8"/>
                    <a:pt x="6" y="10"/>
                    <a:pt x="0" y="14"/>
                  </a:cubicBezTo>
                  <a:cubicBezTo>
                    <a:pt x="8" y="19"/>
                    <a:pt x="26" y="18"/>
                    <a:pt x="36" y="19"/>
                  </a:cubicBezTo>
                  <a:cubicBezTo>
                    <a:pt x="43" y="19"/>
                    <a:pt x="49" y="19"/>
                    <a:pt x="55" y="19"/>
                  </a:cubicBezTo>
                  <a:cubicBezTo>
                    <a:pt x="72" y="19"/>
                    <a:pt x="88" y="18"/>
                    <a:pt x="104" y="16"/>
                  </a:cubicBezTo>
                  <a:cubicBezTo>
                    <a:pt x="115" y="14"/>
                    <a:pt x="125" y="12"/>
                    <a:pt x="136" y="9"/>
                  </a:cubicBezTo>
                  <a:cubicBezTo>
                    <a:pt x="142" y="8"/>
                    <a:pt x="147" y="6"/>
                    <a:pt x="153" y="5"/>
                  </a:cubicBezTo>
                  <a:cubicBezTo>
                    <a:pt x="157" y="4"/>
                    <a:pt x="163" y="0"/>
                    <a:pt x="168" y="0"/>
                  </a:cubicBezTo>
                  <a:cubicBezTo>
                    <a:pt x="164" y="0"/>
                    <a:pt x="161" y="0"/>
                    <a:pt x="157"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îṩḻïďè">
              <a:extLst>
                <a:ext uri="{FF2B5EF4-FFF2-40B4-BE49-F238E27FC236}">
                  <a16:creationId xmlns:a16="http://schemas.microsoft.com/office/drawing/2014/main" id="{DE5E075F-0C17-4092-ABBA-0F7E479AA768}"/>
                </a:ext>
              </a:extLst>
            </p:cNvPr>
            <p:cNvSpPr/>
            <p:nvPr/>
          </p:nvSpPr>
          <p:spPr bwMode="auto">
            <a:xfrm>
              <a:off x="7277100" y="3505201"/>
              <a:ext cx="6350" cy="14288"/>
            </a:xfrm>
            <a:custGeom>
              <a:avLst/>
              <a:gdLst>
                <a:gd name="T0" fmla="*/ 2 w 5"/>
                <a:gd name="T1" fmla="*/ 0 h 10"/>
                <a:gd name="T2" fmla="*/ 0 w 5"/>
                <a:gd name="T3" fmla="*/ 10 h 10"/>
                <a:gd name="T4" fmla="*/ 4 w 5"/>
                <a:gd name="T5" fmla="*/ 3 h 10"/>
                <a:gd name="T6" fmla="*/ 5 w 5"/>
                <a:gd name="T7" fmla="*/ 2 h 10"/>
                <a:gd name="T8" fmla="*/ 2 w 5"/>
                <a:gd name="T9" fmla="*/ 0 h 10"/>
              </a:gdLst>
              <a:ahLst/>
              <a:cxnLst>
                <a:cxn ang="0">
                  <a:pos x="T0" y="T1"/>
                </a:cxn>
                <a:cxn ang="0">
                  <a:pos x="T2" y="T3"/>
                </a:cxn>
                <a:cxn ang="0">
                  <a:pos x="T4" y="T5"/>
                </a:cxn>
                <a:cxn ang="0">
                  <a:pos x="T6" y="T7"/>
                </a:cxn>
                <a:cxn ang="0">
                  <a:pos x="T8" y="T9"/>
                </a:cxn>
              </a:cxnLst>
              <a:rect l="0" t="0" r="r" b="b"/>
              <a:pathLst>
                <a:path w="5" h="10">
                  <a:moveTo>
                    <a:pt x="2" y="0"/>
                  </a:moveTo>
                  <a:cubicBezTo>
                    <a:pt x="0" y="10"/>
                    <a:pt x="0" y="10"/>
                    <a:pt x="0" y="10"/>
                  </a:cubicBezTo>
                  <a:cubicBezTo>
                    <a:pt x="2" y="8"/>
                    <a:pt x="3" y="5"/>
                    <a:pt x="4" y="3"/>
                  </a:cubicBezTo>
                  <a:cubicBezTo>
                    <a:pt x="4" y="2"/>
                    <a:pt x="5" y="2"/>
                    <a:pt x="5" y="2"/>
                  </a:cubicBezTo>
                  <a:cubicBezTo>
                    <a:pt x="4" y="1"/>
                    <a:pt x="2" y="0"/>
                    <a:pt x="2"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işlíḋe">
              <a:extLst>
                <a:ext uri="{FF2B5EF4-FFF2-40B4-BE49-F238E27FC236}">
                  <a16:creationId xmlns:a16="http://schemas.microsoft.com/office/drawing/2014/main" id="{E0EB72E3-8E11-49EF-B3D0-35E45B989F55}"/>
                </a:ext>
              </a:extLst>
            </p:cNvPr>
            <p:cNvSpPr/>
            <p:nvPr/>
          </p:nvSpPr>
          <p:spPr bwMode="auto">
            <a:xfrm>
              <a:off x="7277100" y="3508376"/>
              <a:ext cx="7938" cy="12700"/>
            </a:xfrm>
            <a:custGeom>
              <a:avLst/>
              <a:gdLst>
                <a:gd name="T0" fmla="*/ 5 w 6"/>
                <a:gd name="T1" fmla="*/ 0 h 9"/>
                <a:gd name="T2" fmla="*/ 4 w 6"/>
                <a:gd name="T3" fmla="*/ 1 h 9"/>
                <a:gd name="T4" fmla="*/ 0 w 6"/>
                <a:gd name="T5" fmla="*/ 8 h 9"/>
                <a:gd name="T6" fmla="*/ 0 w 6"/>
                <a:gd name="T7" fmla="*/ 9 h 9"/>
                <a:gd name="T8" fmla="*/ 4 w 6"/>
                <a:gd name="T9" fmla="*/ 1 h 9"/>
                <a:gd name="T10" fmla="*/ 5 w 6"/>
                <a:gd name="T11" fmla="*/ 1 h 9"/>
                <a:gd name="T12" fmla="*/ 5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5" y="0"/>
                  </a:moveTo>
                  <a:cubicBezTo>
                    <a:pt x="5" y="0"/>
                    <a:pt x="4" y="0"/>
                    <a:pt x="4" y="1"/>
                  </a:cubicBezTo>
                  <a:cubicBezTo>
                    <a:pt x="3" y="3"/>
                    <a:pt x="2" y="6"/>
                    <a:pt x="0" y="8"/>
                  </a:cubicBezTo>
                  <a:cubicBezTo>
                    <a:pt x="0" y="9"/>
                    <a:pt x="0" y="9"/>
                    <a:pt x="0" y="9"/>
                  </a:cubicBezTo>
                  <a:cubicBezTo>
                    <a:pt x="2" y="6"/>
                    <a:pt x="3" y="3"/>
                    <a:pt x="4" y="1"/>
                  </a:cubicBezTo>
                  <a:cubicBezTo>
                    <a:pt x="5" y="1"/>
                    <a:pt x="5" y="1"/>
                    <a:pt x="5" y="1"/>
                  </a:cubicBezTo>
                  <a:cubicBezTo>
                    <a:pt x="6" y="1"/>
                    <a:pt x="5" y="0"/>
                    <a:pt x="5"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ŝḻïďê">
              <a:extLst>
                <a:ext uri="{FF2B5EF4-FFF2-40B4-BE49-F238E27FC236}">
                  <a16:creationId xmlns:a16="http://schemas.microsoft.com/office/drawing/2014/main" id="{DEDC9905-4917-496D-912C-4F399741D032}"/>
                </a:ext>
              </a:extLst>
            </p:cNvPr>
            <p:cNvSpPr/>
            <p:nvPr/>
          </p:nvSpPr>
          <p:spPr bwMode="auto">
            <a:xfrm>
              <a:off x="7156450" y="3743326"/>
              <a:ext cx="25400" cy="285750"/>
            </a:xfrm>
            <a:custGeom>
              <a:avLst/>
              <a:gdLst>
                <a:gd name="T0" fmla="*/ 0 w 18"/>
                <a:gd name="T1" fmla="*/ 200 h 206"/>
                <a:gd name="T2" fmla="*/ 0 w 18"/>
                <a:gd name="T3" fmla="*/ 206 h 206"/>
                <a:gd name="T4" fmla="*/ 0 w 18"/>
                <a:gd name="T5" fmla="*/ 206 h 206"/>
                <a:gd name="T6" fmla="*/ 0 w 18"/>
                <a:gd name="T7" fmla="*/ 206 h 206"/>
                <a:gd name="T8" fmla="*/ 0 w 18"/>
                <a:gd name="T9" fmla="*/ 206 h 206"/>
                <a:gd name="T10" fmla="*/ 0 w 18"/>
                <a:gd name="T11" fmla="*/ 202 h 206"/>
                <a:gd name="T12" fmla="*/ 0 w 18"/>
                <a:gd name="T13" fmla="*/ 200 h 206"/>
                <a:gd name="T14" fmla="*/ 13 w 18"/>
                <a:gd name="T15" fmla="*/ 0 h 206"/>
                <a:gd name="T16" fmla="*/ 12 w 18"/>
                <a:gd name="T17" fmla="*/ 2 h 206"/>
                <a:gd name="T18" fmla="*/ 18 w 18"/>
                <a:gd name="T19" fmla="*/ 57 h 206"/>
                <a:gd name="T20" fmla="*/ 18 w 18"/>
                <a:gd name="T21" fmla="*/ 56 h 206"/>
                <a:gd name="T22" fmla="*/ 12 w 18"/>
                <a:gd name="T23" fmla="*/ 1 h 206"/>
                <a:gd name="T24" fmla="*/ 13 w 18"/>
                <a:gd name="T25" fmla="*/ 0 h 206"/>
                <a:gd name="T26" fmla="*/ 13 w 18"/>
                <a:gd name="T27"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06">
                  <a:moveTo>
                    <a:pt x="0" y="200"/>
                  </a:moveTo>
                  <a:cubicBezTo>
                    <a:pt x="0" y="202"/>
                    <a:pt x="0" y="204"/>
                    <a:pt x="0" y="206"/>
                  </a:cubicBezTo>
                  <a:cubicBezTo>
                    <a:pt x="0" y="206"/>
                    <a:pt x="0" y="206"/>
                    <a:pt x="0" y="206"/>
                  </a:cubicBezTo>
                  <a:cubicBezTo>
                    <a:pt x="0" y="206"/>
                    <a:pt x="0" y="206"/>
                    <a:pt x="0" y="206"/>
                  </a:cubicBezTo>
                  <a:cubicBezTo>
                    <a:pt x="0" y="206"/>
                    <a:pt x="0" y="206"/>
                    <a:pt x="0" y="206"/>
                  </a:cubicBezTo>
                  <a:cubicBezTo>
                    <a:pt x="0" y="205"/>
                    <a:pt x="0" y="203"/>
                    <a:pt x="0" y="202"/>
                  </a:cubicBezTo>
                  <a:cubicBezTo>
                    <a:pt x="0" y="202"/>
                    <a:pt x="0" y="201"/>
                    <a:pt x="0" y="200"/>
                  </a:cubicBezTo>
                  <a:moveTo>
                    <a:pt x="13" y="0"/>
                  </a:moveTo>
                  <a:cubicBezTo>
                    <a:pt x="12" y="2"/>
                    <a:pt x="12" y="2"/>
                    <a:pt x="12" y="2"/>
                  </a:cubicBezTo>
                  <a:cubicBezTo>
                    <a:pt x="12" y="2"/>
                    <a:pt x="17" y="45"/>
                    <a:pt x="18" y="57"/>
                  </a:cubicBezTo>
                  <a:cubicBezTo>
                    <a:pt x="18" y="57"/>
                    <a:pt x="18" y="56"/>
                    <a:pt x="18" y="56"/>
                  </a:cubicBezTo>
                  <a:cubicBezTo>
                    <a:pt x="17" y="43"/>
                    <a:pt x="12" y="1"/>
                    <a:pt x="12" y="1"/>
                  </a:cubicBezTo>
                  <a:cubicBezTo>
                    <a:pt x="13" y="0"/>
                    <a:pt x="13" y="0"/>
                    <a:pt x="13" y="0"/>
                  </a:cubicBezTo>
                  <a:cubicBezTo>
                    <a:pt x="13" y="0"/>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 name="îSliḓé">
              <a:extLst>
                <a:ext uri="{FF2B5EF4-FFF2-40B4-BE49-F238E27FC236}">
                  <a16:creationId xmlns:a16="http://schemas.microsoft.com/office/drawing/2014/main" id="{007B4ACF-AEE2-47E9-A698-387364507621}"/>
                </a:ext>
              </a:extLst>
            </p:cNvPr>
            <p:cNvSpPr/>
            <p:nvPr/>
          </p:nvSpPr>
          <p:spPr bwMode="auto">
            <a:xfrm>
              <a:off x="7221538" y="3521076"/>
              <a:ext cx="55563" cy="146050"/>
            </a:xfrm>
            <a:custGeom>
              <a:avLst/>
              <a:gdLst>
                <a:gd name="T0" fmla="*/ 39 w 39"/>
                <a:gd name="T1" fmla="*/ 0 h 105"/>
                <a:gd name="T2" fmla="*/ 25 w 39"/>
                <a:gd name="T3" fmla="*/ 15 h 105"/>
                <a:gd name="T4" fmla="*/ 0 w 39"/>
                <a:gd name="T5" fmla="*/ 95 h 105"/>
                <a:gd name="T6" fmla="*/ 10 w 39"/>
                <a:gd name="T7" fmla="*/ 88 h 105"/>
                <a:gd name="T8" fmla="*/ 22 w 39"/>
                <a:gd name="T9" fmla="*/ 105 h 105"/>
                <a:gd name="T10" fmla="*/ 31 w 39"/>
                <a:gd name="T11" fmla="*/ 78 h 105"/>
                <a:gd name="T12" fmla="*/ 37 w 39"/>
                <a:gd name="T13" fmla="*/ 12 h 105"/>
                <a:gd name="T14" fmla="*/ 39 w 39"/>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5">
                  <a:moveTo>
                    <a:pt x="39" y="0"/>
                  </a:moveTo>
                  <a:cubicBezTo>
                    <a:pt x="35" y="6"/>
                    <a:pt x="30" y="11"/>
                    <a:pt x="25" y="15"/>
                  </a:cubicBezTo>
                  <a:cubicBezTo>
                    <a:pt x="10" y="26"/>
                    <a:pt x="3" y="63"/>
                    <a:pt x="0" y="95"/>
                  </a:cubicBezTo>
                  <a:cubicBezTo>
                    <a:pt x="10" y="88"/>
                    <a:pt x="10" y="88"/>
                    <a:pt x="10" y="88"/>
                  </a:cubicBezTo>
                  <a:cubicBezTo>
                    <a:pt x="10" y="88"/>
                    <a:pt x="16" y="98"/>
                    <a:pt x="22" y="105"/>
                  </a:cubicBezTo>
                  <a:cubicBezTo>
                    <a:pt x="26" y="93"/>
                    <a:pt x="29" y="83"/>
                    <a:pt x="31" y="78"/>
                  </a:cubicBezTo>
                  <a:cubicBezTo>
                    <a:pt x="38" y="57"/>
                    <a:pt x="37" y="12"/>
                    <a:pt x="37" y="12"/>
                  </a:cubicBezTo>
                  <a:cubicBezTo>
                    <a:pt x="39" y="0"/>
                    <a:pt x="39" y="0"/>
                    <a:pt x="39"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íŝḻïdè">
              <a:extLst>
                <a:ext uri="{FF2B5EF4-FFF2-40B4-BE49-F238E27FC236}">
                  <a16:creationId xmlns:a16="http://schemas.microsoft.com/office/drawing/2014/main" id="{770792D0-7CD2-4354-90E8-00F4375DA1F5}"/>
                </a:ext>
              </a:extLst>
            </p:cNvPr>
            <p:cNvSpPr/>
            <p:nvPr/>
          </p:nvSpPr>
          <p:spPr bwMode="auto">
            <a:xfrm>
              <a:off x="7175500" y="3662363"/>
              <a:ext cx="44450" cy="80963"/>
            </a:xfrm>
            <a:custGeom>
              <a:avLst/>
              <a:gdLst>
                <a:gd name="T0" fmla="*/ 33 w 33"/>
                <a:gd name="T1" fmla="*/ 0 h 58"/>
                <a:gd name="T2" fmla="*/ 11 w 33"/>
                <a:gd name="T3" fmla="*/ 16 h 58"/>
                <a:gd name="T4" fmla="*/ 0 w 33"/>
                <a:gd name="T5" fmla="*/ 58 h 58"/>
                <a:gd name="T6" fmla="*/ 0 w 33"/>
                <a:gd name="T7" fmla="*/ 58 h 58"/>
                <a:gd name="T8" fmla="*/ 11 w 33"/>
                <a:gd name="T9" fmla="*/ 15 h 58"/>
                <a:gd name="T10" fmla="*/ 33 w 33"/>
                <a:gd name="T11" fmla="*/ 0 h 58"/>
                <a:gd name="T12" fmla="*/ 33 w 33"/>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3" h="58">
                  <a:moveTo>
                    <a:pt x="33" y="0"/>
                  </a:moveTo>
                  <a:cubicBezTo>
                    <a:pt x="11" y="16"/>
                    <a:pt x="11" y="16"/>
                    <a:pt x="11" y="16"/>
                  </a:cubicBezTo>
                  <a:cubicBezTo>
                    <a:pt x="0" y="58"/>
                    <a:pt x="0" y="58"/>
                    <a:pt x="0" y="58"/>
                  </a:cubicBezTo>
                  <a:cubicBezTo>
                    <a:pt x="0" y="58"/>
                    <a:pt x="0" y="58"/>
                    <a:pt x="0" y="58"/>
                  </a:cubicBezTo>
                  <a:cubicBezTo>
                    <a:pt x="11" y="15"/>
                    <a:pt x="11" y="15"/>
                    <a:pt x="11" y="15"/>
                  </a:cubicBezTo>
                  <a:cubicBezTo>
                    <a:pt x="33" y="0"/>
                    <a:pt x="33" y="0"/>
                    <a:pt x="33" y="0"/>
                  </a:cubicBezTo>
                  <a:cubicBezTo>
                    <a:pt x="33" y="0"/>
                    <a:pt x="33" y="0"/>
                    <a:pt x="33" y="0"/>
                  </a:cubicBezTo>
                </a:path>
              </a:pathLst>
            </a:custGeom>
            <a:solidFill>
              <a:srgbClr val="356B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íṧľíḓê">
              <a:extLst>
                <a:ext uri="{FF2B5EF4-FFF2-40B4-BE49-F238E27FC236}">
                  <a16:creationId xmlns:a16="http://schemas.microsoft.com/office/drawing/2014/main" id="{B8A5B3C9-F7D9-4A37-9275-F8E1E6B6C9B5}"/>
                </a:ext>
              </a:extLst>
            </p:cNvPr>
            <p:cNvSpPr/>
            <p:nvPr/>
          </p:nvSpPr>
          <p:spPr bwMode="auto">
            <a:xfrm>
              <a:off x="7219950" y="3643313"/>
              <a:ext cx="33338" cy="28575"/>
            </a:xfrm>
            <a:custGeom>
              <a:avLst/>
              <a:gdLst>
                <a:gd name="T0" fmla="*/ 11 w 23"/>
                <a:gd name="T1" fmla="*/ 0 h 21"/>
                <a:gd name="T2" fmla="*/ 1 w 23"/>
                <a:gd name="T3" fmla="*/ 7 h 21"/>
                <a:gd name="T4" fmla="*/ 0 w 23"/>
                <a:gd name="T5" fmla="*/ 14 h 21"/>
                <a:gd name="T6" fmla="*/ 0 w 23"/>
                <a:gd name="T7" fmla="*/ 14 h 21"/>
                <a:gd name="T8" fmla="*/ 0 w 23"/>
                <a:gd name="T9" fmla="*/ 14 h 21"/>
                <a:gd name="T10" fmla="*/ 0 w 23"/>
                <a:gd name="T11" fmla="*/ 14 h 21"/>
                <a:gd name="T12" fmla="*/ 11 w 23"/>
                <a:gd name="T13" fmla="*/ 7 h 21"/>
                <a:gd name="T14" fmla="*/ 22 w 23"/>
                <a:gd name="T15" fmla="*/ 21 h 21"/>
                <a:gd name="T16" fmla="*/ 23 w 23"/>
                <a:gd name="T17" fmla="*/ 17 h 21"/>
                <a:gd name="T18" fmla="*/ 11 w 23"/>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1">
                  <a:moveTo>
                    <a:pt x="11" y="0"/>
                  </a:moveTo>
                  <a:cubicBezTo>
                    <a:pt x="1" y="7"/>
                    <a:pt x="1" y="7"/>
                    <a:pt x="1" y="7"/>
                  </a:cubicBezTo>
                  <a:cubicBezTo>
                    <a:pt x="1" y="9"/>
                    <a:pt x="0" y="12"/>
                    <a:pt x="0" y="14"/>
                  </a:cubicBezTo>
                  <a:cubicBezTo>
                    <a:pt x="0" y="14"/>
                    <a:pt x="0" y="14"/>
                    <a:pt x="0" y="14"/>
                  </a:cubicBezTo>
                  <a:cubicBezTo>
                    <a:pt x="0" y="14"/>
                    <a:pt x="0" y="14"/>
                    <a:pt x="0" y="14"/>
                  </a:cubicBezTo>
                  <a:cubicBezTo>
                    <a:pt x="0" y="14"/>
                    <a:pt x="0" y="14"/>
                    <a:pt x="0" y="14"/>
                  </a:cubicBezTo>
                  <a:cubicBezTo>
                    <a:pt x="11" y="7"/>
                    <a:pt x="11" y="7"/>
                    <a:pt x="11" y="7"/>
                  </a:cubicBezTo>
                  <a:cubicBezTo>
                    <a:pt x="14" y="12"/>
                    <a:pt x="18" y="17"/>
                    <a:pt x="22" y="21"/>
                  </a:cubicBezTo>
                  <a:cubicBezTo>
                    <a:pt x="22" y="20"/>
                    <a:pt x="23" y="18"/>
                    <a:pt x="23" y="17"/>
                  </a:cubicBezTo>
                  <a:cubicBezTo>
                    <a:pt x="17" y="10"/>
                    <a:pt x="11" y="0"/>
                    <a:pt x="11"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lïḍê">
              <a:extLst>
                <a:ext uri="{FF2B5EF4-FFF2-40B4-BE49-F238E27FC236}">
                  <a16:creationId xmlns:a16="http://schemas.microsoft.com/office/drawing/2014/main" id="{A9E73CAF-0219-4410-9D57-9508C0DF4294}"/>
                </a:ext>
              </a:extLst>
            </p:cNvPr>
            <p:cNvSpPr/>
            <p:nvPr/>
          </p:nvSpPr>
          <p:spPr bwMode="auto">
            <a:xfrm>
              <a:off x="7156450" y="3821113"/>
              <a:ext cx="25400" cy="203200"/>
            </a:xfrm>
            <a:custGeom>
              <a:avLst/>
              <a:gdLst>
                <a:gd name="T0" fmla="*/ 18 w 18"/>
                <a:gd name="T1" fmla="*/ 0 h 146"/>
                <a:gd name="T2" fmla="*/ 18 w 18"/>
                <a:gd name="T3" fmla="*/ 1 h 146"/>
                <a:gd name="T4" fmla="*/ 18 w 18"/>
                <a:gd name="T5" fmla="*/ 4 h 146"/>
                <a:gd name="T6" fmla="*/ 11 w 18"/>
                <a:gd name="T7" fmla="*/ 85 h 146"/>
                <a:gd name="T8" fmla="*/ 0 w 18"/>
                <a:gd name="T9" fmla="*/ 144 h 146"/>
                <a:gd name="T10" fmla="*/ 0 w 18"/>
                <a:gd name="T11" fmla="*/ 146 h 146"/>
                <a:gd name="T12" fmla="*/ 11 w 18"/>
                <a:gd name="T13" fmla="*/ 85 h 146"/>
                <a:gd name="T14" fmla="*/ 18 w 18"/>
                <a:gd name="T15" fmla="*/ 4 h 146"/>
                <a:gd name="T16" fmla="*/ 18 w 18"/>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6">
                  <a:moveTo>
                    <a:pt x="18" y="0"/>
                  </a:moveTo>
                  <a:cubicBezTo>
                    <a:pt x="18" y="0"/>
                    <a:pt x="18" y="1"/>
                    <a:pt x="18" y="1"/>
                  </a:cubicBezTo>
                  <a:cubicBezTo>
                    <a:pt x="18" y="2"/>
                    <a:pt x="18" y="3"/>
                    <a:pt x="18" y="4"/>
                  </a:cubicBezTo>
                  <a:cubicBezTo>
                    <a:pt x="18" y="7"/>
                    <a:pt x="11" y="85"/>
                    <a:pt x="11" y="85"/>
                  </a:cubicBezTo>
                  <a:cubicBezTo>
                    <a:pt x="11" y="85"/>
                    <a:pt x="1" y="119"/>
                    <a:pt x="0" y="144"/>
                  </a:cubicBezTo>
                  <a:cubicBezTo>
                    <a:pt x="0" y="145"/>
                    <a:pt x="0" y="146"/>
                    <a:pt x="0" y="146"/>
                  </a:cubicBezTo>
                  <a:cubicBezTo>
                    <a:pt x="0" y="121"/>
                    <a:pt x="11" y="85"/>
                    <a:pt x="11" y="85"/>
                  </a:cubicBezTo>
                  <a:cubicBezTo>
                    <a:pt x="11" y="85"/>
                    <a:pt x="18" y="7"/>
                    <a:pt x="18" y="4"/>
                  </a:cubicBezTo>
                  <a:cubicBezTo>
                    <a:pt x="18" y="3"/>
                    <a:pt x="18" y="2"/>
                    <a:pt x="18" y="0"/>
                  </a:cubicBezTo>
                </a:path>
              </a:pathLst>
            </a:custGeom>
            <a:solidFill>
              <a:srgbClr val="356B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ṣḻíďe">
              <a:extLst>
                <a:ext uri="{FF2B5EF4-FFF2-40B4-BE49-F238E27FC236}">
                  <a16:creationId xmlns:a16="http://schemas.microsoft.com/office/drawing/2014/main" id="{194AF17D-9FCD-4CD9-AF65-1D865FDB5F48}"/>
                </a:ext>
              </a:extLst>
            </p:cNvPr>
            <p:cNvSpPr/>
            <p:nvPr/>
          </p:nvSpPr>
          <p:spPr bwMode="auto">
            <a:xfrm>
              <a:off x="7156450" y="3652838"/>
              <a:ext cx="95250" cy="377825"/>
            </a:xfrm>
            <a:custGeom>
              <a:avLst/>
              <a:gdLst>
                <a:gd name="T0" fmla="*/ 57 w 68"/>
                <a:gd name="T1" fmla="*/ 0 h 272"/>
                <a:gd name="T2" fmla="*/ 46 w 68"/>
                <a:gd name="T3" fmla="*/ 7 h 272"/>
                <a:gd name="T4" fmla="*/ 46 w 68"/>
                <a:gd name="T5" fmla="*/ 7 h 272"/>
                <a:gd name="T6" fmla="*/ 24 w 68"/>
                <a:gd name="T7" fmla="*/ 22 h 272"/>
                <a:gd name="T8" fmla="*/ 13 w 68"/>
                <a:gd name="T9" fmla="*/ 65 h 272"/>
                <a:gd name="T10" fmla="*/ 12 w 68"/>
                <a:gd name="T11" fmla="*/ 66 h 272"/>
                <a:gd name="T12" fmla="*/ 18 w 68"/>
                <a:gd name="T13" fmla="*/ 121 h 272"/>
                <a:gd name="T14" fmla="*/ 18 w 68"/>
                <a:gd name="T15" fmla="*/ 125 h 272"/>
                <a:gd name="T16" fmla="*/ 11 w 68"/>
                <a:gd name="T17" fmla="*/ 206 h 272"/>
                <a:gd name="T18" fmla="*/ 0 w 68"/>
                <a:gd name="T19" fmla="*/ 267 h 272"/>
                <a:gd name="T20" fmla="*/ 0 w 68"/>
                <a:gd name="T21" fmla="*/ 271 h 272"/>
                <a:gd name="T22" fmla="*/ 29 w 68"/>
                <a:gd name="T23" fmla="*/ 272 h 272"/>
                <a:gd name="T24" fmla="*/ 49 w 68"/>
                <a:gd name="T25" fmla="*/ 80 h 272"/>
                <a:gd name="T26" fmla="*/ 55 w 68"/>
                <a:gd name="T27" fmla="*/ 58 h 272"/>
                <a:gd name="T28" fmla="*/ 68 w 68"/>
                <a:gd name="T29" fmla="*/ 14 h 272"/>
                <a:gd name="T30" fmla="*/ 68 w 68"/>
                <a:gd name="T31" fmla="*/ 14 h 272"/>
                <a:gd name="T32" fmla="*/ 57 w 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272">
                  <a:moveTo>
                    <a:pt x="57" y="0"/>
                  </a:moveTo>
                  <a:cubicBezTo>
                    <a:pt x="46" y="7"/>
                    <a:pt x="46" y="7"/>
                    <a:pt x="46" y="7"/>
                  </a:cubicBezTo>
                  <a:cubicBezTo>
                    <a:pt x="46" y="7"/>
                    <a:pt x="46" y="7"/>
                    <a:pt x="46" y="7"/>
                  </a:cubicBezTo>
                  <a:cubicBezTo>
                    <a:pt x="24" y="22"/>
                    <a:pt x="24" y="22"/>
                    <a:pt x="24" y="22"/>
                  </a:cubicBezTo>
                  <a:cubicBezTo>
                    <a:pt x="13" y="65"/>
                    <a:pt x="13" y="65"/>
                    <a:pt x="13" y="65"/>
                  </a:cubicBezTo>
                  <a:cubicBezTo>
                    <a:pt x="12" y="66"/>
                    <a:pt x="12" y="66"/>
                    <a:pt x="12" y="66"/>
                  </a:cubicBezTo>
                  <a:cubicBezTo>
                    <a:pt x="12" y="66"/>
                    <a:pt x="17" y="108"/>
                    <a:pt x="18" y="121"/>
                  </a:cubicBezTo>
                  <a:cubicBezTo>
                    <a:pt x="18" y="123"/>
                    <a:pt x="18" y="124"/>
                    <a:pt x="18" y="125"/>
                  </a:cubicBezTo>
                  <a:cubicBezTo>
                    <a:pt x="18" y="128"/>
                    <a:pt x="11" y="206"/>
                    <a:pt x="11" y="206"/>
                  </a:cubicBezTo>
                  <a:cubicBezTo>
                    <a:pt x="11" y="206"/>
                    <a:pt x="0" y="242"/>
                    <a:pt x="0" y="267"/>
                  </a:cubicBezTo>
                  <a:cubicBezTo>
                    <a:pt x="0" y="268"/>
                    <a:pt x="0" y="270"/>
                    <a:pt x="0" y="271"/>
                  </a:cubicBezTo>
                  <a:cubicBezTo>
                    <a:pt x="29" y="272"/>
                    <a:pt x="29" y="272"/>
                    <a:pt x="29" y="272"/>
                  </a:cubicBezTo>
                  <a:cubicBezTo>
                    <a:pt x="34" y="206"/>
                    <a:pt x="49" y="80"/>
                    <a:pt x="49" y="80"/>
                  </a:cubicBezTo>
                  <a:cubicBezTo>
                    <a:pt x="49" y="80"/>
                    <a:pt x="52" y="71"/>
                    <a:pt x="55" y="58"/>
                  </a:cubicBezTo>
                  <a:cubicBezTo>
                    <a:pt x="59" y="45"/>
                    <a:pt x="64" y="29"/>
                    <a:pt x="68" y="14"/>
                  </a:cubicBezTo>
                  <a:cubicBezTo>
                    <a:pt x="68" y="14"/>
                    <a:pt x="68" y="14"/>
                    <a:pt x="68" y="14"/>
                  </a:cubicBezTo>
                  <a:cubicBezTo>
                    <a:pt x="64" y="10"/>
                    <a:pt x="60" y="5"/>
                    <a:pt x="5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îSlîḓè">
              <a:extLst>
                <a:ext uri="{FF2B5EF4-FFF2-40B4-BE49-F238E27FC236}">
                  <a16:creationId xmlns:a16="http://schemas.microsoft.com/office/drawing/2014/main" id="{564390C7-575E-4A96-B872-BB37E99B10DE}"/>
                </a:ext>
              </a:extLst>
            </p:cNvPr>
            <p:cNvSpPr/>
            <p:nvPr/>
          </p:nvSpPr>
          <p:spPr bwMode="auto">
            <a:xfrm>
              <a:off x="7058025" y="4037013"/>
              <a:ext cx="100013" cy="273050"/>
            </a:xfrm>
            <a:custGeom>
              <a:avLst/>
              <a:gdLst>
                <a:gd name="T0" fmla="*/ 0 w 72"/>
                <a:gd name="T1" fmla="*/ 197 h 197"/>
                <a:gd name="T2" fmla="*/ 0 w 72"/>
                <a:gd name="T3" fmla="*/ 197 h 197"/>
                <a:gd name="T4" fmla="*/ 0 w 72"/>
                <a:gd name="T5" fmla="*/ 197 h 197"/>
                <a:gd name="T6" fmla="*/ 0 w 72"/>
                <a:gd name="T7" fmla="*/ 197 h 197"/>
                <a:gd name="T8" fmla="*/ 71 w 72"/>
                <a:gd name="T9" fmla="*/ 0 h 197"/>
                <a:gd name="T10" fmla="*/ 71 w 72"/>
                <a:gd name="T11" fmla="*/ 1 h 197"/>
                <a:gd name="T12" fmla="*/ 72 w 72"/>
                <a:gd name="T13" fmla="*/ 1 h 197"/>
                <a:gd name="T14" fmla="*/ 71 w 72"/>
                <a:gd name="T15" fmla="*/ 0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97">
                  <a:moveTo>
                    <a:pt x="0" y="197"/>
                  </a:moveTo>
                  <a:cubicBezTo>
                    <a:pt x="0" y="197"/>
                    <a:pt x="0" y="197"/>
                    <a:pt x="0" y="197"/>
                  </a:cubicBezTo>
                  <a:cubicBezTo>
                    <a:pt x="0" y="197"/>
                    <a:pt x="0" y="197"/>
                    <a:pt x="0" y="197"/>
                  </a:cubicBezTo>
                  <a:cubicBezTo>
                    <a:pt x="0" y="197"/>
                    <a:pt x="0" y="197"/>
                    <a:pt x="0" y="197"/>
                  </a:cubicBezTo>
                  <a:moveTo>
                    <a:pt x="71" y="0"/>
                  </a:moveTo>
                  <a:cubicBezTo>
                    <a:pt x="71" y="0"/>
                    <a:pt x="71" y="0"/>
                    <a:pt x="71" y="1"/>
                  </a:cubicBezTo>
                  <a:cubicBezTo>
                    <a:pt x="72" y="1"/>
                    <a:pt x="72" y="1"/>
                    <a:pt x="72" y="1"/>
                  </a:cubicBezTo>
                  <a:cubicBezTo>
                    <a:pt x="71" y="0"/>
                    <a:pt x="71" y="0"/>
                    <a:pt x="71"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ṡļiḑe">
              <a:extLst>
                <a:ext uri="{FF2B5EF4-FFF2-40B4-BE49-F238E27FC236}">
                  <a16:creationId xmlns:a16="http://schemas.microsoft.com/office/drawing/2014/main" id="{DE0EA840-7412-448A-8C8F-551B9BED534B}"/>
                </a:ext>
              </a:extLst>
            </p:cNvPr>
            <p:cNvSpPr/>
            <p:nvPr/>
          </p:nvSpPr>
          <p:spPr bwMode="auto">
            <a:xfrm>
              <a:off x="7156450" y="4029076"/>
              <a:ext cx="1588" cy="7938"/>
            </a:xfrm>
            <a:custGeom>
              <a:avLst/>
              <a:gdLst>
                <a:gd name="T0" fmla="*/ 0 w 1"/>
                <a:gd name="T1" fmla="*/ 0 h 6"/>
                <a:gd name="T2" fmla="*/ 0 w 1"/>
                <a:gd name="T3" fmla="*/ 0 h 6"/>
                <a:gd name="T4" fmla="*/ 0 w 1"/>
                <a:gd name="T5" fmla="*/ 5 h 6"/>
                <a:gd name="T6" fmla="*/ 1 w 1"/>
                <a:gd name="T7" fmla="*/ 6 h 6"/>
                <a:gd name="T8" fmla="*/ 1 w 1"/>
                <a:gd name="T9" fmla="*/ 6 h 6"/>
                <a:gd name="T10" fmla="*/ 1 w 1"/>
                <a:gd name="T11" fmla="*/ 6 h 6"/>
                <a:gd name="T12" fmla="*/ 0 w 1"/>
                <a:gd name="T13" fmla="*/ 0 h 6"/>
                <a:gd name="T14" fmla="*/ 0 w 1"/>
                <a:gd name="T15" fmla="*/ 0 h 6"/>
                <a:gd name="T16" fmla="*/ 0 w 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6">
                  <a:moveTo>
                    <a:pt x="0" y="0"/>
                  </a:moveTo>
                  <a:cubicBezTo>
                    <a:pt x="0" y="0"/>
                    <a:pt x="0" y="0"/>
                    <a:pt x="0" y="0"/>
                  </a:cubicBezTo>
                  <a:cubicBezTo>
                    <a:pt x="0" y="2"/>
                    <a:pt x="0" y="3"/>
                    <a:pt x="0" y="5"/>
                  </a:cubicBezTo>
                  <a:cubicBezTo>
                    <a:pt x="0" y="5"/>
                    <a:pt x="0" y="5"/>
                    <a:pt x="1" y="6"/>
                  </a:cubicBezTo>
                  <a:cubicBezTo>
                    <a:pt x="1" y="6"/>
                    <a:pt x="1" y="6"/>
                    <a:pt x="1" y="6"/>
                  </a:cubicBezTo>
                  <a:cubicBezTo>
                    <a:pt x="1" y="6"/>
                    <a:pt x="1" y="6"/>
                    <a:pt x="1" y="6"/>
                  </a:cubicBezTo>
                  <a:cubicBezTo>
                    <a:pt x="0" y="4"/>
                    <a:pt x="0" y="2"/>
                    <a:pt x="0" y="0"/>
                  </a:cubicBezTo>
                  <a:cubicBezTo>
                    <a:pt x="0" y="0"/>
                    <a:pt x="0" y="0"/>
                    <a:pt x="0" y="0"/>
                  </a:cubicBezTo>
                  <a:cubicBezTo>
                    <a:pt x="0" y="0"/>
                    <a:pt x="0" y="0"/>
                    <a:pt x="0" y="0"/>
                  </a:cubicBezTo>
                </a:path>
              </a:pathLst>
            </a:custGeom>
            <a:solidFill>
              <a:srgbClr val="356B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ṩḷïdè">
              <a:extLst>
                <a:ext uri="{FF2B5EF4-FFF2-40B4-BE49-F238E27FC236}">
                  <a16:creationId xmlns:a16="http://schemas.microsoft.com/office/drawing/2014/main" id="{8002CE6A-926E-456E-9CEA-7C1901C0B6E0}"/>
                </a:ext>
              </a:extLst>
            </p:cNvPr>
            <p:cNvSpPr/>
            <p:nvPr/>
          </p:nvSpPr>
          <p:spPr bwMode="auto">
            <a:xfrm>
              <a:off x="7156450" y="4029076"/>
              <a:ext cx="41275" cy="9525"/>
            </a:xfrm>
            <a:custGeom>
              <a:avLst/>
              <a:gdLst>
                <a:gd name="T0" fmla="*/ 0 w 29"/>
                <a:gd name="T1" fmla="*/ 0 h 7"/>
                <a:gd name="T2" fmla="*/ 0 w 29"/>
                <a:gd name="T3" fmla="*/ 0 h 7"/>
                <a:gd name="T4" fmla="*/ 1 w 29"/>
                <a:gd name="T5" fmla="*/ 6 h 7"/>
                <a:gd name="T6" fmla="*/ 28 w 29"/>
                <a:gd name="T7" fmla="*/ 7 h 7"/>
                <a:gd name="T8" fmla="*/ 29 w 29"/>
                <a:gd name="T9" fmla="*/ 1 h 7"/>
                <a:gd name="T10" fmla="*/ 0 w 29"/>
                <a:gd name="T11" fmla="*/ 0 h 7"/>
              </a:gdLst>
              <a:ahLst/>
              <a:cxnLst>
                <a:cxn ang="0">
                  <a:pos x="T0" y="T1"/>
                </a:cxn>
                <a:cxn ang="0">
                  <a:pos x="T2" y="T3"/>
                </a:cxn>
                <a:cxn ang="0">
                  <a:pos x="T4" y="T5"/>
                </a:cxn>
                <a:cxn ang="0">
                  <a:pos x="T6" y="T7"/>
                </a:cxn>
                <a:cxn ang="0">
                  <a:pos x="T8" y="T9"/>
                </a:cxn>
                <a:cxn ang="0">
                  <a:pos x="T10" y="T11"/>
                </a:cxn>
              </a:cxnLst>
              <a:rect l="0" t="0" r="r" b="b"/>
              <a:pathLst>
                <a:path w="29" h="7">
                  <a:moveTo>
                    <a:pt x="0" y="0"/>
                  </a:moveTo>
                  <a:cubicBezTo>
                    <a:pt x="0" y="0"/>
                    <a:pt x="0" y="0"/>
                    <a:pt x="0" y="0"/>
                  </a:cubicBezTo>
                  <a:cubicBezTo>
                    <a:pt x="0" y="2"/>
                    <a:pt x="0" y="4"/>
                    <a:pt x="1" y="6"/>
                  </a:cubicBezTo>
                  <a:cubicBezTo>
                    <a:pt x="28" y="7"/>
                    <a:pt x="28" y="7"/>
                    <a:pt x="28" y="7"/>
                  </a:cubicBezTo>
                  <a:cubicBezTo>
                    <a:pt x="29" y="5"/>
                    <a:pt x="29" y="3"/>
                    <a:pt x="29" y="1"/>
                  </a:cubicBezTo>
                  <a:cubicBezTo>
                    <a:pt x="0" y="0"/>
                    <a:pt x="0" y="0"/>
                    <a:pt x="0"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îṣ1iďé">
              <a:extLst>
                <a:ext uri="{FF2B5EF4-FFF2-40B4-BE49-F238E27FC236}">
                  <a16:creationId xmlns:a16="http://schemas.microsoft.com/office/drawing/2014/main" id="{2C0E093F-6185-4A83-A473-A721689418C5}"/>
                </a:ext>
              </a:extLst>
            </p:cNvPr>
            <p:cNvSpPr/>
            <p:nvPr/>
          </p:nvSpPr>
          <p:spPr bwMode="auto">
            <a:xfrm>
              <a:off x="7058025" y="4037013"/>
              <a:ext cx="138113" cy="273050"/>
            </a:xfrm>
            <a:custGeom>
              <a:avLst/>
              <a:gdLst>
                <a:gd name="T0" fmla="*/ 61 w 99"/>
                <a:gd name="T1" fmla="*/ 0 h 197"/>
                <a:gd name="T2" fmla="*/ 4 w 99"/>
                <a:gd name="T3" fmla="*/ 146 h 197"/>
                <a:gd name="T4" fmla="*/ 0 w 99"/>
                <a:gd name="T5" fmla="*/ 197 h 197"/>
                <a:gd name="T6" fmla="*/ 0 w 99"/>
                <a:gd name="T7" fmla="*/ 197 h 197"/>
                <a:gd name="T8" fmla="*/ 15 w 99"/>
                <a:gd name="T9" fmla="*/ 187 h 197"/>
                <a:gd name="T10" fmla="*/ 98 w 99"/>
                <a:gd name="T11" fmla="*/ 17 h 197"/>
                <a:gd name="T12" fmla="*/ 99 w 99"/>
                <a:gd name="T13" fmla="*/ 6 h 197"/>
                <a:gd name="T14" fmla="*/ 99 w 99"/>
                <a:gd name="T15" fmla="*/ 2 h 197"/>
                <a:gd name="T16" fmla="*/ 99 w 99"/>
                <a:gd name="T17" fmla="*/ 2 h 197"/>
                <a:gd name="T18" fmla="*/ 72 w 99"/>
                <a:gd name="T19" fmla="*/ 1 h 197"/>
                <a:gd name="T20" fmla="*/ 72 w 99"/>
                <a:gd name="T21" fmla="*/ 1 h 197"/>
                <a:gd name="T22" fmla="*/ 72 w 99"/>
                <a:gd name="T23" fmla="*/ 1 h 197"/>
                <a:gd name="T24" fmla="*/ 71 w 99"/>
                <a:gd name="T25" fmla="*/ 1 h 197"/>
                <a:gd name="T26" fmla="*/ 72 w 99"/>
                <a:gd name="T27" fmla="*/ 1 h 197"/>
                <a:gd name="T28" fmla="*/ 61 w 99"/>
                <a:gd name="T29"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197">
                  <a:moveTo>
                    <a:pt x="61" y="0"/>
                  </a:moveTo>
                  <a:cubicBezTo>
                    <a:pt x="61" y="0"/>
                    <a:pt x="15" y="132"/>
                    <a:pt x="4" y="146"/>
                  </a:cubicBezTo>
                  <a:cubicBezTo>
                    <a:pt x="1" y="150"/>
                    <a:pt x="0" y="170"/>
                    <a:pt x="0" y="197"/>
                  </a:cubicBezTo>
                  <a:cubicBezTo>
                    <a:pt x="0" y="197"/>
                    <a:pt x="0" y="197"/>
                    <a:pt x="0" y="197"/>
                  </a:cubicBezTo>
                  <a:cubicBezTo>
                    <a:pt x="4" y="193"/>
                    <a:pt x="9" y="189"/>
                    <a:pt x="15" y="187"/>
                  </a:cubicBezTo>
                  <a:cubicBezTo>
                    <a:pt x="34" y="179"/>
                    <a:pt x="88" y="81"/>
                    <a:pt x="98" y="17"/>
                  </a:cubicBezTo>
                  <a:cubicBezTo>
                    <a:pt x="99" y="13"/>
                    <a:pt x="99" y="9"/>
                    <a:pt x="99" y="6"/>
                  </a:cubicBezTo>
                  <a:cubicBezTo>
                    <a:pt x="99" y="5"/>
                    <a:pt x="99" y="4"/>
                    <a:pt x="99" y="2"/>
                  </a:cubicBezTo>
                  <a:cubicBezTo>
                    <a:pt x="99" y="2"/>
                    <a:pt x="99" y="2"/>
                    <a:pt x="99" y="2"/>
                  </a:cubicBezTo>
                  <a:cubicBezTo>
                    <a:pt x="72" y="1"/>
                    <a:pt x="72" y="1"/>
                    <a:pt x="72" y="1"/>
                  </a:cubicBezTo>
                  <a:cubicBezTo>
                    <a:pt x="72" y="1"/>
                    <a:pt x="72" y="1"/>
                    <a:pt x="72" y="1"/>
                  </a:cubicBezTo>
                  <a:cubicBezTo>
                    <a:pt x="72" y="1"/>
                    <a:pt x="72" y="1"/>
                    <a:pt x="72" y="1"/>
                  </a:cubicBezTo>
                  <a:cubicBezTo>
                    <a:pt x="71" y="1"/>
                    <a:pt x="71" y="1"/>
                    <a:pt x="71" y="1"/>
                  </a:cubicBezTo>
                  <a:cubicBezTo>
                    <a:pt x="72" y="1"/>
                    <a:pt x="72" y="1"/>
                    <a:pt x="72" y="1"/>
                  </a:cubicBezTo>
                  <a:cubicBezTo>
                    <a:pt x="61" y="0"/>
                    <a:pt x="61" y="0"/>
                    <a:pt x="61"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îṧļíďe">
              <a:extLst>
                <a:ext uri="{FF2B5EF4-FFF2-40B4-BE49-F238E27FC236}">
                  <a16:creationId xmlns:a16="http://schemas.microsoft.com/office/drawing/2014/main" id="{BC05B1A7-113B-4B4E-81D7-0F71F9DCE061}"/>
                </a:ext>
              </a:extLst>
            </p:cNvPr>
            <p:cNvSpPr/>
            <p:nvPr/>
          </p:nvSpPr>
          <p:spPr bwMode="auto">
            <a:xfrm>
              <a:off x="6848475" y="3494088"/>
              <a:ext cx="438150" cy="841375"/>
            </a:xfrm>
            <a:custGeom>
              <a:avLst/>
              <a:gdLst>
                <a:gd name="T0" fmla="*/ 315 w 315"/>
                <a:gd name="T1" fmla="*/ 6 h 605"/>
                <a:gd name="T2" fmla="*/ 290 w 315"/>
                <a:gd name="T3" fmla="*/ 9 h 605"/>
                <a:gd name="T4" fmla="*/ 251 w 315"/>
                <a:gd name="T5" fmla="*/ 15 h 605"/>
                <a:gd name="T6" fmla="*/ 179 w 315"/>
                <a:gd name="T7" fmla="*/ 7 h 605"/>
                <a:gd name="T8" fmla="*/ 158 w 315"/>
                <a:gd name="T9" fmla="*/ 12 h 605"/>
                <a:gd name="T10" fmla="*/ 142 w 315"/>
                <a:gd name="T11" fmla="*/ 33 h 605"/>
                <a:gd name="T12" fmla="*/ 126 w 315"/>
                <a:gd name="T13" fmla="*/ 47 h 605"/>
                <a:gd name="T14" fmla="*/ 110 w 315"/>
                <a:gd name="T15" fmla="*/ 61 h 605"/>
                <a:gd name="T16" fmla="*/ 146 w 315"/>
                <a:gd name="T17" fmla="*/ 177 h 605"/>
                <a:gd name="T18" fmla="*/ 111 w 315"/>
                <a:gd name="T19" fmla="*/ 336 h 605"/>
                <a:gd name="T20" fmla="*/ 36 w 315"/>
                <a:gd name="T21" fmla="*/ 543 h 605"/>
                <a:gd name="T22" fmla="*/ 126 w 315"/>
                <a:gd name="T23" fmla="*/ 603 h 605"/>
                <a:gd name="T24" fmla="*/ 163 w 315"/>
                <a:gd name="T25" fmla="*/ 571 h 605"/>
                <a:gd name="T26" fmla="*/ 247 w 315"/>
                <a:gd name="T27" fmla="*/ 390 h 605"/>
                <a:gd name="T28" fmla="*/ 268 w 315"/>
                <a:gd name="T29" fmla="*/ 188 h 605"/>
                <a:gd name="T30" fmla="*/ 297 w 315"/>
                <a:gd name="T31" fmla="*/ 91 h 605"/>
                <a:gd name="T32" fmla="*/ 303 w 315"/>
                <a:gd name="T33" fmla="*/ 25 h 605"/>
                <a:gd name="T34" fmla="*/ 315 w 315"/>
                <a:gd name="T35" fmla="*/ 6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605">
                  <a:moveTo>
                    <a:pt x="315" y="6"/>
                  </a:moveTo>
                  <a:cubicBezTo>
                    <a:pt x="306" y="3"/>
                    <a:pt x="297" y="4"/>
                    <a:pt x="290" y="9"/>
                  </a:cubicBezTo>
                  <a:cubicBezTo>
                    <a:pt x="279" y="17"/>
                    <a:pt x="257" y="16"/>
                    <a:pt x="251" y="15"/>
                  </a:cubicBezTo>
                  <a:cubicBezTo>
                    <a:pt x="245" y="13"/>
                    <a:pt x="184" y="5"/>
                    <a:pt x="179" y="7"/>
                  </a:cubicBezTo>
                  <a:cubicBezTo>
                    <a:pt x="174" y="9"/>
                    <a:pt x="164" y="0"/>
                    <a:pt x="158" y="12"/>
                  </a:cubicBezTo>
                  <a:cubicBezTo>
                    <a:pt x="151" y="24"/>
                    <a:pt x="148" y="30"/>
                    <a:pt x="142" y="33"/>
                  </a:cubicBezTo>
                  <a:cubicBezTo>
                    <a:pt x="136" y="36"/>
                    <a:pt x="124" y="45"/>
                    <a:pt x="126" y="47"/>
                  </a:cubicBezTo>
                  <a:cubicBezTo>
                    <a:pt x="128" y="49"/>
                    <a:pt x="110" y="61"/>
                    <a:pt x="110" y="61"/>
                  </a:cubicBezTo>
                  <a:cubicBezTo>
                    <a:pt x="146" y="177"/>
                    <a:pt x="146" y="177"/>
                    <a:pt x="146" y="177"/>
                  </a:cubicBezTo>
                  <a:cubicBezTo>
                    <a:pt x="146" y="177"/>
                    <a:pt x="123" y="324"/>
                    <a:pt x="111" y="336"/>
                  </a:cubicBezTo>
                  <a:cubicBezTo>
                    <a:pt x="100" y="349"/>
                    <a:pt x="0" y="514"/>
                    <a:pt x="36" y="543"/>
                  </a:cubicBezTo>
                  <a:cubicBezTo>
                    <a:pt x="64" y="566"/>
                    <a:pt x="94" y="586"/>
                    <a:pt x="126" y="603"/>
                  </a:cubicBezTo>
                  <a:cubicBezTo>
                    <a:pt x="130" y="605"/>
                    <a:pt x="144" y="579"/>
                    <a:pt x="163" y="571"/>
                  </a:cubicBezTo>
                  <a:cubicBezTo>
                    <a:pt x="183" y="562"/>
                    <a:pt x="244" y="452"/>
                    <a:pt x="247" y="390"/>
                  </a:cubicBezTo>
                  <a:cubicBezTo>
                    <a:pt x="251" y="327"/>
                    <a:pt x="268" y="188"/>
                    <a:pt x="268" y="188"/>
                  </a:cubicBezTo>
                  <a:cubicBezTo>
                    <a:pt x="268" y="188"/>
                    <a:pt x="289" y="111"/>
                    <a:pt x="297" y="91"/>
                  </a:cubicBezTo>
                  <a:cubicBezTo>
                    <a:pt x="304" y="70"/>
                    <a:pt x="303" y="25"/>
                    <a:pt x="303" y="25"/>
                  </a:cubicBezTo>
                  <a:lnTo>
                    <a:pt x="315" y="6"/>
                  </a:lnTo>
                  <a:close/>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îSḻîde">
              <a:extLst>
                <a:ext uri="{FF2B5EF4-FFF2-40B4-BE49-F238E27FC236}">
                  <a16:creationId xmlns:a16="http://schemas.microsoft.com/office/drawing/2014/main" id="{454480FB-B292-4F03-A0CF-3F5EF515F4B5}"/>
                </a:ext>
              </a:extLst>
            </p:cNvPr>
            <p:cNvSpPr/>
            <p:nvPr/>
          </p:nvSpPr>
          <p:spPr bwMode="auto">
            <a:xfrm>
              <a:off x="7448550" y="3646488"/>
              <a:ext cx="3175" cy="3175"/>
            </a:xfrm>
            <a:custGeom>
              <a:avLst/>
              <a:gdLst>
                <a:gd name="T0" fmla="*/ 0 w 2"/>
                <a:gd name="T1" fmla="*/ 0 h 2"/>
                <a:gd name="T2" fmla="*/ 0 w 2"/>
                <a:gd name="T3" fmla="*/ 2 h 2"/>
                <a:gd name="T4" fmla="*/ 2 w 2"/>
                <a:gd name="T5" fmla="*/ 1 h 2"/>
                <a:gd name="T6" fmla="*/ 2 w 2"/>
                <a:gd name="T7" fmla="*/ 1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0" y="2"/>
                    <a:pt x="0" y="2"/>
                    <a:pt x="0" y="2"/>
                  </a:cubicBezTo>
                  <a:cubicBezTo>
                    <a:pt x="1" y="1"/>
                    <a:pt x="1" y="1"/>
                    <a:pt x="2" y="1"/>
                  </a:cubicBezTo>
                  <a:cubicBezTo>
                    <a:pt x="2" y="1"/>
                    <a:pt x="2" y="1"/>
                    <a:pt x="2" y="1"/>
                  </a:cubicBezTo>
                  <a:cubicBezTo>
                    <a:pt x="1" y="0"/>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iṣ1ïḑè">
              <a:extLst>
                <a:ext uri="{FF2B5EF4-FFF2-40B4-BE49-F238E27FC236}">
                  <a16:creationId xmlns:a16="http://schemas.microsoft.com/office/drawing/2014/main" id="{9A4C6E7C-1296-417E-96E0-0AE61DCAD227}"/>
                </a:ext>
              </a:extLst>
            </p:cNvPr>
            <p:cNvSpPr/>
            <p:nvPr/>
          </p:nvSpPr>
          <p:spPr bwMode="auto">
            <a:xfrm>
              <a:off x="7423150" y="3648076"/>
              <a:ext cx="77788" cy="395288"/>
            </a:xfrm>
            <a:custGeom>
              <a:avLst/>
              <a:gdLst>
                <a:gd name="T0" fmla="*/ 20 w 56"/>
                <a:gd name="T1" fmla="*/ 0 h 284"/>
                <a:gd name="T2" fmla="*/ 18 w 56"/>
                <a:gd name="T3" fmla="*/ 1 h 284"/>
                <a:gd name="T4" fmla="*/ 18 w 56"/>
                <a:gd name="T5" fmla="*/ 1 h 284"/>
                <a:gd name="T6" fmla="*/ 22 w 56"/>
                <a:gd name="T7" fmla="*/ 29 h 284"/>
                <a:gd name="T8" fmla="*/ 24 w 56"/>
                <a:gd name="T9" fmla="*/ 46 h 284"/>
                <a:gd name="T10" fmla="*/ 45 w 56"/>
                <a:gd name="T11" fmla="*/ 198 h 284"/>
                <a:gd name="T12" fmla="*/ 45 w 56"/>
                <a:gd name="T13" fmla="*/ 199 h 284"/>
                <a:gd name="T14" fmla="*/ 48 w 56"/>
                <a:gd name="T15" fmla="*/ 199 h 284"/>
                <a:gd name="T16" fmla="*/ 46 w 56"/>
                <a:gd name="T17" fmla="*/ 201 h 284"/>
                <a:gd name="T18" fmla="*/ 0 w 56"/>
                <a:gd name="T19" fmla="*/ 284 h 284"/>
                <a:gd name="T20" fmla="*/ 3 w 56"/>
                <a:gd name="T21" fmla="*/ 284 h 284"/>
                <a:gd name="T22" fmla="*/ 51 w 56"/>
                <a:gd name="T23" fmla="*/ 195 h 284"/>
                <a:gd name="T24" fmla="*/ 30 w 56"/>
                <a:gd name="T25" fmla="*/ 43 h 284"/>
                <a:gd name="T26" fmla="*/ 27 w 56"/>
                <a:gd name="T27" fmla="*/ 23 h 284"/>
                <a:gd name="T28" fmla="*/ 24 w 56"/>
                <a:gd name="T29" fmla="*/ 2 h 284"/>
                <a:gd name="T30" fmla="*/ 24 w 56"/>
                <a:gd name="T31" fmla="*/ 2 h 284"/>
                <a:gd name="T32" fmla="*/ 20 w 56"/>
                <a:gd name="T33"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84">
                  <a:moveTo>
                    <a:pt x="20" y="0"/>
                  </a:moveTo>
                  <a:cubicBezTo>
                    <a:pt x="19" y="0"/>
                    <a:pt x="19" y="0"/>
                    <a:pt x="18" y="1"/>
                  </a:cubicBezTo>
                  <a:cubicBezTo>
                    <a:pt x="18" y="1"/>
                    <a:pt x="18" y="1"/>
                    <a:pt x="18" y="1"/>
                  </a:cubicBezTo>
                  <a:cubicBezTo>
                    <a:pt x="22" y="29"/>
                    <a:pt x="22" y="29"/>
                    <a:pt x="22" y="29"/>
                  </a:cubicBezTo>
                  <a:cubicBezTo>
                    <a:pt x="24" y="46"/>
                    <a:pt x="24" y="46"/>
                    <a:pt x="24" y="46"/>
                  </a:cubicBezTo>
                  <a:cubicBezTo>
                    <a:pt x="24" y="46"/>
                    <a:pt x="39" y="174"/>
                    <a:pt x="45" y="198"/>
                  </a:cubicBezTo>
                  <a:cubicBezTo>
                    <a:pt x="45" y="199"/>
                    <a:pt x="45" y="199"/>
                    <a:pt x="45" y="199"/>
                  </a:cubicBezTo>
                  <a:cubicBezTo>
                    <a:pt x="46" y="199"/>
                    <a:pt x="47" y="199"/>
                    <a:pt x="48" y="199"/>
                  </a:cubicBezTo>
                  <a:cubicBezTo>
                    <a:pt x="47" y="200"/>
                    <a:pt x="46" y="200"/>
                    <a:pt x="46" y="201"/>
                  </a:cubicBezTo>
                  <a:cubicBezTo>
                    <a:pt x="48" y="222"/>
                    <a:pt x="13" y="268"/>
                    <a:pt x="0" y="284"/>
                  </a:cubicBezTo>
                  <a:cubicBezTo>
                    <a:pt x="3" y="284"/>
                    <a:pt x="3" y="284"/>
                    <a:pt x="3" y="284"/>
                  </a:cubicBezTo>
                  <a:cubicBezTo>
                    <a:pt x="13" y="272"/>
                    <a:pt x="56" y="216"/>
                    <a:pt x="51" y="195"/>
                  </a:cubicBezTo>
                  <a:cubicBezTo>
                    <a:pt x="44" y="171"/>
                    <a:pt x="30" y="43"/>
                    <a:pt x="30" y="43"/>
                  </a:cubicBezTo>
                  <a:cubicBezTo>
                    <a:pt x="27" y="23"/>
                    <a:pt x="27" y="23"/>
                    <a:pt x="27" y="23"/>
                  </a:cubicBezTo>
                  <a:cubicBezTo>
                    <a:pt x="24" y="2"/>
                    <a:pt x="24" y="2"/>
                    <a:pt x="24" y="2"/>
                  </a:cubicBezTo>
                  <a:cubicBezTo>
                    <a:pt x="24" y="2"/>
                    <a:pt x="24" y="2"/>
                    <a:pt x="24" y="2"/>
                  </a:cubicBezTo>
                  <a:cubicBezTo>
                    <a:pt x="23" y="1"/>
                    <a:pt x="21" y="1"/>
                    <a:pt x="2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iŝļïdê">
              <a:extLst>
                <a:ext uri="{FF2B5EF4-FFF2-40B4-BE49-F238E27FC236}">
                  <a16:creationId xmlns:a16="http://schemas.microsoft.com/office/drawing/2014/main" id="{057AC862-2DF6-411E-ABCB-84223B7ED926}"/>
                </a:ext>
              </a:extLst>
            </p:cNvPr>
            <p:cNvSpPr/>
            <p:nvPr/>
          </p:nvSpPr>
          <p:spPr bwMode="auto">
            <a:xfrm>
              <a:off x="7418388" y="4043363"/>
              <a:ext cx="9525" cy="7938"/>
            </a:xfrm>
            <a:custGeom>
              <a:avLst/>
              <a:gdLst>
                <a:gd name="T0" fmla="*/ 4 w 7"/>
                <a:gd name="T1" fmla="*/ 0 h 6"/>
                <a:gd name="T2" fmla="*/ 0 w 7"/>
                <a:gd name="T3" fmla="*/ 6 h 6"/>
                <a:gd name="T4" fmla="*/ 5 w 7"/>
                <a:gd name="T5" fmla="*/ 6 h 6"/>
                <a:gd name="T6" fmla="*/ 5 w 7"/>
                <a:gd name="T7" fmla="*/ 3 h 6"/>
                <a:gd name="T8" fmla="*/ 7 w 7"/>
                <a:gd name="T9" fmla="*/ 0 h 6"/>
                <a:gd name="T10" fmla="*/ 4 w 7"/>
                <a:gd name="T11" fmla="*/ 0 h 6"/>
              </a:gdLst>
              <a:ahLst/>
              <a:cxnLst>
                <a:cxn ang="0">
                  <a:pos x="T0" y="T1"/>
                </a:cxn>
                <a:cxn ang="0">
                  <a:pos x="T2" y="T3"/>
                </a:cxn>
                <a:cxn ang="0">
                  <a:pos x="T4" y="T5"/>
                </a:cxn>
                <a:cxn ang="0">
                  <a:pos x="T6" y="T7"/>
                </a:cxn>
                <a:cxn ang="0">
                  <a:pos x="T8" y="T9"/>
                </a:cxn>
                <a:cxn ang="0">
                  <a:pos x="T10" y="T11"/>
                </a:cxn>
              </a:cxnLst>
              <a:rect l="0" t="0" r="r" b="b"/>
              <a:pathLst>
                <a:path w="7" h="6">
                  <a:moveTo>
                    <a:pt x="4" y="0"/>
                  </a:moveTo>
                  <a:cubicBezTo>
                    <a:pt x="2" y="3"/>
                    <a:pt x="0" y="5"/>
                    <a:pt x="0" y="6"/>
                  </a:cubicBezTo>
                  <a:cubicBezTo>
                    <a:pt x="5" y="6"/>
                    <a:pt x="5" y="6"/>
                    <a:pt x="5" y="6"/>
                  </a:cubicBezTo>
                  <a:cubicBezTo>
                    <a:pt x="5" y="4"/>
                    <a:pt x="5" y="3"/>
                    <a:pt x="5" y="3"/>
                  </a:cubicBezTo>
                  <a:cubicBezTo>
                    <a:pt x="5" y="3"/>
                    <a:pt x="6" y="2"/>
                    <a:pt x="7" y="0"/>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ṩļíḑe">
              <a:extLst>
                <a:ext uri="{FF2B5EF4-FFF2-40B4-BE49-F238E27FC236}">
                  <a16:creationId xmlns:a16="http://schemas.microsoft.com/office/drawing/2014/main" id="{7B39B0D5-10D8-4551-8743-4FB0116D81DD}"/>
                </a:ext>
              </a:extLst>
            </p:cNvPr>
            <p:cNvSpPr/>
            <p:nvPr/>
          </p:nvSpPr>
          <p:spPr bwMode="auto">
            <a:xfrm>
              <a:off x="7413625" y="4051301"/>
              <a:ext cx="133350" cy="374650"/>
            </a:xfrm>
            <a:custGeom>
              <a:avLst/>
              <a:gdLst>
                <a:gd name="T0" fmla="*/ 3 w 95"/>
                <a:gd name="T1" fmla="*/ 0 h 269"/>
                <a:gd name="T2" fmla="*/ 3 w 95"/>
                <a:gd name="T3" fmla="*/ 0 h 269"/>
                <a:gd name="T4" fmla="*/ 2 w 95"/>
                <a:gd name="T5" fmla="*/ 10 h 269"/>
                <a:gd name="T6" fmla="*/ 3 w 95"/>
                <a:gd name="T7" fmla="*/ 118 h 269"/>
                <a:gd name="T8" fmla="*/ 90 w 95"/>
                <a:gd name="T9" fmla="*/ 268 h 269"/>
                <a:gd name="T10" fmla="*/ 94 w 95"/>
                <a:gd name="T11" fmla="*/ 269 h 269"/>
                <a:gd name="T12" fmla="*/ 95 w 95"/>
                <a:gd name="T13" fmla="*/ 264 h 269"/>
                <a:gd name="T14" fmla="*/ 8 w 95"/>
                <a:gd name="T15" fmla="*/ 115 h 269"/>
                <a:gd name="T16" fmla="*/ 8 w 95"/>
                <a:gd name="T17" fmla="*/ 10 h 269"/>
                <a:gd name="T18" fmla="*/ 8 w 95"/>
                <a:gd name="T19" fmla="*/ 0 h 269"/>
                <a:gd name="T20" fmla="*/ 3 w 95"/>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269">
                  <a:moveTo>
                    <a:pt x="3" y="0"/>
                  </a:moveTo>
                  <a:cubicBezTo>
                    <a:pt x="3" y="0"/>
                    <a:pt x="3" y="0"/>
                    <a:pt x="3" y="0"/>
                  </a:cubicBezTo>
                  <a:cubicBezTo>
                    <a:pt x="3" y="0"/>
                    <a:pt x="3" y="4"/>
                    <a:pt x="2" y="10"/>
                  </a:cubicBezTo>
                  <a:cubicBezTo>
                    <a:pt x="2" y="28"/>
                    <a:pt x="0" y="70"/>
                    <a:pt x="3" y="118"/>
                  </a:cubicBezTo>
                  <a:cubicBezTo>
                    <a:pt x="6" y="184"/>
                    <a:pt x="78" y="258"/>
                    <a:pt x="90" y="268"/>
                  </a:cubicBezTo>
                  <a:cubicBezTo>
                    <a:pt x="92" y="269"/>
                    <a:pt x="93" y="269"/>
                    <a:pt x="94" y="269"/>
                  </a:cubicBezTo>
                  <a:cubicBezTo>
                    <a:pt x="95" y="268"/>
                    <a:pt x="95" y="266"/>
                    <a:pt x="95" y="264"/>
                  </a:cubicBezTo>
                  <a:cubicBezTo>
                    <a:pt x="82" y="253"/>
                    <a:pt x="12" y="180"/>
                    <a:pt x="8" y="115"/>
                  </a:cubicBezTo>
                  <a:cubicBezTo>
                    <a:pt x="6" y="69"/>
                    <a:pt x="7" y="29"/>
                    <a:pt x="8" y="10"/>
                  </a:cubicBezTo>
                  <a:cubicBezTo>
                    <a:pt x="8" y="5"/>
                    <a:pt x="8" y="2"/>
                    <a:pt x="8" y="0"/>
                  </a:cubicBezTo>
                  <a:cubicBezTo>
                    <a:pt x="3" y="0"/>
                    <a:pt x="3" y="0"/>
                    <a:pt x="3"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iṥ1îdê">
              <a:extLst>
                <a:ext uri="{FF2B5EF4-FFF2-40B4-BE49-F238E27FC236}">
                  <a16:creationId xmlns:a16="http://schemas.microsoft.com/office/drawing/2014/main" id="{F8A445C2-2B6B-4FC9-87E6-FB0130055005}"/>
                </a:ext>
              </a:extLst>
            </p:cNvPr>
            <p:cNvSpPr/>
            <p:nvPr/>
          </p:nvSpPr>
          <p:spPr bwMode="auto">
            <a:xfrm>
              <a:off x="7486650" y="3924301"/>
              <a:ext cx="3175" cy="3175"/>
            </a:xfrm>
            <a:custGeom>
              <a:avLst/>
              <a:gdLst>
                <a:gd name="T0" fmla="*/ 3 w 3"/>
                <a:gd name="T1" fmla="*/ 0 h 2"/>
                <a:gd name="T2" fmla="*/ 0 w 3"/>
                <a:gd name="T3" fmla="*/ 0 h 2"/>
                <a:gd name="T4" fmla="*/ 1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0"/>
                    <a:pt x="0" y="0"/>
                  </a:cubicBezTo>
                  <a:cubicBezTo>
                    <a:pt x="1" y="1"/>
                    <a:pt x="1" y="1"/>
                    <a:pt x="1" y="2"/>
                  </a:cubicBezTo>
                  <a:cubicBezTo>
                    <a:pt x="1" y="1"/>
                    <a:pt x="2" y="1"/>
                    <a:pt x="3"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ľîḑè">
              <a:extLst>
                <a:ext uri="{FF2B5EF4-FFF2-40B4-BE49-F238E27FC236}">
                  <a16:creationId xmlns:a16="http://schemas.microsoft.com/office/drawing/2014/main" id="{579B4BC7-E381-4B6D-9D9C-F4ECECA4F5C8}"/>
                </a:ext>
              </a:extLst>
            </p:cNvPr>
            <p:cNvSpPr/>
            <p:nvPr/>
          </p:nvSpPr>
          <p:spPr bwMode="auto">
            <a:xfrm>
              <a:off x="7423150" y="3549651"/>
              <a:ext cx="238125" cy="882650"/>
            </a:xfrm>
            <a:custGeom>
              <a:avLst/>
              <a:gdLst>
                <a:gd name="T0" fmla="*/ 130 w 172"/>
                <a:gd name="T1" fmla="*/ 233 h 635"/>
                <a:gd name="T2" fmla="*/ 116 w 172"/>
                <a:gd name="T3" fmla="*/ 233 h 635"/>
                <a:gd name="T4" fmla="*/ 112 w 172"/>
                <a:gd name="T5" fmla="*/ 251 h 635"/>
                <a:gd name="T6" fmla="*/ 104 w 172"/>
                <a:gd name="T7" fmla="*/ 290 h 635"/>
                <a:gd name="T8" fmla="*/ 92 w 172"/>
                <a:gd name="T9" fmla="*/ 349 h 635"/>
                <a:gd name="T10" fmla="*/ 83 w 172"/>
                <a:gd name="T11" fmla="*/ 410 h 635"/>
                <a:gd name="T12" fmla="*/ 95 w 172"/>
                <a:gd name="T13" fmla="*/ 474 h 635"/>
                <a:gd name="T14" fmla="*/ 103 w 172"/>
                <a:gd name="T15" fmla="*/ 537 h 635"/>
                <a:gd name="T16" fmla="*/ 111 w 172"/>
                <a:gd name="T17" fmla="*/ 603 h 635"/>
                <a:gd name="T18" fmla="*/ 90 w 172"/>
                <a:gd name="T19" fmla="*/ 626 h 635"/>
                <a:gd name="T20" fmla="*/ 2 w 172"/>
                <a:gd name="T21" fmla="*/ 476 h 635"/>
                <a:gd name="T22" fmla="*/ 2 w 172"/>
                <a:gd name="T23" fmla="*/ 371 h 635"/>
                <a:gd name="T24" fmla="*/ 2 w 172"/>
                <a:gd name="T25" fmla="*/ 358 h 635"/>
                <a:gd name="T26" fmla="*/ 52 w 172"/>
                <a:gd name="T27" fmla="*/ 266 h 635"/>
                <a:gd name="T28" fmla="*/ 31 w 172"/>
                <a:gd name="T29" fmla="*/ 114 h 635"/>
                <a:gd name="T30" fmla="*/ 28 w 172"/>
                <a:gd name="T31" fmla="*/ 94 h 635"/>
                <a:gd name="T32" fmla="*/ 25 w 172"/>
                <a:gd name="T33" fmla="*/ 73 h 635"/>
                <a:gd name="T34" fmla="*/ 25 w 172"/>
                <a:gd name="T35" fmla="*/ 68 h 635"/>
                <a:gd name="T36" fmla="*/ 16 w 172"/>
                <a:gd name="T37" fmla="*/ 0 h 635"/>
                <a:gd name="T38" fmla="*/ 79 w 172"/>
                <a:gd name="T39" fmla="*/ 20 h 635"/>
                <a:gd name="T40" fmla="*/ 131 w 172"/>
                <a:gd name="T41" fmla="*/ 38 h 635"/>
                <a:gd name="T42" fmla="*/ 159 w 172"/>
                <a:gd name="T43" fmla="*/ 66 h 635"/>
                <a:gd name="T44" fmla="*/ 160 w 172"/>
                <a:gd name="T45" fmla="*/ 71 h 635"/>
                <a:gd name="T46" fmla="*/ 168 w 172"/>
                <a:gd name="T47" fmla="*/ 107 h 635"/>
                <a:gd name="T48" fmla="*/ 130 w 172"/>
                <a:gd name="T49" fmla="*/ 23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 h="635">
                  <a:moveTo>
                    <a:pt x="130" y="233"/>
                  </a:moveTo>
                  <a:cubicBezTo>
                    <a:pt x="130" y="233"/>
                    <a:pt x="117" y="228"/>
                    <a:pt x="116" y="233"/>
                  </a:cubicBezTo>
                  <a:cubicBezTo>
                    <a:pt x="115" y="239"/>
                    <a:pt x="112" y="251"/>
                    <a:pt x="112" y="251"/>
                  </a:cubicBezTo>
                  <a:cubicBezTo>
                    <a:pt x="112" y="251"/>
                    <a:pt x="115" y="279"/>
                    <a:pt x="104" y="290"/>
                  </a:cubicBezTo>
                  <a:cubicBezTo>
                    <a:pt x="94" y="301"/>
                    <a:pt x="92" y="349"/>
                    <a:pt x="92" y="349"/>
                  </a:cubicBezTo>
                  <a:cubicBezTo>
                    <a:pt x="92" y="349"/>
                    <a:pt x="76" y="396"/>
                    <a:pt x="83" y="410"/>
                  </a:cubicBezTo>
                  <a:cubicBezTo>
                    <a:pt x="86" y="416"/>
                    <a:pt x="91" y="442"/>
                    <a:pt x="95" y="474"/>
                  </a:cubicBezTo>
                  <a:cubicBezTo>
                    <a:pt x="98" y="494"/>
                    <a:pt x="101" y="516"/>
                    <a:pt x="103" y="537"/>
                  </a:cubicBezTo>
                  <a:cubicBezTo>
                    <a:pt x="108" y="573"/>
                    <a:pt x="111" y="603"/>
                    <a:pt x="111" y="603"/>
                  </a:cubicBezTo>
                  <a:cubicBezTo>
                    <a:pt x="111" y="603"/>
                    <a:pt x="102" y="635"/>
                    <a:pt x="90" y="626"/>
                  </a:cubicBezTo>
                  <a:cubicBezTo>
                    <a:pt x="78" y="616"/>
                    <a:pt x="6" y="542"/>
                    <a:pt x="2" y="476"/>
                  </a:cubicBezTo>
                  <a:cubicBezTo>
                    <a:pt x="0" y="430"/>
                    <a:pt x="1" y="390"/>
                    <a:pt x="2" y="371"/>
                  </a:cubicBezTo>
                  <a:cubicBezTo>
                    <a:pt x="2" y="362"/>
                    <a:pt x="2" y="358"/>
                    <a:pt x="2" y="358"/>
                  </a:cubicBezTo>
                  <a:cubicBezTo>
                    <a:pt x="2" y="358"/>
                    <a:pt x="58" y="290"/>
                    <a:pt x="52" y="266"/>
                  </a:cubicBezTo>
                  <a:cubicBezTo>
                    <a:pt x="45" y="242"/>
                    <a:pt x="31" y="114"/>
                    <a:pt x="31" y="114"/>
                  </a:cubicBezTo>
                  <a:cubicBezTo>
                    <a:pt x="28" y="94"/>
                    <a:pt x="28" y="94"/>
                    <a:pt x="28" y="94"/>
                  </a:cubicBezTo>
                  <a:cubicBezTo>
                    <a:pt x="25" y="73"/>
                    <a:pt x="25" y="73"/>
                    <a:pt x="25" y="73"/>
                  </a:cubicBezTo>
                  <a:cubicBezTo>
                    <a:pt x="25" y="68"/>
                    <a:pt x="25" y="68"/>
                    <a:pt x="25" y="68"/>
                  </a:cubicBezTo>
                  <a:cubicBezTo>
                    <a:pt x="16" y="0"/>
                    <a:pt x="16" y="0"/>
                    <a:pt x="16" y="0"/>
                  </a:cubicBezTo>
                  <a:cubicBezTo>
                    <a:pt x="17" y="1"/>
                    <a:pt x="72" y="13"/>
                    <a:pt x="79" y="20"/>
                  </a:cubicBezTo>
                  <a:cubicBezTo>
                    <a:pt x="87" y="28"/>
                    <a:pt x="131" y="38"/>
                    <a:pt x="131" y="38"/>
                  </a:cubicBezTo>
                  <a:cubicBezTo>
                    <a:pt x="145" y="42"/>
                    <a:pt x="156" y="53"/>
                    <a:pt x="159" y="66"/>
                  </a:cubicBezTo>
                  <a:cubicBezTo>
                    <a:pt x="160" y="68"/>
                    <a:pt x="160" y="69"/>
                    <a:pt x="160" y="71"/>
                  </a:cubicBezTo>
                  <a:cubicBezTo>
                    <a:pt x="166" y="99"/>
                    <a:pt x="164" y="103"/>
                    <a:pt x="168" y="107"/>
                  </a:cubicBezTo>
                  <a:cubicBezTo>
                    <a:pt x="172" y="112"/>
                    <a:pt x="130" y="233"/>
                    <a:pt x="130" y="233"/>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íşlïḑè">
              <a:extLst>
                <a:ext uri="{FF2B5EF4-FFF2-40B4-BE49-F238E27FC236}">
                  <a16:creationId xmlns:a16="http://schemas.microsoft.com/office/drawing/2014/main" id="{FE042134-6901-4016-B949-5DFBD08652C9}"/>
                </a:ext>
              </a:extLst>
            </p:cNvPr>
            <p:cNvSpPr/>
            <p:nvPr/>
          </p:nvSpPr>
          <p:spPr bwMode="auto">
            <a:xfrm>
              <a:off x="7566025" y="4291013"/>
              <a:ext cx="0" cy="3175"/>
            </a:xfrm>
            <a:custGeom>
              <a:avLst/>
              <a:gdLst>
                <a:gd name="T0" fmla="*/ 0 h 3"/>
                <a:gd name="T1" fmla="*/ 3 h 3"/>
                <a:gd name="T2" fmla="*/ 3 h 3"/>
                <a:gd name="T3" fmla="*/ 0 h 3"/>
                <a:gd name="T4" fmla="*/ 0 h 3"/>
              </a:gdLst>
              <a:ahLst/>
              <a:cxnLst>
                <a:cxn ang="0">
                  <a:pos x="0" y="T0"/>
                </a:cxn>
                <a:cxn ang="0">
                  <a:pos x="0" y="T1"/>
                </a:cxn>
                <a:cxn ang="0">
                  <a:pos x="0" y="T2"/>
                </a:cxn>
                <a:cxn ang="0">
                  <a:pos x="0" y="T3"/>
                </a:cxn>
                <a:cxn ang="0">
                  <a:pos x="0" y="T4"/>
                </a:cxn>
              </a:cxnLst>
              <a:rect l="0" t="0" r="r" b="b"/>
              <a:pathLst>
                <a:path h="3">
                  <a:moveTo>
                    <a:pt x="0" y="0"/>
                  </a:moveTo>
                  <a:cubicBezTo>
                    <a:pt x="0" y="1"/>
                    <a:pt x="0" y="2"/>
                    <a:pt x="0" y="3"/>
                  </a:cubicBezTo>
                  <a:cubicBezTo>
                    <a:pt x="0" y="3"/>
                    <a:pt x="0" y="3"/>
                    <a:pt x="0" y="3"/>
                  </a:cubicBezTo>
                  <a:cubicBezTo>
                    <a:pt x="0" y="2"/>
                    <a:pt x="0" y="1"/>
                    <a:pt x="0" y="0"/>
                  </a:cubicBezTo>
                  <a:cubicBezTo>
                    <a:pt x="0" y="0"/>
                    <a:pt x="0" y="0"/>
                    <a:pt x="0"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íṧ1îďe">
              <a:extLst>
                <a:ext uri="{FF2B5EF4-FFF2-40B4-BE49-F238E27FC236}">
                  <a16:creationId xmlns:a16="http://schemas.microsoft.com/office/drawing/2014/main" id="{3FF8BB03-81C9-40F5-B04E-95B00AF7E1D6}"/>
                </a:ext>
              </a:extLst>
            </p:cNvPr>
            <p:cNvSpPr/>
            <p:nvPr/>
          </p:nvSpPr>
          <p:spPr bwMode="auto">
            <a:xfrm>
              <a:off x="7497763" y="4225926"/>
              <a:ext cx="68263" cy="68263"/>
            </a:xfrm>
            <a:custGeom>
              <a:avLst/>
              <a:gdLst>
                <a:gd name="T0" fmla="*/ 8 w 49"/>
                <a:gd name="T1" fmla="*/ 0 h 49"/>
                <a:gd name="T2" fmla="*/ 0 w 49"/>
                <a:gd name="T3" fmla="*/ 16 h 49"/>
                <a:gd name="T4" fmla="*/ 49 w 49"/>
                <a:gd name="T5" fmla="*/ 49 h 49"/>
                <a:gd name="T6" fmla="*/ 49 w 49"/>
                <a:gd name="T7" fmla="*/ 46 h 49"/>
                <a:gd name="T8" fmla="*/ 3 w 49"/>
                <a:gd name="T9" fmla="*/ 13 h 49"/>
                <a:gd name="T10" fmla="*/ 8 w 49"/>
                <a:gd name="T11" fmla="*/ 0 h 49"/>
              </a:gdLst>
              <a:ahLst/>
              <a:cxnLst>
                <a:cxn ang="0">
                  <a:pos x="T0" y="T1"/>
                </a:cxn>
                <a:cxn ang="0">
                  <a:pos x="T2" y="T3"/>
                </a:cxn>
                <a:cxn ang="0">
                  <a:pos x="T4" y="T5"/>
                </a:cxn>
                <a:cxn ang="0">
                  <a:pos x="T6" y="T7"/>
                </a:cxn>
                <a:cxn ang="0">
                  <a:pos x="T8" y="T9"/>
                </a:cxn>
                <a:cxn ang="0">
                  <a:pos x="T10" y="T11"/>
                </a:cxn>
              </a:cxnLst>
              <a:rect l="0" t="0" r="r" b="b"/>
              <a:pathLst>
                <a:path w="49" h="49">
                  <a:moveTo>
                    <a:pt x="8" y="0"/>
                  </a:moveTo>
                  <a:cubicBezTo>
                    <a:pt x="4" y="4"/>
                    <a:pt x="1" y="9"/>
                    <a:pt x="0" y="16"/>
                  </a:cubicBezTo>
                  <a:cubicBezTo>
                    <a:pt x="0" y="36"/>
                    <a:pt x="29" y="45"/>
                    <a:pt x="49" y="49"/>
                  </a:cubicBezTo>
                  <a:cubicBezTo>
                    <a:pt x="49" y="48"/>
                    <a:pt x="49" y="47"/>
                    <a:pt x="49" y="46"/>
                  </a:cubicBezTo>
                  <a:cubicBezTo>
                    <a:pt x="29" y="41"/>
                    <a:pt x="3" y="32"/>
                    <a:pt x="3" y="13"/>
                  </a:cubicBezTo>
                  <a:cubicBezTo>
                    <a:pt x="3" y="8"/>
                    <a:pt x="5" y="3"/>
                    <a:pt x="8"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iŝļîḍè">
              <a:extLst>
                <a:ext uri="{FF2B5EF4-FFF2-40B4-BE49-F238E27FC236}">
                  <a16:creationId xmlns:a16="http://schemas.microsoft.com/office/drawing/2014/main" id="{79F4E482-4089-4F9A-8073-FC8F3891D271}"/>
                </a:ext>
              </a:extLst>
            </p:cNvPr>
            <p:cNvSpPr/>
            <p:nvPr/>
          </p:nvSpPr>
          <p:spPr bwMode="auto">
            <a:xfrm>
              <a:off x="7500938" y="4203701"/>
              <a:ext cx="155575" cy="90488"/>
            </a:xfrm>
            <a:custGeom>
              <a:avLst/>
              <a:gdLst>
                <a:gd name="T0" fmla="*/ 109 w 112"/>
                <a:gd name="T1" fmla="*/ 56 h 66"/>
                <a:gd name="T2" fmla="*/ 101 w 112"/>
                <a:gd name="T3" fmla="*/ 61 h 66"/>
                <a:gd name="T4" fmla="*/ 68 w 112"/>
                <a:gd name="T5" fmla="*/ 66 h 66"/>
                <a:gd name="T6" fmla="*/ 1 w 112"/>
                <a:gd name="T7" fmla="*/ 30 h 66"/>
                <a:gd name="T8" fmla="*/ 50 w 112"/>
                <a:gd name="T9" fmla="*/ 1 h 66"/>
                <a:gd name="T10" fmla="*/ 61 w 112"/>
                <a:gd name="T11" fmla="*/ 0 h 66"/>
                <a:gd name="T12" fmla="*/ 109 w 112"/>
                <a:gd name="T13" fmla="*/ 56 h 66"/>
              </a:gdLst>
              <a:ahLst/>
              <a:cxnLst>
                <a:cxn ang="0">
                  <a:pos x="T0" y="T1"/>
                </a:cxn>
                <a:cxn ang="0">
                  <a:pos x="T2" y="T3"/>
                </a:cxn>
                <a:cxn ang="0">
                  <a:pos x="T4" y="T5"/>
                </a:cxn>
                <a:cxn ang="0">
                  <a:pos x="T6" y="T7"/>
                </a:cxn>
                <a:cxn ang="0">
                  <a:pos x="T8" y="T9"/>
                </a:cxn>
                <a:cxn ang="0">
                  <a:pos x="T10" y="T11"/>
                </a:cxn>
                <a:cxn ang="0">
                  <a:pos x="T12" y="T13"/>
                </a:cxn>
              </a:cxnLst>
              <a:rect l="0" t="0" r="r" b="b"/>
              <a:pathLst>
                <a:path w="112" h="66">
                  <a:moveTo>
                    <a:pt x="109" y="56"/>
                  </a:moveTo>
                  <a:cubicBezTo>
                    <a:pt x="109" y="58"/>
                    <a:pt x="105" y="60"/>
                    <a:pt x="101" y="61"/>
                  </a:cubicBezTo>
                  <a:cubicBezTo>
                    <a:pt x="90" y="63"/>
                    <a:pt x="79" y="65"/>
                    <a:pt x="68" y="66"/>
                  </a:cubicBezTo>
                  <a:cubicBezTo>
                    <a:pt x="68" y="66"/>
                    <a:pt x="0" y="61"/>
                    <a:pt x="1" y="30"/>
                  </a:cubicBezTo>
                  <a:cubicBezTo>
                    <a:pt x="2" y="8"/>
                    <a:pt x="33" y="2"/>
                    <a:pt x="50" y="1"/>
                  </a:cubicBezTo>
                  <a:cubicBezTo>
                    <a:pt x="54" y="0"/>
                    <a:pt x="58" y="0"/>
                    <a:pt x="61" y="0"/>
                  </a:cubicBezTo>
                  <a:cubicBezTo>
                    <a:pt x="61" y="0"/>
                    <a:pt x="112" y="50"/>
                    <a:pt x="109" y="56"/>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ľîḑé">
              <a:extLst>
                <a:ext uri="{FF2B5EF4-FFF2-40B4-BE49-F238E27FC236}">
                  <a16:creationId xmlns:a16="http://schemas.microsoft.com/office/drawing/2014/main" id="{A8B98C3C-B91A-45CD-92C1-FA215DF8D879}"/>
                </a:ext>
              </a:extLst>
            </p:cNvPr>
            <p:cNvSpPr/>
            <p:nvPr/>
          </p:nvSpPr>
          <p:spPr bwMode="auto">
            <a:xfrm>
              <a:off x="7564438" y="4203701"/>
              <a:ext cx="82550" cy="84138"/>
            </a:xfrm>
            <a:custGeom>
              <a:avLst/>
              <a:gdLst>
                <a:gd name="T0" fmla="*/ 3 w 59"/>
                <a:gd name="T1" fmla="*/ 0 h 60"/>
                <a:gd name="T2" fmla="*/ 0 w 59"/>
                <a:gd name="T3" fmla="*/ 3 h 60"/>
                <a:gd name="T4" fmla="*/ 55 w 59"/>
                <a:gd name="T5" fmla="*/ 60 h 60"/>
                <a:gd name="T6" fmla="*/ 59 w 59"/>
                <a:gd name="T7" fmla="*/ 58 h 60"/>
                <a:gd name="T8" fmla="*/ 3 w 59"/>
                <a:gd name="T9" fmla="*/ 0 h 60"/>
              </a:gdLst>
              <a:ahLst/>
              <a:cxnLst>
                <a:cxn ang="0">
                  <a:pos x="T0" y="T1"/>
                </a:cxn>
                <a:cxn ang="0">
                  <a:pos x="T2" y="T3"/>
                </a:cxn>
                <a:cxn ang="0">
                  <a:pos x="T4" y="T5"/>
                </a:cxn>
                <a:cxn ang="0">
                  <a:pos x="T6" y="T7"/>
                </a:cxn>
                <a:cxn ang="0">
                  <a:pos x="T8" y="T9"/>
                </a:cxn>
              </a:cxnLst>
              <a:rect l="0" t="0" r="r" b="b"/>
              <a:pathLst>
                <a:path w="59" h="60">
                  <a:moveTo>
                    <a:pt x="3" y="0"/>
                  </a:moveTo>
                  <a:cubicBezTo>
                    <a:pt x="0" y="3"/>
                    <a:pt x="0" y="3"/>
                    <a:pt x="0" y="3"/>
                  </a:cubicBezTo>
                  <a:cubicBezTo>
                    <a:pt x="12" y="6"/>
                    <a:pt x="37" y="36"/>
                    <a:pt x="55" y="60"/>
                  </a:cubicBezTo>
                  <a:cubicBezTo>
                    <a:pt x="56" y="59"/>
                    <a:pt x="58" y="59"/>
                    <a:pt x="59" y="58"/>
                  </a:cubicBezTo>
                  <a:cubicBezTo>
                    <a:pt x="41" y="35"/>
                    <a:pt x="16" y="3"/>
                    <a:pt x="3"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ïṣļidè">
              <a:extLst>
                <a:ext uri="{FF2B5EF4-FFF2-40B4-BE49-F238E27FC236}">
                  <a16:creationId xmlns:a16="http://schemas.microsoft.com/office/drawing/2014/main" id="{BAA7724A-C1CF-44AB-BF8A-9C60460FB257}"/>
                </a:ext>
              </a:extLst>
            </p:cNvPr>
            <p:cNvSpPr/>
            <p:nvPr/>
          </p:nvSpPr>
          <p:spPr bwMode="auto">
            <a:xfrm>
              <a:off x="7569200" y="3694113"/>
              <a:ext cx="258763" cy="628650"/>
            </a:xfrm>
            <a:custGeom>
              <a:avLst/>
              <a:gdLst>
                <a:gd name="T0" fmla="*/ 43 w 186"/>
                <a:gd name="T1" fmla="*/ 0 h 452"/>
                <a:gd name="T2" fmla="*/ 63 w 186"/>
                <a:gd name="T3" fmla="*/ 3 h 452"/>
                <a:gd name="T4" fmla="*/ 87 w 186"/>
                <a:gd name="T5" fmla="*/ 40 h 452"/>
                <a:gd name="T6" fmla="*/ 96 w 186"/>
                <a:gd name="T7" fmla="*/ 63 h 452"/>
                <a:gd name="T8" fmla="*/ 135 w 186"/>
                <a:gd name="T9" fmla="*/ 112 h 452"/>
                <a:gd name="T10" fmla="*/ 158 w 186"/>
                <a:gd name="T11" fmla="*/ 150 h 452"/>
                <a:gd name="T12" fmla="*/ 181 w 186"/>
                <a:gd name="T13" fmla="*/ 182 h 452"/>
                <a:gd name="T14" fmla="*/ 186 w 186"/>
                <a:gd name="T15" fmla="*/ 225 h 452"/>
                <a:gd name="T16" fmla="*/ 172 w 186"/>
                <a:gd name="T17" fmla="*/ 273 h 452"/>
                <a:gd name="T18" fmla="*/ 153 w 186"/>
                <a:gd name="T19" fmla="*/ 327 h 452"/>
                <a:gd name="T20" fmla="*/ 118 w 186"/>
                <a:gd name="T21" fmla="*/ 374 h 452"/>
                <a:gd name="T22" fmla="*/ 101 w 186"/>
                <a:gd name="T23" fmla="*/ 403 h 452"/>
                <a:gd name="T24" fmla="*/ 75 w 186"/>
                <a:gd name="T25" fmla="*/ 452 h 452"/>
                <a:gd name="T26" fmla="*/ 0 w 186"/>
                <a:gd name="T27" fmla="*/ 367 h 452"/>
                <a:gd name="T28" fmla="*/ 34 w 186"/>
                <a:gd name="T29" fmla="*/ 342 h 452"/>
                <a:gd name="T30" fmla="*/ 57 w 186"/>
                <a:gd name="T31" fmla="*/ 298 h 452"/>
                <a:gd name="T32" fmla="*/ 77 w 186"/>
                <a:gd name="T33" fmla="*/ 262 h 452"/>
                <a:gd name="T34" fmla="*/ 88 w 186"/>
                <a:gd name="T35" fmla="*/ 246 h 452"/>
                <a:gd name="T36" fmla="*/ 88 w 186"/>
                <a:gd name="T37" fmla="*/ 226 h 452"/>
                <a:gd name="T38" fmla="*/ 56 w 186"/>
                <a:gd name="T39" fmla="*/ 166 h 452"/>
                <a:gd name="T40" fmla="*/ 25 w 186"/>
                <a:gd name="T41" fmla="*/ 130 h 452"/>
                <a:gd name="T42" fmla="*/ 10 w 186"/>
                <a:gd name="T43" fmla="*/ 93 h 452"/>
                <a:gd name="T44" fmla="*/ 43 w 186"/>
                <a:gd name="T45"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6" h="452">
                  <a:moveTo>
                    <a:pt x="43" y="0"/>
                  </a:moveTo>
                  <a:cubicBezTo>
                    <a:pt x="63" y="3"/>
                    <a:pt x="63" y="3"/>
                    <a:pt x="63" y="3"/>
                  </a:cubicBezTo>
                  <a:cubicBezTo>
                    <a:pt x="71" y="16"/>
                    <a:pt x="79" y="28"/>
                    <a:pt x="87" y="40"/>
                  </a:cubicBezTo>
                  <a:cubicBezTo>
                    <a:pt x="93" y="47"/>
                    <a:pt x="96" y="55"/>
                    <a:pt x="96" y="63"/>
                  </a:cubicBezTo>
                  <a:cubicBezTo>
                    <a:pt x="96" y="63"/>
                    <a:pt x="125" y="107"/>
                    <a:pt x="135" y="112"/>
                  </a:cubicBezTo>
                  <a:cubicBezTo>
                    <a:pt x="144" y="117"/>
                    <a:pt x="158" y="150"/>
                    <a:pt x="158" y="150"/>
                  </a:cubicBezTo>
                  <a:cubicBezTo>
                    <a:pt x="158" y="150"/>
                    <a:pt x="181" y="165"/>
                    <a:pt x="181" y="182"/>
                  </a:cubicBezTo>
                  <a:cubicBezTo>
                    <a:pt x="182" y="196"/>
                    <a:pt x="183" y="211"/>
                    <a:pt x="186" y="225"/>
                  </a:cubicBezTo>
                  <a:cubicBezTo>
                    <a:pt x="186" y="227"/>
                    <a:pt x="182" y="258"/>
                    <a:pt x="172" y="273"/>
                  </a:cubicBezTo>
                  <a:cubicBezTo>
                    <a:pt x="163" y="288"/>
                    <a:pt x="153" y="321"/>
                    <a:pt x="153" y="327"/>
                  </a:cubicBezTo>
                  <a:cubicBezTo>
                    <a:pt x="154" y="333"/>
                    <a:pt x="126" y="365"/>
                    <a:pt x="118" y="374"/>
                  </a:cubicBezTo>
                  <a:cubicBezTo>
                    <a:pt x="112" y="384"/>
                    <a:pt x="106" y="393"/>
                    <a:pt x="101" y="403"/>
                  </a:cubicBezTo>
                  <a:cubicBezTo>
                    <a:pt x="75" y="452"/>
                    <a:pt x="75" y="452"/>
                    <a:pt x="75" y="452"/>
                  </a:cubicBezTo>
                  <a:cubicBezTo>
                    <a:pt x="75" y="452"/>
                    <a:pt x="20" y="371"/>
                    <a:pt x="0" y="367"/>
                  </a:cubicBezTo>
                  <a:cubicBezTo>
                    <a:pt x="0" y="367"/>
                    <a:pt x="23" y="346"/>
                    <a:pt x="34" y="342"/>
                  </a:cubicBezTo>
                  <a:cubicBezTo>
                    <a:pt x="45" y="338"/>
                    <a:pt x="56" y="306"/>
                    <a:pt x="57" y="298"/>
                  </a:cubicBezTo>
                  <a:cubicBezTo>
                    <a:pt x="57" y="291"/>
                    <a:pt x="67" y="266"/>
                    <a:pt x="77" y="262"/>
                  </a:cubicBezTo>
                  <a:cubicBezTo>
                    <a:pt x="87" y="258"/>
                    <a:pt x="93" y="253"/>
                    <a:pt x="88" y="246"/>
                  </a:cubicBezTo>
                  <a:cubicBezTo>
                    <a:pt x="84" y="240"/>
                    <a:pt x="88" y="226"/>
                    <a:pt x="88" y="226"/>
                  </a:cubicBezTo>
                  <a:cubicBezTo>
                    <a:pt x="88" y="226"/>
                    <a:pt x="59" y="188"/>
                    <a:pt x="56" y="166"/>
                  </a:cubicBezTo>
                  <a:cubicBezTo>
                    <a:pt x="52" y="145"/>
                    <a:pt x="25" y="130"/>
                    <a:pt x="25" y="130"/>
                  </a:cubicBezTo>
                  <a:cubicBezTo>
                    <a:pt x="10" y="93"/>
                    <a:pt x="10" y="93"/>
                    <a:pt x="10" y="93"/>
                  </a:cubicBezTo>
                  <a:cubicBezTo>
                    <a:pt x="43" y="0"/>
                    <a:pt x="43" y="0"/>
                    <a:pt x="43" y="0"/>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ïṣliḑe">
              <a:extLst>
                <a:ext uri="{FF2B5EF4-FFF2-40B4-BE49-F238E27FC236}">
                  <a16:creationId xmlns:a16="http://schemas.microsoft.com/office/drawing/2014/main" id="{D5B1781A-7FDC-4123-A4B1-860DDCFF3514}"/>
                </a:ext>
              </a:extLst>
            </p:cNvPr>
            <p:cNvSpPr/>
            <p:nvPr/>
          </p:nvSpPr>
          <p:spPr bwMode="auto">
            <a:xfrm>
              <a:off x="7699375" y="3927476"/>
              <a:ext cx="85725" cy="60325"/>
            </a:xfrm>
            <a:custGeom>
              <a:avLst/>
              <a:gdLst>
                <a:gd name="T0" fmla="*/ 62 w 62"/>
                <a:gd name="T1" fmla="*/ 0 h 43"/>
                <a:gd name="T2" fmla="*/ 22 w 62"/>
                <a:gd name="T3" fmla="*/ 15 h 43"/>
                <a:gd name="T4" fmla="*/ 5 w 62"/>
                <a:gd name="T5" fmla="*/ 43 h 43"/>
                <a:gd name="T6" fmla="*/ 5 w 62"/>
                <a:gd name="T7" fmla="*/ 43 h 43"/>
                <a:gd name="T8" fmla="*/ 29 w 62"/>
                <a:gd name="T9" fmla="*/ 19 h 43"/>
                <a:gd name="T10" fmla="*/ 36 w 62"/>
                <a:gd name="T11" fmla="*/ 10 h 43"/>
                <a:gd name="T12" fmla="*/ 62 w 6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2" h="43">
                  <a:moveTo>
                    <a:pt x="62" y="0"/>
                  </a:moveTo>
                  <a:cubicBezTo>
                    <a:pt x="47" y="0"/>
                    <a:pt x="33" y="5"/>
                    <a:pt x="22" y="15"/>
                  </a:cubicBezTo>
                  <a:cubicBezTo>
                    <a:pt x="18" y="18"/>
                    <a:pt x="0" y="37"/>
                    <a:pt x="5" y="43"/>
                  </a:cubicBezTo>
                  <a:cubicBezTo>
                    <a:pt x="5" y="43"/>
                    <a:pt x="5" y="43"/>
                    <a:pt x="5" y="43"/>
                  </a:cubicBezTo>
                  <a:cubicBezTo>
                    <a:pt x="10" y="43"/>
                    <a:pt x="26" y="22"/>
                    <a:pt x="29" y="19"/>
                  </a:cubicBezTo>
                  <a:cubicBezTo>
                    <a:pt x="31" y="16"/>
                    <a:pt x="33" y="13"/>
                    <a:pt x="36" y="10"/>
                  </a:cubicBezTo>
                  <a:cubicBezTo>
                    <a:pt x="43" y="3"/>
                    <a:pt x="52" y="1"/>
                    <a:pt x="62"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î$ḷídê">
              <a:extLst>
                <a:ext uri="{FF2B5EF4-FFF2-40B4-BE49-F238E27FC236}">
                  <a16:creationId xmlns:a16="http://schemas.microsoft.com/office/drawing/2014/main" id="{18CA7AEF-6E90-40DF-B0E9-0A411FACDB4E}"/>
                </a:ext>
              </a:extLst>
            </p:cNvPr>
            <p:cNvSpPr/>
            <p:nvPr/>
          </p:nvSpPr>
          <p:spPr bwMode="auto">
            <a:xfrm>
              <a:off x="7669213" y="3808413"/>
              <a:ext cx="34925" cy="107950"/>
            </a:xfrm>
            <a:custGeom>
              <a:avLst/>
              <a:gdLst>
                <a:gd name="T0" fmla="*/ 19 w 26"/>
                <a:gd name="T1" fmla="*/ 0 h 78"/>
                <a:gd name="T2" fmla="*/ 13 w 26"/>
                <a:gd name="T3" fmla="*/ 18 h 78"/>
                <a:gd name="T4" fmla="*/ 8 w 26"/>
                <a:gd name="T5" fmla="*/ 38 h 78"/>
                <a:gd name="T6" fmla="*/ 0 w 26"/>
                <a:gd name="T7" fmla="*/ 78 h 78"/>
                <a:gd name="T8" fmla="*/ 14 w 26"/>
                <a:gd name="T9" fmla="*/ 68 h 78"/>
                <a:gd name="T10" fmla="*/ 18 w 26"/>
                <a:gd name="T11" fmla="*/ 50 h 78"/>
                <a:gd name="T12" fmla="*/ 24 w 26"/>
                <a:gd name="T13" fmla="*/ 21 h 78"/>
                <a:gd name="T14" fmla="*/ 23 w 26"/>
                <a:gd name="T15" fmla="*/ 9 h 78"/>
                <a:gd name="T16" fmla="*/ 19 w 26"/>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8">
                  <a:moveTo>
                    <a:pt x="19" y="0"/>
                  </a:moveTo>
                  <a:cubicBezTo>
                    <a:pt x="15" y="4"/>
                    <a:pt x="14" y="13"/>
                    <a:pt x="13" y="18"/>
                  </a:cubicBezTo>
                  <a:cubicBezTo>
                    <a:pt x="11" y="25"/>
                    <a:pt x="9" y="32"/>
                    <a:pt x="8" y="38"/>
                  </a:cubicBezTo>
                  <a:cubicBezTo>
                    <a:pt x="7" y="42"/>
                    <a:pt x="0" y="78"/>
                    <a:pt x="0" y="78"/>
                  </a:cubicBezTo>
                  <a:cubicBezTo>
                    <a:pt x="6" y="77"/>
                    <a:pt x="11" y="73"/>
                    <a:pt x="14" y="68"/>
                  </a:cubicBezTo>
                  <a:cubicBezTo>
                    <a:pt x="16" y="62"/>
                    <a:pt x="18" y="56"/>
                    <a:pt x="18" y="50"/>
                  </a:cubicBezTo>
                  <a:cubicBezTo>
                    <a:pt x="20" y="40"/>
                    <a:pt x="22" y="30"/>
                    <a:pt x="24" y="21"/>
                  </a:cubicBezTo>
                  <a:cubicBezTo>
                    <a:pt x="26" y="17"/>
                    <a:pt x="25" y="12"/>
                    <a:pt x="23" y="9"/>
                  </a:cubicBezTo>
                  <a:cubicBezTo>
                    <a:pt x="22" y="6"/>
                    <a:pt x="21" y="3"/>
                    <a:pt x="19"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iṩļïḑè">
              <a:extLst>
                <a:ext uri="{FF2B5EF4-FFF2-40B4-BE49-F238E27FC236}">
                  <a16:creationId xmlns:a16="http://schemas.microsoft.com/office/drawing/2014/main" id="{DA016FB3-A426-4096-AF9A-CB6DD1C863ED}"/>
                </a:ext>
              </a:extLst>
            </p:cNvPr>
            <p:cNvSpPr/>
            <p:nvPr/>
          </p:nvSpPr>
          <p:spPr bwMode="auto">
            <a:xfrm>
              <a:off x="7242175" y="3238501"/>
              <a:ext cx="6350" cy="7938"/>
            </a:xfrm>
            <a:custGeom>
              <a:avLst/>
              <a:gdLst>
                <a:gd name="T0" fmla="*/ 5 w 5"/>
                <a:gd name="T1" fmla="*/ 0 h 5"/>
                <a:gd name="T2" fmla="*/ 0 w 5"/>
                <a:gd name="T3" fmla="*/ 5 h 5"/>
                <a:gd name="T4" fmla="*/ 1 w 5"/>
                <a:gd name="T5" fmla="*/ 5 h 5"/>
                <a:gd name="T6" fmla="*/ 5 w 5"/>
                <a:gd name="T7" fmla="*/ 0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3" y="1"/>
                    <a:pt x="2" y="3"/>
                    <a:pt x="0" y="5"/>
                  </a:cubicBezTo>
                  <a:cubicBezTo>
                    <a:pt x="1" y="5"/>
                    <a:pt x="1" y="5"/>
                    <a:pt x="1" y="5"/>
                  </a:cubicBezTo>
                  <a:cubicBezTo>
                    <a:pt x="2" y="3"/>
                    <a:pt x="4" y="2"/>
                    <a:pt x="5" y="0"/>
                  </a:cubicBezTo>
                  <a:cubicBezTo>
                    <a:pt x="5" y="0"/>
                    <a:pt x="5" y="0"/>
                    <a:pt x="5"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ḷïdè">
              <a:extLst>
                <a:ext uri="{FF2B5EF4-FFF2-40B4-BE49-F238E27FC236}">
                  <a16:creationId xmlns:a16="http://schemas.microsoft.com/office/drawing/2014/main" id="{E253DE29-C1EC-4C8F-857C-B8CD8F1A2846}"/>
                </a:ext>
              </a:extLst>
            </p:cNvPr>
            <p:cNvSpPr/>
            <p:nvPr/>
          </p:nvSpPr>
          <p:spPr bwMode="auto">
            <a:xfrm>
              <a:off x="7369175" y="3489326"/>
              <a:ext cx="79375" cy="155575"/>
            </a:xfrm>
            <a:custGeom>
              <a:avLst/>
              <a:gdLst>
                <a:gd name="T0" fmla="*/ 8 w 57"/>
                <a:gd name="T1" fmla="*/ 0 h 112"/>
                <a:gd name="T2" fmla="*/ 0 w 57"/>
                <a:gd name="T3" fmla="*/ 1 h 112"/>
                <a:gd name="T4" fmla="*/ 0 w 57"/>
                <a:gd name="T5" fmla="*/ 1 h 112"/>
                <a:gd name="T6" fmla="*/ 15 w 57"/>
                <a:gd name="T7" fmla="*/ 15 h 112"/>
                <a:gd name="T8" fmla="*/ 36 w 57"/>
                <a:gd name="T9" fmla="*/ 61 h 112"/>
                <a:gd name="T10" fmla="*/ 32 w 57"/>
                <a:gd name="T11" fmla="*/ 79 h 112"/>
                <a:gd name="T12" fmla="*/ 45 w 57"/>
                <a:gd name="T13" fmla="*/ 105 h 112"/>
                <a:gd name="T14" fmla="*/ 54 w 57"/>
                <a:gd name="T15" fmla="*/ 112 h 112"/>
                <a:gd name="T16" fmla="*/ 57 w 57"/>
                <a:gd name="T17" fmla="*/ 110 h 112"/>
                <a:gd name="T18" fmla="*/ 56 w 57"/>
                <a:gd name="T19" fmla="*/ 106 h 112"/>
                <a:gd name="T20" fmla="*/ 48 w 57"/>
                <a:gd name="T21" fmla="*/ 99 h 112"/>
                <a:gd name="T22" fmla="*/ 35 w 57"/>
                <a:gd name="T23" fmla="*/ 73 h 112"/>
                <a:gd name="T24" fmla="*/ 36 w 57"/>
                <a:gd name="T25" fmla="*/ 66 h 112"/>
                <a:gd name="T26" fmla="*/ 39 w 57"/>
                <a:gd name="T27" fmla="*/ 55 h 112"/>
                <a:gd name="T28" fmla="*/ 39 w 57"/>
                <a:gd name="T29" fmla="*/ 54 h 112"/>
                <a:gd name="T30" fmla="*/ 18 w 57"/>
                <a:gd name="T31" fmla="*/ 9 h 112"/>
                <a:gd name="T32" fmla="*/ 8 w 57"/>
                <a:gd name="T3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112">
                  <a:moveTo>
                    <a:pt x="8" y="0"/>
                  </a:moveTo>
                  <a:cubicBezTo>
                    <a:pt x="5" y="0"/>
                    <a:pt x="3" y="0"/>
                    <a:pt x="0" y="1"/>
                  </a:cubicBezTo>
                  <a:cubicBezTo>
                    <a:pt x="0" y="1"/>
                    <a:pt x="0" y="1"/>
                    <a:pt x="0" y="1"/>
                  </a:cubicBezTo>
                  <a:cubicBezTo>
                    <a:pt x="5" y="6"/>
                    <a:pt x="10" y="10"/>
                    <a:pt x="15" y="15"/>
                  </a:cubicBezTo>
                  <a:cubicBezTo>
                    <a:pt x="28" y="28"/>
                    <a:pt x="39" y="44"/>
                    <a:pt x="36" y="61"/>
                  </a:cubicBezTo>
                  <a:cubicBezTo>
                    <a:pt x="35" y="67"/>
                    <a:pt x="32" y="73"/>
                    <a:pt x="32" y="79"/>
                  </a:cubicBezTo>
                  <a:cubicBezTo>
                    <a:pt x="31" y="89"/>
                    <a:pt x="38" y="98"/>
                    <a:pt x="45" y="105"/>
                  </a:cubicBezTo>
                  <a:cubicBezTo>
                    <a:pt x="48" y="108"/>
                    <a:pt x="51" y="110"/>
                    <a:pt x="54" y="112"/>
                  </a:cubicBezTo>
                  <a:cubicBezTo>
                    <a:pt x="55" y="111"/>
                    <a:pt x="56" y="111"/>
                    <a:pt x="57" y="110"/>
                  </a:cubicBezTo>
                  <a:cubicBezTo>
                    <a:pt x="56" y="106"/>
                    <a:pt x="56" y="106"/>
                    <a:pt x="56" y="106"/>
                  </a:cubicBezTo>
                  <a:cubicBezTo>
                    <a:pt x="53" y="104"/>
                    <a:pt x="50" y="102"/>
                    <a:pt x="48" y="99"/>
                  </a:cubicBezTo>
                  <a:cubicBezTo>
                    <a:pt x="40" y="92"/>
                    <a:pt x="34" y="83"/>
                    <a:pt x="35" y="73"/>
                  </a:cubicBezTo>
                  <a:cubicBezTo>
                    <a:pt x="35" y="71"/>
                    <a:pt x="36" y="68"/>
                    <a:pt x="36" y="66"/>
                  </a:cubicBezTo>
                  <a:cubicBezTo>
                    <a:pt x="37" y="62"/>
                    <a:pt x="38" y="59"/>
                    <a:pt x="39" y="55"/>
                  </a:cubicBezTo>
                  <a:cubicBezTo>
                    <a:pt x="39" y="55"/>
                    <a:pt x="39" y="55"/>
                    <a:pt x="39" y="54"/>
                  </a:cubicBezTo>
                  <a:cubicBezTo>
                    <a:pt x="41" y="37"/>
                    <a:pt x="30" y="22"/>
                    <a:pt x="18" y="9"/>
                  </a:cubicBezTo>
                  <a:cubicBezTo>
                    <a:pt x="15" y="6"/>
                    <a:pt x="11" y="3"/>
                    <a:pt x="8"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ľîďê">
              <a:extLst>
                <a:ext uri="{FF2B5EF4-FFF2-40B4-BE49-F238E27FC236}">
                  <a16:creationId xmlns:a16="http://schemas.microsoft.com/office/drawing/2014/main" id="{3935B28A-DA51-49C6-9D97-EAF737641FDC}"/>
                </a:ext>
              </a:extLst>
            </p:cNvPr>
            <p:cNvSpPr/>
            <p:nvPr/>
          </p:nvSpPr>
          <p:spPr bwMode="auto">
            <a:xfrm>
              <a:off x="7242175" y="3238501"/>
              <a:ext cx="138113" cy="252413"/>
            </a:xfrm>
            <a:custGeom>
              <a:avLst/>
              <a:gdLst>
                <a:gd name="T0" fmla="*/ 4 w 99"/>
                <a:gd name="T1" fmla="*/ 0 h 181"/>
                <a:gd name="T2" fmla="*/ 0 w 99"/>
                <a:gd name="T3" fmla="*/ 5 h 181"/>
                <a:gd name="T4" fmla="*/ 1 w 99"/>
                <a:gd name="T5" fmla="*/ 5 h 181"/>
                <a:gd name="T6" fmla="*/ 71 w 99"/>
                <a:gd name="T7" fmla="*/ 90 h 181"/>
                <a:gd name="T8" fmla="*/ 70 w 99"/>
                <a:gd name="T9" fmla="*/ 123 h 181"/>
                <a:gd name="T10" fmla="*/ 73 w 99"/>
                <a:gd name="T11" fmla="*/ 155 h 181"/>
                <a:gd name="T12" fmla="*/ 91 w 99"/>
                <a:gd name="T13" fmla="*/ 181 h 181"/>
                <a:gd name="T14" fmla="*/ 91 w 99"/>
                <a:gd name="T15" fmla="*/ 181 h 181"/>
                <a:gd name="T16" fmla="*/ 91 w 99"/>
                <a:gd name="T17" fmla="*/ 181 h 181"/>
                <a:gd name="T18" fmla="*/ 99 w 99"/>
                <a:gd name="T19" fmla="*/ 180 h 181"/>
                <a:gd name="T20" fmla="*/ 76 w 99"/>
                <a:gd name="T21" fmla="*/ 149 h 181"/>
                <a:gd name="T22" fmla="*/ 74 w 99"/>
                <a:gd name="T23" fmla="*/ 85 h 181"/>
                <a:gd name="T24" fmla="*/ 4 w 99"/>
                <a:gd name="T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81">
                  <a:moveTo>
                    <a:pt x="4" y="0"/>
                  </a:moveTo>
                  <a:cubicBezTo>
                    <a:pt x="3" y="2"/>
                    <a:pt x="1" y="3"/>
                    <a:pt x="0" y="5"/>
                  </a:cubicBezTo>
                  <a:cubicBezTo>
                    <a:pt x="1" y="5"/>
                    <a:pt x="1" y="5"/>
                    <a:pt x="1" y="5"/>
                  </a:cubicBezTo>
                  <a:cubicBezTo>
                    <a:pt x="34" y="22"/>
                    <a:pt x="67" y="51"/>
                    <a:pt x="71" y="90"/>
                  </a:cubicBezTo>
                  <a:cubicBezTo>
                    <a:pt x="71" y="101"/>
                    <a:pt x="71" y="112"/>
                    <a:pt x="70" y="123"/>
                  </a:cubicBezTo>
                  <a:cubicBezTo>
                    <a:pt x="69" y="134"/>
                    <a:pt x="70" y="145"/>
                    <a:pt x="73" y="155"/>
                  </a:cubicBezTo>
                  <a:cubicBezTo>
                    <a:pt x="77" y="165"/>
                    <a:pt x="83" y="174"/>
                    <a:pt x="91" y="181"/>
                  </a:cubicBezTo>
                  <a:cubicBezTo>
                    <a:pt x="91" y="181"/>
                    <a:pt x="91" y="181"/>
                    <a:pt x="91" y="181"/>
                  </a:cubicBezTo>
                  <a:cubicBezTo>
                    <a:pt x="91" y="181"/>
                    <a:pt x="91" y="181"/>
                    <a:pt x="91" y="181"/>
                  </a:cubicBezTo>
                  <a:cubicBezTo>
                    <a:pt x="94" y="180"/>
                    <a:pt x="96" y="180"/>
                    <a:pt x="99" y="180"/>
                  </a:cubicBezTo>
                  <a:cubicBezTo>
                    <a:pt x="89" y="171"/>
                    <a:pt x="80" y="161"/>
                    <a:pt x="76" y="149"/>
                  </a:cubicBezTo>
                  <a:cubicBezTo>
                    <a:pt x="68" y="129"/>
                    <a:pt x="76" y="106"/>
                    <a:pt x="74" y="85"/>
                  </a:cubicBezTo>
                  <a:cubicBezTo>
                    <a:pt x="70" y="46"/>
                    <a:pt x="37" y="16"/>
                    <a:pt x="4"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ïsḷîďè">
              <a:extLst>
                <a:ext uri="{FF2B5EF4-FFF2-40B4-BE49-F238E27FC236}">
                  <a16:creationId xmlns:a16="http://schemas.microsoft.com/office/drawing/2014/main" id="{8000F576-988D-4D5B-A0EF-39B5DC150D26}"/>
                </a:ext>
              </a:extLst>
            </p:cNvPr>
            <p:cNvSpPr/>
            <p:nvPr/>
          </p:nvSpPr>
          <p:spPr bwMode="auto">
            <a:xfrm>
              <a:off x="7445375" y="3641726"/>
              <a:ext cx="3175" cy="4763"/>
            </a:xfrm>
            <a:custGeom>
              <a:avLst/>
              <a:gdLst>
                <a:gd name="T0" fmla="*/ 3 w 3"/>
                <a:gd name="T1" fmla="*/ 0 h 4"/>
                <a:gd name="T2" fmla="*/ 0 w 3"/>
                <a:gd name="T3" fmla="*/ 2 h 4"/>
                <a:gd name="T4" fmla="*/ 3 w 3"/>
                <a:gd name="T5" fmla="*/ 4 h 4"/>
                <a:gd name="T6" fmla="*/ 3 w 3"/>
                <a:gd name="T7" fmla="*/ 0 h 4"/>
              </a:gdLst>
              <a:ahLst/>
              <a:cxnLst>
                <a:cxn ang="0">
                  <a:pos x="T0" y="T1"/>
                </a:cxn>
                <a:cxn ang="0">
                  <a:pos x="T2" y="T3"/>
                </a:cxn>
                <a:cxn ang="0">
                  <a:pos x="T4" y="T5"/>
                </a:cxn>
                <a:cxn ang="0">
                  <a:pos x="T6" y="T7"/>
                </a:cxn>
              </a:cxnLst>
              <a:rect l="0" t="0" r="r" b="b"/>
              <a:pathLst>
                <a:path w="3" h="4">
                  <a:moveTo>
                    <a:pt x="3" y="0"/>
                  </a:moveTo>
                  <a:cubicBezTo>
                    <a:pt x="2" y="1"/>
                    <a:pt x="1" y="1"/>
                    <a:pt x="0" y="2"/>
                  </a:cubicBezTo>
                  <a:cubicBezTo>
                    <a:pt x="1" y="3"/>
                    <a:pt x="2" y="3"/>
                    <a:pt x="3" y="4"/>
                  </a:cubicBezTo>
                  <a:cubicBezTo>
                    <a:pt x="3" y="0"/>
                    <a:pt x="3" y="0"/>
                    <a:pt x="3"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ṧ1íďè">
              <a:extLst>
                <a:ext uri="{FF2B5EF4-FFF2-40B4-BE49-F238E27FC236}">
                  <a16:creationId xmlns:a16="http://schemas.microsoft.com/office/drawing/2014/main" id="{3F9BBAAD-3169-46EC-9110-685803E9B8DD}"/>
                </a:ext>
              </a:extLst>
            </p:cNvPr>
            <p:cNvSpPr/>
            <p:nvPr/>
          </p:nvSpPr>
          <p:spPr bwMode="auto">
            <a:xfrm>
              <a:off x="7643813" y="3638551"/>
              <a:ext cx="0" cy="3175"/>
            </a:xfrm>
            <a:custGeom>
              <a:avLst/>
              <a:gdLst>
                <a:gd name="T0" fmla="*/ 0 h 2"/>
                <a:gd name="T1" fmla="*/ 0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cubicBezTo>
                    <a:pt x="0" y="0"/>
                    <a:pt x="0" y="0"/>
                    <a:pt x="0" y="0"/>
                  </a:cubicBezTo>
                  <a:cubicBezTo>
                    <a:pt x="0" y="1"/>
                    <a:pt x="0" y="2"/>
                    <a:pt x="0" y="2"/>
                  </a:cubicBezTo>
                  <a:cubicBezTo>
                    <a:pt x="0" y="2"/>
                    <a:pt x="0" y="2"/>
                    <a:pt x="0" y="2"/>
                  </a:cubicBezTo>
                  <a:cubicBezTo>
                    <a:pt x="0" y="1"/>
                    <a:pt x="0" y="1"/>
                    <a:pt x="0"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î$1îḍe">
              <a:extLst>
                <a:ext uri="{FF2B5EF4-FFF2-40B4-BE49-F238E27FC236}">
                  <a16:creationId xmlns:a16="http://schemas.microsoft.com/office/drawing/2014/main" id="{51968175-EA56-43F9-A4C9-CF502BFBB611}"/>
                </a:ext>
              </a:extLst>
            </p:cNvPr>
            <p:cNvSpPr/>
            <p:nvPr/>
          </p:nvSpPr>
          <p:spPr bwMode="auto">
            <a:xfrm>
              <a:off x="7446963" y="3635376"/>
              <a:ext cx="6350" cy="6350"/>
            </a:xfrm>
            <a:custGeom>
              <a:avLst/>
              <a:gdLst>
                <a:gd name="T0" fmla="*/ 0 w 4"/>
                <a:gd name="T1" fmla="*/ 0 h 4"/>
                <a:gd name="T2" fmla="*/ 1 w 4"/>
                <a:gd name="T3" fmla="*/ 4 h 4"/>
                <a:gd name="T4" fmla="*/ 4 w 4"/>
                <a:gd name="T5" fmla="*/ 2 h 4"/>
                <a:gd name="T6" fmla="*/ 0 w 4"/>
                <a:gd name="T7" fmla="*/ 0 h 4"/>
              </a:gdLst>
              <a:ahLst/>
              <a:cxnLst>
                <a:cxn ang="0">
                  <a:pos x="T0" y="T1"/>
                </a:cxn>
                <a:cxn ang="0">
                  <a:pos x="T2" y="T3"/>
                </a:cxn>
                <a:cxn ang="0">
                  <a:pos x="T4" y="T5"/>
                </a:cxn>
                <a:cxn ang="0">
                  <a:pos x="T6" y="T7"/>
                </a:cxn>
              </a:cxnLst>
              <a:rect l="0" t="0" r="r" b="b"/>
              <a:pathLst>
                <a:path w="4" h="4">
                  <a:moveTo>
                    <a:pt x="0" y="0"/>
                  </a:moveTo>
                  <a:cubicBezTo>
                    <a:pt x="1" y="4"/>
                    <a:pt x="1" y="4"/>
                    <a:pt x="1" y="4"/>
                  </a:cubicBezTo>
                  <a:cubicBezTo>
                    <a:pt x="2" y="3"/>
                    <a:pt x="3" y="3"/>
                    <a:pt x="4" y="2"/>
                  </a:cubicBezTo>
                  <a:cubicBezTo>
                    <a:pt x="3" y="1"/>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ş1iďê">
              <a:extLst>
                <a:ext uri="{FF2B5EF4-FFF2-40B4-BE49-F238E27FC236}">
                  <a16:creationId xmlns:a16="http://schemas.microsoft.com/office/drawing/2014/main" id="{8F460B56-570A-4234-8BFB-FE4F1FD777A1}"/>
                </a:ext>
              </a:extLst>
            </p:cNvPr>
            <p:cNvSpPr/>
            <p:nvPr/>
          </p:nvSpPr>
          <p:spPr bwMode="auto">
            <a:xfrm>
              <a:off x="7448550" y="3638551"/>
              <a:ext cx="7938" cy="9525"/>
            </a:xfrm>
            <a:custGeom>
              <a:avLst/>
              <a:gdLst>
                <a:gd name="T0" fmla="*/ 3 w 6"/>
                <a:gd name="T1" fmla="*/ 0 h 7"/>
                <a:gd name="T2" fmla="*/ 0 w 6"/>
                <a:gd name="T3" fmla="*/ 2 h 7"/>
                <a:gd name="T4" fmla="*/ 0 w 6"/>
                <a:gd name="T5" fmla="*/ 6 h 7"/>
                <a:gd name="T6" fmla="*/ 2 w 6"/>
                <a:gd name="T7" fmla="*/ 7 h 7"/>
                <a:gd name="T8" fmla="*/ 2 w 6"/>
                <a:gd name="T9" fmla="*/ 7 h 7"/>
                <a:gd name="T10" fmla="*/ 6 w 6"/>
                <a:gd name="T11" fmla="*/ 5 h 7"/>
                <a:gd name="T12" fmla="*/ 6 w 6"/>
                <a:gd name="T13" fmla="*/ 4 h 7"/>
                <a:gd name="T14" fmla="*/ 5 w 6"/>
                <a:gd name="T15" fmla="*/ 1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cubicBezTo>
                    <a:pt x="2" y="1"/>
                    <a:pt x="1" y="1"/>
                    <a:pt x="0" y="2"/>
                  </a:cubicBezTo>
                  <a:cubicBezTo>
                    <a:pt x="0" y="6"/>
                    <a:pt x="0" y="6"/>
                    <a:pt x="0" y="6"/>
                  </a:cubicBezTo>
                  <a:cubicBezTo>
                    <a:pt x="1" y="6"/>
                    <a:pt x="1" y="6"/>
                    <a:pt x="2" y="7"/>
                  </a:cubicBezTo>
                  <a:cubicBezTo>
                    <a:pt x="2" y="7"/>
                    <a:pt x="2" y="7"/>
                    <a:pt x="2" y="7"/>
                  </a:cubicBezTo>
                  <a:cubicBezTo>
                    <a:pt x="3" y="6"/>
                    <a:pt x="5" y="5"/>
                    <a:pt x="6" y="5"/>
                  </a:cubicBezTo>
                  <a:cubicBezTo>
                    <a:pt x="6" y="4"/>
                    <a:pt x="6" y="4"/>
                    <a:pt x="6" y="4"/>
                  </a:cubicBezTo>
                  <a:cubicBezTo>
                    <a:pt x="5" y="1"/>
                    <a:pt x="5" y="1"/>
                    <a:pt x="5" y="1"/>
                  </a:cubicBezTo>
                  <a:cubicBezTo>
                    <a:pt x="5" y="1"/>
                    <a:pt x="4" y="0"/>
                    <a:pt x="3" y="0"/>
                  </a:cubicBezTo>
                </a:path>
              </a:pathLst>
            </a:custGeom>
            <a:solidFill>
              <a:srgbClr val="7E50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îšļïdê">
              <a:extLst>
                <a:ext uri="{FF2B5EF4-FFF2-40B4-BE49-F238E27FC236}">
                  <a16:creationId xmlns:a16="http://schemas.microsoft.com/office/drawing/2014/main" id="{9DC8BE1A-9C7C-4497-BA16-FDA67ACDF753}"/>
                </a:ext>
              </a:extLst>
            </p:cNvPr>
            <p:cNvSpPr/>
            <p:nvPr/>
          </p:nvSpPr>
          <p:spPr bwMode="auto">
            <a:xfrm>
              <a:off x="7451725" y="3646488"/>
              <a:ext cx="4763" cy="4763"/>
            </a:xfrm>
            <a:custGeom>
              <a:avLst/>
              <a:gdLst>
                <a:gd name="T0" fmla="*/ 4 w 4"/>
                <a:gd name="T1" fmla="*/ 0 h 4"/>
                <a:gd name="T2" fmla="*/ 0 w 4"/>
                <a:gd name="T3" fmla="*/ 2 h 4"/>
                <a:gd name="T4" fmla="*/ 4 w 4"/>
                <a:gd name="T5" fmla="*/ 4 h 4"/>
                <a:gd name="T6" fmla="*/ 4 w 4"/>
                <a:gd name="T7" fmla="*/ 0 h 4"/>
              </a:gdLst>
              <a:ahLst/>
              <a:cxnLst>
                <a:cxn ang="0">
                  <a:pos x="T0" y="T1"/>
                </a:cxn>
                <a:cxn ang="0">
                  <a:pos x="T2" y="T3"/>
                </a:cxn>
                <a:cxn ang="0">
                  <a:pos x="T4" y="T5"/>
                </a:cxn>
                <a:cxn ang="0">
                  <a:pos x="T6" y="T7"/>
                </a:cxn>
              </a:cxnLst>
              <a:rect l="0" t="0" r="r" b="b"/>
              <a:pathLst>
                <a:path w="4" h="4">
                  <a:moveTo>
                    <a:pt x="4" y="0"/>
                  </a:moveTo>
                  <a:cubicBezTo>
                    <a:pt x="3" y="0"/>
                    <a:pt x="1" y="1"/>
                    <a:pt x="0" y="2"/>
                  </a:cubicBezTo>
                  <a:cubicBezTo>
                    <a:pt x="1" y="3"/>
                    <a:pt x="3" y="3"/>
                    <a:pt x="4" y="4"/>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ïSlïḍe">
              <a:extLst>
                <a:ext uri="{FF2B5EF4-FFF2-40B4-BE49-F238E27FC236}">
                  <a16:creationId xmlns:a16="http://schemas.microsoft.com/office/drawing/2014/main" id="{7187F00D-E9D5-492F-BA32-526197E0EDA8}"/>
                </a:ext>
              </a:extLst>
            </p:cNvPr>
            <p:cNvSpPr/>
            <p:nvPr/>
          </p:nvSpPr>
          <p:spPr bwMode="auto">
            <a:xfrm>
              <a:off x="7456488" y="3638551"/>
              <a:ext cx="187325" cy="61913"/>
            </a:xfrm>
            <a:custGeom>
              <a:avLst/>
              <a:gdLst>
                <a:gd name="T0" fmla="*/ 0 w 135"/>
                <a:gd name="T1" fmla="*/ 1 h 44"/>
                <a:gd name="T2" fmla="*/ 1 w 135"/>
                <a:gd name="T3" fmla="*/ 4 h 44"/>
                <a:gd name="T4" fmla="*/ 1 w 135"/>
                <a:gd name="T5" fmla="*/ 5 h 44"/>
                <a:gd name="T6" fmla="*/ 1 w 135"/>
                <a:gd name="T7" fmla="*/ 9 h 44"/>
                <a:gd name="T8" fmla="*/ 1 w 135"/>
                <a:gd name="T9" fmla="*/ 9 h 44"/>
                <a:gd name="T10" fmla="*/ 11 w 135"/>
                <a:gd name="T11" fmla="*/ 12 h 44"/>
                <a:gd name="T12" fmla="*/ 16 w 135"/>
                <a:gd name="T13" fmla="*/ 13 h 44"/>
                <a:gd name="T14" fmla="*/ 27 w 135"/>
                <a:gd name="T15" fmla="*/ 14 h 44"/>
                <a:gd name="T16" fmla="*/ 30 w 135"/>
                <a:gd name="T17" fmla="*/ 14 h 44"/>
                <a:gd name="T18" fmla="*/ 51 w 135"/>
                <a:gd name="T19" fmla="*/ 12 h 44"/>
                <a:gd name="T20" fmla="*/ 53 w 135"/>
                <a:gd name="T21" fmla="*/ 12 h 44"/>
                <a:gd name="T22" fmla="*/ 54 w 135"/>
                <a:gd name="T23" fmla="*/ 12 h 44"/>
                <a:gd name="T24" fmla="*/ 73 w 135"/>
                <a:gd name="T25" fmla="*/ 21 h 44"/>
                <a:gd name="T26" fmla="*/ 82 w 135"/>
                <a:gd name="T27" fmla="*/ 39 h 44"/>
                <a:gd name="T28" fmla="*/ 94 w 135"/>
                <a:gd name="T29" fmla="*/ 44 h 44"/>
                <a:gd name="T30" fmla="*/ 100 w 135"/>
                <a:gd name="T31" fmla="*/ 44 h 44"/>
                <a:gd name="T32" fmla="*/ 108 w 135"/>
                <a:gd name="T33" fmla="*/ 41 h 44"/>
                <a:gd name="T34" fmla="*/ 109 w 135"/>
                <a:gd name="T35" fmla="*/ 37 h 44"/>
                <a:gd name="T36" fmla="*/ 102 w 135"/>
                <a:gd name="T37" fmla="*/ 38 h 44"/>
                <a:gd name="T38" fmla="*/ 97 w 135"/>
                <a:gd name="T39" fmla="*/ 38 h 44"/>
                <a:gd name="T40" fmla="*/ 85 w 135"/>
                <a:gd name="T41" fmla="*/ 33 h 44"/>
                <a:gd name="T42" fmla="*/ 75 w 135"/>
                <a:gd name="T43" fmla="*/ 15 h 44"/>
                <a:gd name="T44" fmla="*/ 56 w 135"/>
                <a:gd name="T45" fmla="*/ 6 h 44"/>
                <a:gd name="T46" fmla="*/ 55 w 135"/>
                <a:gd name="T47" fmla="*/ 6 h 44"/>
                <a:gd name="T48" fmla="*/ 54 w 135"/>
                <a:gd name="T49" fmla="*/ 6 h 44"/>
                <a:gd name="T50" fmla="*/ 33 w 135"/>
                <a:gd name="T51" fmla="*/ 8 h 44"/>
                <a:gd name="T52" fmla="*/ 30 w 135"/>
                <a:gd name="T53" fmla="*/ 8 h 44"/>
                <a:gd name="T54" fmla="*/ 0 w 135"/>
                <a:gd name="T55" fmla="*/ 1 h 44"/>
                <a:gd name="T56" fmla="*/ 135 w 135"/>
                <a:gd name="T57" fmla="*/ 0 h 44"/>
                <a:gd name="T58" fmla="*/ 131 w 135"/>
                <a:gd name="T59" fmla="*/ 3 h 44"/>
                <a:gd name="T60" fmla="*/ 112 w 135"/>
                <a:gd name="T61" fmla="*/ 23 h 44"/>
                <a:gd name="T62" fmla="*/ 129 w 135"/>
                <a:gd name="T63" fmla="*/ 9 h 44"/>
                <a:gd name="T64" fmla="*/ 135 w 135"/>
                <a:gd name="T65" fmla="*/ 2 h 44"/>
                <a:gd name="T66" fmla="*/ 135 w 135"/>
                <a:gd name="T6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44">
                  <a:moveTo>
                    <a:pt x="0" y="1"/>
                  </a:moveTo>
                  <a:cubicBezTo>
                    <a:pt x="1" y="4"/>
                    <a:pt x="1" y="4"/>
                    <a:pt x="1" y="4"/>
                  </a:cubicBezTo>
                  <a:cubicBezTo>
                    <a:pt x="1" y="5"/>
                    <a:pt x="1" y="5"/>
                    <a:pt x="1" y="5"/>
                  </a:cubicBezTo>
                  <a:cubicBezTo>
                    <a:pt x="1" y="9"/>
                    <a:pt x="1" y="9"/>
                    <a:pt x="1" y="9"/>
                  </a:cubicBezTo>
                  <a:cubicBezTo>
                    <a:pt x="1" y="9"/>
                    <a:pt x="1" y="9"/>
                    <a:pt x="1" y="9"/>
                  </a:cubicBezTo>
                  <a:cubicBezTo>
                    <a:pt x="5" y="10"/>
                    <a:pt x="8" y="11"/>
                    <a:pt x="11" y="12"/>
                  </a:cubicBezTo>
                  <a:cubicBezTo>
                    <a:pt x="13" y="13"/>
                    <a:pt x="14" y="13"/>
                    <a:pt x="16" y="13"/>
                  </a:cubicBezTo>
                  <a:cubicBezTo>
                    <a:pt x="20" y="14"/>
                    <a:pt x="23" y="14"/>
                    <a:pt x="27" y="14"/>
                  </a:cubicBezTo>
                  <a:cubicBezTo>
                    <a:pt x="28" y="14"/>
                    <a:pt x="29" y="14"/>
                    <a:pt x="30" y="14"/>
                  </a:cubicBezTo>
                  <a:cubicBezTo>
                    <a:pt x="37" y="14"/>
                    <a:pt x="44" y="12"/>
                    <a:pt x="51" y="12"/>
                  </a:cubicBezTo>
                  <a:cubicBezTo>
                    <a:pt x="52" y="12"/>
                    <a:pt x="52" y="12"/>
                    <a:pt x="53" y="12"/>
                  </a:cubicBezTo>
                  <a:cubicBezTo>
                    <a:pt x="53" y="12"/>
                    <a:pt x="53" y="12"/>
                    <a:pt x="54" y="12"/>
                  </a:cubicBezTo>
                  <a:cubicBezTo>
                    <a:pt x="61" y="12"/>
                    <a:pt x="68" y="16"/>
                    <a:pt x="73" y="21"/>
                  </a:cubicBezTo>
                  <a:cubicBezTo>
                    <a:pt x="77" y="27"/>
                    <a:pt x="77" y="35"/>
                    <a:pt x="82" y="39"/>
                  </a:cubicBezTo>
                  <a:cubicBezTo>
                    <a:pt x="86" y="42"/>
                    <a:pt x="90" y="43"/>
                    <a:pt x="94" y="44"/>
                  </a:cubicBezTo>
                  <a:cubicBezTo>
                    <a:pt x="96" y="44"/>
                    <a:pt x="98" y="44"/>
                    <a:pt x="100" y="44"/>
                  </a:cubicBezTo>
                  <a:cubicBezTo>
                    <a:pt x="103" y="44"/>
                    <a:pt x="106" y="43"/>
                    <a:pt x="108" y="41"/>
                  </a:cubicBezTo>
                  <a:cubicBezTo>
                    <a:pt x="108" y="39"/>
                    <a:pt x="109" y="38"/>
                    <a:pt x="109" y="37"/>
                  </a:cubicBezTo>
                  <a:cubicBezTo>
                    <a:pt x="107" y="38"/>
                    <a:pt x="105" y="38"/>
                    <a:pt x="102" y="38"/>
                  </a:cubicBezTo>
                  <a:cubicBezTo>
                    <a:pt x="100" y="38"/>
                    <a:pt x="99" y="38"/>
                    <a:pt x="97" y="38"/>
                  </a:cubicBezTo>
                  <a:cubicBezTo>
                    <a:pt x="93" y="37"/>
                    <a:pt x="89" y="36"/>
                    <a:pt x="85" y="33"/>
                  </a:cubicBezTo>
                  <a:cubicBezTo>
                    <a:pt x="80" y="29"/>
                    <a:pt x="79" y="21"/>
                    <a:pt x="75" y="15"/>
                  </a:cubicBezTo>
                  <a:cubicBezTo>
                    <a:pt x="71" y="10"/>
                    <a:pt x="64" y="6"/>
                    <a:pt x="56" y="6"/>
                  </a:cubicBezTo>
                  <a:cubicBezTo>
                    <a:pt x="56" y="6"/>
                    <a:pt x="56" y="6"/>
                    <a:pt x="55" y="6"/>
                  </a:cubicBezTo>
                  <a:cubicBezTo>
                    <a:pt x="55" y="6"/>
                    <a:pt x="54" y="6"/>
                    <a:pt x="54" y="6"/>
                  </a:cubicBezTo>
                  <a:cubicBezTo>
                    <a:pt x="47" y="6"/>
                    <a:pt x="40" y="8"/>
                    <a:pt x="33" y="8"/>
                  </a:cubicBezTo>
                  <a:cubicBezTo>
                    <a:pt x="32" y="8"/>
                    <a:pt x="31" y="8"/>
                    <a:pt x="30" y="8"/>
                  </a:cubicBezTo>
                  <a:cubicBezTo>
                    <a:pt x="20" y="8"/>
                    <a:pt x="9" y="6"/>
                    <a:pt x="0" y="1"/>
                  </a:cubicBezTo>
                  <a:moveTo>
                    <a:pt x="135" y="0"/>
                  </a:moveTo>
                  <a:cubicBezTo>
                    <a:pt x="134" y="1"/>
                    <a:pt x="133" y="2"/>
                    <a:pt x="131" y="3"/>
                  </a:cubicBezTo>
                  <a:cubicBezTo>
                    <a:pt x="124" y="9"/>
                    <a:pt x="114" y="14"/>
                    <a:pt x="112" y="23"/>
                  </a:cubicBezTo>
                  <a:cubicBezTo>
                    <a:pt x="116" y="18"/>
                    <a:pt x="123" y="14"/>
                    <a:pt x="129" y="9"/>
                  </a:cubicBezTo>
                  <a:cubicBezTo>
                    <a:pt x="131" y="7"/>
                    <a:pt x="133" y="5"/>
                    <a:pt x="135" y="2"/>
                  </a:cubicBezTo>
                  <a:cubicBezTo>
                    <a:pt x="135" y="2"/>
                    <a:pt x="135" y="1"/>
                    <a:pt x="135"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5" name="iṩļídé">
              <a:extLst>
                <a:ext uri="{FF2B5EF4-FFF2-40B4-BE49-F238E27FC236}">
                  <a16:creationId xmlns:a16="http://schemas.microsoft.com/office/drawing/2014/main" id="{49C34985-173E-43D9-B2DF-FCFCAC53CDD3}"/>
                </a:ext>
              </a:extLst>
            </p:cNvPr>
            <p:cNvSpPr/>
            <p:nvPr/>
          </p:nvSpPr>
          <p:spPr bwMode="auto">
            <a:xfrm>
              <a:off x="7219950" y="3125788"/>
              <a:ext cx="447675" cy="566738"/>
            </a:xfrm>
            <a:custGeom>
              <a:avLst/>
              <a:gdLst>
                <a:gd name="T0" fmla="*/ 8 w 321"/>
                <a:gd name="T1" fmla="*/ 57 h 408"/>
                <a:gd name="T2" fmla="*/ 16 w 321"/>
                <a:gd name="T3" fmla="*/ 51 h 408"/>
                <a:gd name="T4" fmla="*/ 18 w 321"/>
                <a:gd name="T5" fmla="*/ 21 h 408"/>
                <a:gd name="T6" fmla="*/ 46 w 321"/>
                <a:gd name="T7" fmla="*/ 7 h 408"/>
                <a:gd name="T8" fmla="*/ 79 w 321"/>
                <a:gd name="T9" fmla="*/ 14 h 408"/>
                <a:gd name="T10" fmla="*/ 131 w 321"/>
                <a:gd name="T11" fmla="*/ 4 h 408"/>
                <a:gd name="T12" fmla="*/ 180 w 321"/>
                <a:gd name="T13" fmla="*/ 13 h 408"/>
                <a:gd name="T14" fmla="*/ 206 w 321"/>
                <a:gd name="T15" fmla="*/ 58 h 408"/>
                <a:gd name="T16" fmla="*/ 228 w 321"/>
                <a:gd name="T17" fmla="*/ 66 h 408"/>
                <a:gd name="T18" fmla="*/ 247 w 321"/>
                <a:gd name="T19" fmla="*/ 84 h 408"/>
                <a:gd name="T20" fmla="*/ 262 w 321"/>
                <a:gd name="T21" fmla="*/ 145 h 408"/>
                <a:gd name="T22" fmla="*/ 256 w 321"/>
                <a:gd name="T23" fmla="*/ 180 h 408"/>
                <a:gd name="T24" fmla="*/ 258 w 321"/>
                <a:gd name="T25" fmla="*/ 216 h 408"/>
                <a:gd name="T26" fmla="*/ 280 w 321"/>
                <a:gd name="T27" fmla="*/ 244 h 408"/>
                <a:gd name="T28" fmla="*/ 288 w 321"/>
                <a:gd name="T29" fmla="*/ 247 h 408"/>
                <a:gd name="T30" fmla="*/ 292 w 321"/>
                <a:gd name="T31" fmla="*/ 270 h 408"/>
                <a:gd name="T32" fmla="*/ 285 w 321"/>
                <a:gd name="T33" fmla="*/ 302 h 408"/>
                <a:gd name="T34" fmla="*/ 309 w 321"/>
                <a:gd name="T35" fmla="*/ 311 h 408"/>
                <a:gd name="T36" fmla="*/ 315 w 321"/>
                <a:gd name="T37" fmla="*/ 320 h 408"/>
                <a:gd name="T38" fmla="*/ 300 w 321"/>
                <a:gd name="T39" fmla="*/ 372 h 408"/>
                <a:gd name="T40" fmla="*/ 281 w 321"/>
                <a:gd name="T41" fmla="*/ 394 h 408"/>
                <a:gd name="T42" fmla="*/ 280 w 321"/>
                <a:gd name="T43" fmla="*/ 404 h 408"/>
                <a:gd name="T44" fmla="*/ 266 w 321"/>
                <a:gd name="T45" fmla="*/ 407 h 408"/>
                <a:gd name="T46" fmla="*/ 254 w 321"/>
                <a:gd name="T47" fmla="*/ 402 h 408"/>
                <a:gd name="T48" fmla="*/ 244 w 321"/>
                <a:gd name="T49" fmla="*/ 384 h 408"/>
                <a:gd name="T50" fmla="*/ 224 w 321"/>
                <a:gd name="T51" fmla="*/ 375 h 408"/>
                <a:gd name="T52" fmla="*/ 202 w 321"/>
                <a:gd name="T53" fmla="*/ 377 h 408"/>
                <a:gd name="T54" fmla="*/ 155 w 321"/>
                <a:gd name="T55" fmla="*/ 360 h 408"/>
                <a:gd name="T56" fmla="*/ 142 w 321"/>
                <a:gd name="T57" fmla="*/ 334 h 408"/>
                <a:gd name="T58" fmla="*/ 146 w 321"/>
                <a:gd name="T59" fmla="*/ 316 h 408"/>
                <a:gd name="T60" fmla="*/ 125 w 321"/>
                <a:gd name="T61" fmla="*/ 270 h 408"/>
                <a:gd name="T62" fmla="*/ 92 w 321"/>
                <a:gd name="T63" fmla="*/ 230 h 408"/>
                <a:gd name="T64" fmla="*/ 90 w 321"/>
                <a:gd name="T65" fmla="*/ 166 h 408"/>
                <a:gd name="T66" fmla="*/ 20 w 321"/>
                <a:gd name="T67" fmla="*/ 81 h 408"/>
                <a:gd name="T68" fmla="*/ 8 w 321"/>
                <a:gd name="T69" fmla="*/ 5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1" h="408">
                  <a:moveTo>
                    <a:pt x="8" y="57"/>
                  </a:moveTo>
                  <a:cubicBezTo>
                    <a:pt x="10" y="55"/>
                    <a:pt x="14" y="54"/>
                    <a:pt x="16" y="51"/>
                  </a:cubicBezTo>
                  <a:cubicBezTo>
                    <a:pt x="23" y="44"/>
                    <a:pt x="16" y="31"/>
                    <a:pt x="18" y="21"/>
                  </a:cubicBezTo>
                  <a:cubicBezTo>
                    <a:pt x="21" y="10"/>
                    <a:pt x="35" y="6"/>
                    <a:pt x="46" y="7"/>
                  </a:cubicBezTo>
                  <a:cubicBezTo>
                    <a:pt x="57" y="8"/>
                    <a:pt x="68" y="13"/>
                    <a:pt x="79" y="14"/>
                  </a:cubicBezTo>
                  <a:cubicBezTo>
                    <a:pt x="97" y="16"/>
                    <a:pt x="114" y="9"/>
                    <a:pt x="131" y="4"/>
                  </a:cubicBezTo>
                  <a:cubicBezTo>
                    <a:pt x="148" y="0"/>
                    <a:pt x="168" y="0"/>
                    <a:pt x="180" y="13"/>
                  </a:cubicBezTo>
                  <a:cubicBezTo>
                    <a:pt x="192" y="26"/>
                    <a:pt x="191" y="48"/>
                    <a:pt x="206" y="58"/>
                  </a:cubicBezTo>
                  <a:cubicBezTo>
                    <a:pt x="213" y="62"/>
                    <a:pt x="221" y="62"/>
                    <a:pt x="228" y="66"/>
                  </a:cubicBezTo>
                  <a:cubicBezTo>
                    <a:pt x="236" y="70"/>
                    <a:pt x="243" y="76"/>
                    <a:pt x="247" y="84"/>
                  </a:cubicBezTo>
                  <a:cubicBezTo>
                    <a:pt x="259" y="102"/>
                    <a:pt x="264" y="124"/>
                    <a:pt x="262" y="145"/>
                  </a:cubicBezTo>
                  <a:cubicBezTo>
                    <a:pt x="261" y="157"/>
                    <a:pt x="257" y="168"/>
                    <a:pt x="256" y="180"/>
                  </a:cubicBezTo>
                  <a:cubicBezTo>
                    <a:pt x="255" y="192"/>
                    <a:pt x="255" y="204"/>
                    <a:pt x="258" y="216"/>
                  </a:cubicBezTo>
                  <a:cubicBezTo>
                    <a:pt x="261" y="228"/>
                    <a:pt x="268" y="241"/>
                    <a:pt x="280" y="244"/>
                  </a:cubicBezTo>
                  <a:cubicBezTo>
                    <a:pt x="283" y="245"/>
                    <a:pt x="286" y="246"/>
                    <a:pt x="288" y="247"/>
                  </a:cubicBezTo>
                  <a:cubicBezTo>
                    <a:pt x="295" y="252"/>
                    <a:pt x="294" y="262"/>
                    <a:pt x="292" y="270"/>
                  </a:cubicBezTo>
                  <a:cubicBezTo>
                    <a:pt x="285" y="302"/>
                    <a:pt x="285" y="302"/>
                    <a:pt x="285" y="302"/>
                  </a:cubicBezTo>
                  <a:cubicBezTo>
                    <a:pt x="292" y="308"/>
                    <a:pt x="303" y="305"/>
                    <a:pt x="309" y="311"/>
                  </a:cubicBezTo>
                  <a:cubicBezTo>
                    <a:pt x="312" y="313"/>
                    <a:pt x="314" y="316"/>
                    <a:pt x="315" y="320"/>
                  </a:cubicBezTo>
                  <a:cubicBezTo>
                    <a:pt x="321" y="338"/>
                    <a:pt x="316" y="359"/>
                    <a:pt x="300" y="372"/>
                  </a:cubicBezTo>
                  <a:cubicBezTo>
                    <a:pt x="292" y="379"/>
                    <a:pt x="282" y="384"/>
                    <a:pt x="281" y="394"/>
                  </a:cubicBezTo>
                  <a:cubicBezTo>
                    <a:pt x="281" y="397"/>
                    <a:pt x="281" y="401"/>
                    <a:pt x="280" y="404"/>
                  </a:cubicBezTo>
                  <a:cubicBezTo>
                    <a:pt x="277" y="408"/>
                    <a:pt x="271" y="408"/>
                    <a:pt x="266" y="407"/>
                  </a:cubicBezTo>
                  <a:cubicBezTo>
                    <a:pt x="262" y="406"/>
                    <a:pt x="258" y="405"/>
                    <a:pt x="254" y="402"/>
                  </a:cubicBezTo>
                  <a:cubicBezTo>
                    <a:pt x="249" y="398"/>
                    <a:pt x="248" y="390"/>
                    <a:pt x="244" y="384"/>
                  </a:cubicBezTo>
                  <a:cubicBezTo>
                    <a:pt x="240" y="378"/>
                    <a:pt x="232" y="375"/>
                    <a:pt x="224" y="375"/>
                  </a:cubicBezTo>
                  <a:cubicBezTo>
                    <a:pt x="217" y="375"/>
                    <a:pt x="210" y="377"/>
                    <a:pt x="202" y="377"/>
                  </a:cubicBezTo>
                  <a:cubicBezTo>
                    <a:pt x="185" y="378"/>
                    <a:pt x="168" y="372"/>
                    <a:pt x="155" y="360"/>
                  </a:cubicBezTo>
                  <a:cubicBezTo>
                    <a:pt x="147" y="353"/>
                    <a:pt x="141" y="344"/>
                    <a:pt x="142" y="334"/>
                  </a:cubicBezTo>
                  <a:cubicBezTo>
                    <a:pt x="142" y="328"/>
                    <a:pt x="145" y="322"/>
                    <a:pt x="146" y="316"/>
                  </a:cubicBezTo>
                  <a:cubicBezTo>
                    <a:pt x="149" y="299"/>
                    <a:pt x="138" y="283"/>
                    <a:pt x="125" y="270"/>
                  </a:cubicBezTo>
                  <a:cubicBezTo>
                    <a:pt x="113" y="258"/>
                    <a:pt x="98" y="247"/>
                    <a:pt x="92" y="230"/>
                  </a:cubicBezTo>
                  <a:cubicBezTo>
                    <a:pt x="84" y="210"/>
                    <a:pt x="92" y="187"/>
                    <a:pt x="90" y="166"/>
                  </a:cubicBezTo>
                  <a:cubicBezTo>
                    <a:pt x="86" y="127"/>
                    <a:pt x="53" y="97"/>
                    <a:pt x="20" y="81"/>
                  </a:cubicBezTo>
                  <a:cubicBezTo>
                    <a:pt x="12" y="77"/>
                    <a:pt x="0" y="67"/>
                    <a:pt x="8" y="57"/>
                  </a:cubicBezTo>
                </a:path>
              </a:pathLst>
            </a:custGeom>
            <a:solidFill>
              <a:srgbClr val="444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6" name="işlíḋê">
              <a:extLst>
                <a:ext uri="{FF2B5EF4-FFF2-40B4-BE49-F238E27FC236}">
                  <a16:creationId xmlns:a16="http://schemas.microsoft.com/office/drawing/2014/main" id="{04451DA9-7B42-434B-BE7E-09B6145BBA26}"/>
                </a:ext>
              </a:extLst>
            </p:cNvPr>
            <p:cNvSpPr/>
            <p:nvPr/>
          </p:nvSpPr>
          <p:spPr bwMode="auto">
            <a:xfrm>
              <a:off x="7224713" y="3135313"/>
              <a:ext cx="46038" cy="90488"/>
            </a:xfrm>
            <a:custGeom>
              <a:avLst/>
              <a:gdLst>
                <a:gd name="T0" fmla="*/ 33 w 33"/>
                <a:gd name="T1" fmla="*/ 0 h 65"/>
                <a:gd name="T2" fmla="*/ 15 w 33"/>
                <a:gd name="T3" fmla="*/ 14 h 65"/>
                <a:gd name="T4" fmla="*/ 13 w 33"/>
                <a:gd name="T5" fmla="*/ 44 h 65"/>
                <a:gd name="T6" fmla="*/ 5 w 33"/>
                <a:gd name="T7" fmla="*/ 50 h 65"/>
                <a:gd name="T8" fmla="*/ 5 w 33"/>
                <a:gd name="T9" fmla="*/ 65 h 65"/>
                <a:gd name="T10" fmla="*/ 5 w 33"/>
                <a:gd name="T11" fmla="*/ 50 h 65"/>
                <a:gd name="T12" fmla="*/ 13 w 33"/>
                <a:gd name="T13" fmla="*/ 44 h 65"/>
                <a:gd name="T14" fmla="*/ 15 w 33"/>
                <a:gd name="T15" fmla="*/ 14 h 65"/>
                <a:gd name="T16" fmla="*/ 33 w 33"/>
                <a:gd name="T17" fmla="*/ 0 h 65"/>
                <a:gd name="T18" fmla="*/ 33 w 33"/>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65">
                  <a:moveTo>
                    <a:pt x="33" y="0"/>
                  </a:moveTo>
                  <a:cubicBezTo>
                    <a:pt x="25" y="1"/>
                    <a:pt x="17" y="6"/>
                    <a:pt x="15" y="14"/>
                  </a:cubicBezTo>
                  <a:cubicBezTo>
                    <a:pt x="13" y="24"/>
                    <a:pt x="20" y="36"/>
                    <a:pt x="13" y="44"/>
                  </a:cubicBezTo>
                  <a:cubicBezTo>
                    <a:pt x="10" y="46"/>
                    <a:pt x="7" y="48"/>
                    <a:pt x="5" y="50"/>
                  </a:cubicBezTo>
                  <a:cubicBezTo>
                    <a:pt x="0" y="55"/>
                    <a:pt x="2" y="60"/>
                    <a:pt x="5" y="65"/>
                  </a:cubicBezTo>
                  <a:cubicBezTo>
                    <a:pt x="2" y="60"/>
                    <a:pt x="1" y="55"/>
                    <a:pt x="5" y="50"/>
                  </a:cubicBezTo>
                  <a:cubicBezTo>
                    <a:pt x="7" y="48"/>
                    <a:pt x="11" y="47"/>
                    <a:pt x="13" y="44"/>
                  </a:cubicBezTo>
                  <a:cubicBezTo>
                    <a:pt x="20" y="37"/>
                    <a:pt x="13" y="24"/>
                    <a:pt x="15" y="14"/>
                  </a:cubicBezTo>
                  <a:cubicBezTo>
                    <a:pt x="17" y="7"/>
                    <a:pt x="25" y="2"/>
                    <a:pt x="33" y="0"/>
                  </a:cubicBezTo>
                  <a:cubicBezTo>
                    <a:pt x="33" y="0"/>
                    <a:pt x="33" y="0"/>
                    <a:pt x="33"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7" name="íṩlíḓê">
              <a:extLst>
                <a:ext uri="{FF2B5EF4-FFF2-40B4-BE49-F238E27FC236}">
                  <a16:creationId xmlns:a16="http://schemas.microsoft.com/office/drawing/2014/main" id="{C469F42B-18C0-457B-A3F8-6BE3C2F7ABC9}"/>
                </a:ext>
              </a:extLst>
            </p:cNvPr>
            <p:cNvSpPr/>
            <p:nvPr/>
          </p:nvSpPr>
          <p:spPr bwMode="auto">
            <a:xfrm>
              <a:off x="7419975" y="3563938"/>
              <a:ext cx="3175" cy="15875"/>
            </a:xfrm>
            <a:custGeom>
              <a:avLst/>
              <a:gdLst>
                <a:gd name="T0" fmla="*/ 3 w 3"/>
                <a:gd name="T1" fmla="*/ 0 h 12"/>
                <a:gd name="T2" fmla="*/ 3 w 3"/>
                <a:gd name="T3" fmla="*/ 1 h 12"/>
                <a:gd name="T4" fmla="*/ 0 w 3"/>
                <a:gd name="T5" fmla="*/ 12 h 12"/>
                <a:gd name="T6" fmla="*/ 3 w 3"/>
                <a:gd name="T7" fmla="*/ 1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cubicBezTo>
                    <a:pt x="3" y="1"/>
                    <a:pt x="3" y="1"/>
                    <a:pt x="3" y="1"/>
                  </a:cubicBezTo>
                  <a:cubicBezTo>
                    <a:pt x="2" y="5"/>
                    <a:pt x="1" y="8"/>
                    <a:pt x="0" y="12"/>
                  </a:cubicBezTo>
                  <a:cubicBezTo>
                    <a:pt x="1" y="9"/>
                    <a:pt x="2" y="5"/>
                    <a:pt x="3" y="1"/>
                  </a:cubicBezTo>
                  <a:cubicBezTo>
                    <a:pt x="3" y="1"/>
                    <a:pt x="3" y="1"/>
                    <a:pt x="3"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8" name="ïṣlidê">
              <a:extLst>
                <a:ext uri="{FF2B5EF4-FFF2-40B4-BE49-F238E27FC236}">
                  <a16:creationId xmlns:a16="http://schemas.microsoft.com/office/drawing/2014/main" id="{80AA5B66-3AC1-452B-8337-605B68134A5D}"/>
                </a:ext>
              </a:extLst>
            </p:cNvPr>
            <p:cNvSpPr/>
            <p:nvPr/>
          </p:nvSpPr>
          <p:spPr bwMode="auto">
            <a:xfrm>
              <a:off x="7610475" y="3679826"/>
              <a:ext cx="1588" cy="7938"/>
            </a:xfrm>
            <a:custGeom>
              <a:avLst/>
              <a:gdLst>
                <a:gd name="T0" fmla="*/ 1 w 1"/>
                <a:gd name="T1" fmla="*/ 0 h 6"/>
                <a:gd name="T2" fmla="*/ 0 w 1"/>
                <a:gd name="T3" fmla="*/ 6 h 6"/>
                <a:gd name="T4" fmla="*/ 0 w 1"/>
                <a:gd name="T5" fmla="*/ 5 h 6"/>
                <a:gd name="T6" fmla="*/ 1 w 1"/>
                <a:gd name="T7" fmla="*/ 0 h 6"/>
                <a:gd name="T8" fmla="*/ 1 w 1"/>
                <a:gd name="T9" fmla="*/ 0 h 6"/>
              </a:gdLst>
              <a:ahLst/>
              <a:cxnLst>
                <a:cxn ang="0">
                  <a:pos x="T0" y="T1"/>
                </a:cxn>
                <a:cxn ang="0">
                  <a:pos x="T2" y="T3"/>
                </a:cxn>
                <a:cxn ang="0">
                  <a:pos x="T4" y="T5"/>
                </a:cxn>
                <a:cxn ang="0">
                  <a:pos x="T6" y="T7"/>
                </a:cxn>
                <a:cxn ang="0">
                  <a:pos x="T8" y="T9"/>
                </a:cxn>
              </a:cxnLst>
              <a:rect l="0" t="0" r="r" b="b"/>
              <a:pathLst>
                <a:path w="1" h="6">
                  <a:moveTo>
                    <a:pt x="1" y="0"/>
                  </a:moveTo>
                  <a:cubicBezTo>
                    <a:pt x="1" y="2"/>
                    <a:pt x="0" y="4"/>
                    <a:pt x="0" y="6"/>
                  </a:cubicBezTo>
                  <a:cubicBezTo>
                    <a:pt x="0" y="5"/>
                    <a:pt x="0" y="5"/>
                    <a:pt x="0" y="5"/>
                  </a:cubicBezTo>
                  <a:cubicBezTo>
                    <a:pt x="1" y="4"/>
                    <a:pt x="1" y="2"/>
                    <a:pt x="1" y="0"/>
                  </a:cubicBezTo>
                  <a:cubicBezTo>
                    <a:pt x="1" y="0"/>
                    <a:pt x="1" y="0"/>
                    <a:pt x="1"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9" name="îsḷíḑê">
              <a:extLst>
                <a:ext uri="{FF2B5EF4-FFF2-40B4-BE49-F238E27FC236}">
                  <a16:creationId xmlns:a16="http://schemas.microsoft.com/office/drawing/2014/main" id="{4942B760-2C43-4298-8A37-4ECD480203B6}"/>
                </a:ext>
              </a:extLst>
            </p:cNvPr>
            <p:cNvSpPr/>
            <p:nvPr/>
          </p:nvSpPr>
          <p:spPr bwMode="auto">
            <a:xfrm>
              <a:off x="7226300" y="3135313"/>
              <a:ext cx="385763" cy="555625"/>
            </a:xfrm>
            <a:custGeom>
              <a:avLst/>
              <a:gdLst>
                <a:gd name="T0" fmla="*/ 32 w 277"/>
                <a:gd name="T1" fmla="*/ 0 h 400"/>
                <a:gd name="T2" fmla="*/ 14 w 277"/>
                <a:gd name="T3" fmla="*/ 14 h 400"/>
                <a:gd name="T4" fmla="*/ 12 w 277"/>
                <a:gd name="T5" fmla="*/ 44 h 400"/>
                <a:gd name="T6" fmla="*/ 4 w 277"/>
                <a:gd name="T7" fmla="*/ 50 h 400"/>
                <a:gd name="T8" fmla="*/ 4 w 277"/>
                <a:gd name="T9" fmla="*/ 65 h 400"/>
                <a:gd name="T10" fmla="*/ 16 w 277"/>
                <a:gd name="T11" fmla="*/ 73 h 400"/>
                <a:gd name="T12" fmla="*/ 86 w 277"/>
                <a:gd name="T13" fmla="*/ 158 h 400"/>
                <a:gd name="T14" fmla="*/ 88 w 277"/>
                <a:gd name="T15" fmla="*/ 223 h 400"/>
                <a:gd name="T16" fmla="*/ 121 w 277"/>
                <a:gd name="T17" fmla="*/ 263 h 400"/>
                <a:gd name="T18" fmla="*/ 142 w 277"/>
                <a:gd name="T19" fmla="*/ 308 h 400"/>
                <a:gd name="T20" fmla="*/ 142 w 277"/>
                <a:gd name="T21" fmla="*/ 309 h 400"/>
                <a:gd name="T22" fmla="*/ 139 w 277"/>
                <a:gd name="T23" fmla="*/ 320 h 400"/>
                <a:gd name="T24" fmla="*/ 138 w 277"/>
                <a:gd name="T25" fmla="*/ 327 h 400"/>
                <a:gd name="T26" fmla="*/ 151 w 277"/>
                <a:gd name="T27" fmla="*/ 353 h 400"/>
                <a:gd name="T28" fmla="*/ 195 w 277"/>
                <a:gd name="T29" fmla="*/ 370 h 400"/>
                <a:gd name="T30" fmla="*/ 198 w 277"/>
                <a:gd name="T31" fmla="*/ 370 h 400"/>
                <a:gd name="T32" fmla="*/ 219 w 277"/>
                <a:gd name="T33" fmla="*/ 368 h 400"/>
                <a:gd name="T34" fmla="*/ 221 w 277"/>
                <a:gd name="T35" fmla="*/ 368 h 400"/>
                <a:gd name="T36" fmla="*/ 222 w 277"/>
                <a:gd name="T37" fmla="*/ 368 h 400"/>
                <a:gd name="T38" fmla="*/ 241 w 277"/>
                <a:gd name="T39" fmla="*/ 377 h 400"/>
                <a:gd name="T40" fmla="*/ 250 w 277"/>
                <a:gd name="T41" fmla="*/ 395 h 400"/>
                <a:gd name="T42" fmla="*/ 262 w 277"/>
                <a:gd name="T43" fmla="*/ 399 h 400"/>
                <a:gd name="T44" fmla="*/ 268 w 277"/>
                <a:gd name="T45" fmla="*/ 400 h 400"/>
                <a:gd name="T46" fmla="*/ 276 w 277"/>
                <a:gd name="T47" fmla="*/ 397 h 400"/>
                <a:gd name="T48" fmla="*/ 277 w 277"/>
                <a:gd name="T49" fmla="*/ 391 h 400"/>
                <a:gd name="T50" fmla="*/ 266 w 277"/>
                <a:gd name="T51" fmla="*/ 386 h 400"/>
                <a:gd name="T52" fmla="*/ 256 w 277"/>
                <a:gd name="T53" fmla="*/ 368 h 400"/>
                <a:gd name="T54" fmla="*/ 237 w 277"/>
                <a:gd name="T55" fmla="*/ 359 h 400"/>
                <a:gd name="T56" fmla="*/ 236 w 277"/>
                <a:gd name="T57" fmla="*/ 359 h 400"/>
                <a:gd name="T58" fmla="*/ 235 w 277"/>
                <a:gd name="T59" fmla="*/ 359 h 400"/>
                <a:gd name="T60" fmla="*/ 214 w 277"/>
                <a:gd name="T61" fmla="*/ 361 h 400"/>
                <a:gd name="T62" fmla="*/ 211 w 277"/>
                <a:gd name="T63" fmla="*/ 361 h 400"/>
                <a:gd name="T64" fmla="*/ 166 w 277"/>
                <a:gd name="T65" fmla="*/ 344 h 400"/>
                <a:gd name="T66" fmla="*/ 154 w 277"/>
                <a:gd name="T67" fmla="*/ 318 h 400"/>
                <a:gd name="T68" fmla="*/ 158 w 277"/>
                <a:gd name="T69" fmla="*/ 300 h 400"/>
                <a:gd name="T70" fmla="*/ 137 w 277"/>
                <a:gd name="T71" fmla="*/ 254 h 400"/>
                <a:gd name="T72" fmla="*/ 103 w 277"/>
                <a:gd name="T73" fmla="*/ 214 h 400"/>
                <a:gd name="T74" fmla="*/ 101 w 277"/>
                <a:gd name="T75" fmla="*/ 149 h 400"/>
                <a:gd name="T76" fmla="*/ 31 w 277"/>
                <a:gd name="T77" fmla="*/ 65 h 400"/>
                <a:gd name="T78" fmla="*/ 19 w 277"/>
                <a:gd name="T79" fmla="*/ 41 h 400"/>
                <a:gd name="T80" fmla="*/ 27 w 277"/>
                <a:gd name="T81" fmla="*/ 35 h 400"/>
                <a:gd name="T82" fmla="*/ 30 w 277"/>
                <a:gd name="T83" fmla="*/ 5 h 400"/>
                <a:gd name="T84" fmla="*/ 32 w 277"/>
                <a:gd name="T8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400">
                  <a:moveTo>
                    <a:pt x="32" y="0"/>
                  </a:moveTo>
                  <a:cubicBezTo>
                    <a:pt x="24" y="2"/>
                    <a:pt x="16" y="7"/>
                    <a:pt x="14" y="14"/>
                  </a:cubicBezTo>
                  <a:cubicBezTo>
                    <a:pt x="12" y="24"/>
                    <a:pt x="19" y="37"/>
                    <a:pt x="12" y="44"/>
                  </a:cubicBezTo>
                  <a:cubicBezTo>
                    <a:pt x="10" y="47"/>
                    <a:pt x="6" y="48"/>
                    <a:pt x="4" y="50"/>
                  </a:cubicBezTo>
                  <a:cubicBezTo>
                    <a:pt x="0" y="55"/>
                    <a:pt x="1" y="60"/>
                    <a:pt x="4" y="65"/>
                  </a:cubicBezTo>
                  <a:cubicBezTo>
                    <a:pt x="7" y="68"/>
                    <a:pt x="12" y="72"/>
                    <a:pt x="16" y="73"/>
                  </a:cubicBezTo>
                  <a:cubicBezTo>
                    <a:pt x="49" y="90"/>
                    <a:pt x="82" y="119"/>
                    <a:pt x="86" y="158"/>
                  </a:cubicBezTo>
                  <a:cubicBezTo>
                    <a:pt x="88" y="180"/>
                    <a:pt x="80" y="203"/>
                    <a:pt x="88" y="223"/>
                  </a:cubicBezTo>
                  <a:cubicBezTo>
                    <a:pt x="94" y="239"/>
                    <a:pt x="109" y="251"/>
                    <a:pt x="121" y="263"/>
                  </a:cubicBezTo>
                  <a:cubicBezTo>
                    <a:pt x="133" y="275"/>
                    <a:pt x="145" y="291"/>
                    <a:pt x="142" y="308"/>
                  </a:cubicBezTo>
                  <a:cubicBezTo>
                    <a:pt x="142" y="309"/>
                    <a:pt x="142" y="309"/>
                    <a:pt x="142" y="309"/>
                  </a:cubicBezTo>
                  <a:cubicBezTo>
                    <a:pt x="141" y="313"/>
                    <a:pt x="140" y="317"/>
                    <a:pt x="139" y="320"/>
                  </a:cubicBezTo>
                  <a:cubicBezTo>
                    <a:pt x="139" y="322"/>
                    <a:pt x="138" y="325"/>
                    <a:pt x="138" y="327"/>
                  </a:cubicBezTo>
                  <a:cubicBezTo>
                    <a:pt x="137" y="337"/>
                    <a:pt x="144" y="346"/>
                    <a:pt x="151" y="353"/>
                  </a:cubicBezTo>
                  <a:cubicBezTo>
                    <a:pt x="163" y="364"/>
                    <a:pt x="179" y="370"/>
                    <a:pt x="195" y="370"/>
                  </a:cubicBezTo>
                  <a:cubicBezTo>
                    <a:pt x="196" y="370"/>
                    <a:pt x="197" y="370"/>
                    <a:pt x="198" y="370"/>
                  </a:cubicBezTo>
                  <a:cubicBezTo>
                    <a:pt x="205" y="370"/>
                    <a:pt x="212" y="368"/>
                    <a:pt x="219" y="368"/>
                  </a:cubicBezTo>
                  <a:cubicBezTo>
                    <a:pt x="220" y="368"/>
                    <a:pt x="220" y="368"/>
                    <a:pt x="221" y="368"/>
                  </a:cubicBezTo>
                  <a:cubicBezTo>
                    <a:pt x="221" y="368"/>
                    <a:pt x="221" y="368"/>
                    <a:pt x="222" y="368"/>
                  </a:cubicBezTo>
                  <a:cubicBezTo>
                    <a:pt x="229" y="368"/>
                    <a:pt x="236" y="371"/>
                    <a:pt x="241" y="377"/>
                  </a:cubicBezTo>
                  <a:cubicBezTo>
                    <a:pt x="245" y="383"/>
                    <a:pt x="245" y="391"/>
                    <a:pt x="250" y="395"/>
                  </a:cubicBezTo>
                  <a:cubicBezTo>
                    <a:pt x="254" y="398"/>
                    <a:pt x="258" y="399"/>
                    <a:pt x="262" y="399"/>
                  </a:cubicBezTo>
                  <a:cubicBezTo>
                    <a:pt x="264" y="400"/>
                    <a:pt x="266" y="400"/>
                    <a:pt x="268" y="400"/>
                  </a:cubicBezTo>
                  <a:cubicBezTo>
                    <a:pt x="271" y="400"/>
                    <a:pt x="274" y="399"/>
                    <a:pt x="276" y="397"/>
                  </a:cubicBezTo>
                  <a:cubicBezTo>
                    <a:pt x="276" y="395"/>
                    <a:pt x="277" y="393"/>
                    <a:pt x="277" y="391"/>
                  </a:cubicBezTo>
                  <a:cubicBezTo>
                    <a:pt x="273" y="390"/>
                    <a:pt x="269" y="389"/>
                    <a:pt x="266" y="386"/>
                  </a:cubicBezTo>
                  <a:cubicBezTo>
                    <a:pt x="261" y="382"/>
                    <a:pt x="260" y="374"/>
                    <a:pt x="256" y="368"/>
                  </a:cubicBezTo>
                  <a:cubicBezTo>
                    <a:pt x="251" y="363"/>
                    <a:pt x="244" y="359"/>
                    <a:pt x="237" y="359"/>
                  </a:cubicBezTo>
                  <a:cubicBezTo>
                    <a:pt x="237" y="359"/>
                    <a:pt x="236" y="359"/>
                    <a:pt x="236" y="359"/>
                  </a:cubicBezTo>
                  <a:cubicBezTo>
                    <a:pt x="236" y="359"/>
                    <a:pt x="235" y="359"/>
                    <a:pt x="235" y="359"/>
                  </a:cubicBezTo>
                  <a:cubicBezTo>
                    <a:pt x="228" y="359"/>
                    <a:pt x="221" y="361"/>
                    <a:pt x="214" y="361"/>
                  </a:cubicBezTo>
                  <a:cubicBezTo>
                    <a:pt x="213" y="361"/>
                    <a:pt x="212" y="361"/>
                    <a:pt x="211" y="361"/>
                  </a:cubicBezTo>
                  <a:cubicBezTo>
                    <a:pt x="194" y="361"/>
                    <a:pt x="179" y="355"/>
                    <a:pt x="166" y="344"/>
                  </a:cubicBezTo>
                  <a:cubicBezTo>
                    <a:pt x="159" y="337"/>
                    <a:pt x="153" y="328"/>
                    <a:pt x="154" y="318"/>
                  </a:cubicBezTo>
                  <a:cubicBezTo>
                    <a:pt x="154" y="312"/>
                    <a:pt x="157" y="306"/>
                    <a:pt x="158" y="300"/>
                  </a:cubicBezTo>
                  <a:cubicBezTo>
                    <a:pt x="161" y="283"/>
                    <a:pt x="149" y="267"/>
                    <a:pt x="137" y="254"/>
                  </a:cubicBezTo>
                  <a:cubicBezTo>
                    <a:pt x="124" y="242"/>
                    <a:pt x="110" y="231"/>
                    <a:pt x="103" y="214"/>
                  </a:cubicBezTo>
                  <a:cubicBezTo>
                    <a:pt x="96" y="194"/>
                    <a:pt x="103" y="171"/>
                    <a:pt x="101" y="149"/>
                  </a:cubicBezTo>
                  <a:cubicBezTo>
                    <a:pt x="98" y="111"/>
                    <a:pt x="64" y="81"/>
                    <a:pt x="31" y="65"/>
                  </a:cubicBezTo>
                  <a:cubicBezTo>
                    <a:pt x="23" y="61"/>
                    <a:pt x="11" y="51"/>
                    <a:pt x="19" y="41"/>
                  </a:cubicBezTo>
                  <a:cubicBezTo>
                    <a:pt x="22" y="39"/>
                    <a:pt x="25" y="37"/>
                    <a:pt x="27" y="35"/>
                  </a:cubicBezTo>
                  <a:cubicBezTo>
                    <a:pt x="34" y="28"/>
                    <a:pt x="27" y="15"/>
                    <a:pt x="30" y="5"/>
                  </a:cubicBezTo>
                  <a:cubicBezTo>
                    <a:pt x="30" y="4"/>
                    <a:pt x="31" y="2"/>
                    <a:pt x="32"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0" name="ïṧḷiḑê">
              <a:extLst>
                <a:ext uri="{FF2B5EF4-FFF2-40B4-BE49-F238E27FC236}">
                  <a16:creationId xmlns:a16="http://schemas.microsoft.com/office/drawing/2014/main" id="{B90F8D5A-A449-4DE1-B86C-1CDC25192C6B}"/>
                </a:ext>
              </a:extLst>
            </p:cNvPr>
            <p:cNvSpPr/>
            <p:nvPr/>
          </p:nvSpPr>
          <p:spPr bwMode="auto">
            <a:xfrm>
              <a:off x="5846763" y="1104901"/>
              <a:ext cx="1493838" cy="2238375"/>
            </a:xfrm>
            <a:custGeom>
              <a:avLst/>
              <a:gdLst>
                <a:gd name="T0" fmla="*/ 676 w 1074"/>
                <a:gd name="T1" fmla="*/ 1611 h 1611"/>
                <a:gd name="T2" fmla="*/ 399 w 1074"/>
                <a:gd name="T3" fmla="*/ 1611 h 1611"/>
                <a:gd name="T4" fmla="*/ 399 w 1074"/>
                <a:gd name="T5" fmla="*/ 1338 h 1611"/>
                <a:gd name="T6" fmla="*/ 676 w 1074"/>
                <a:gd name="T7" fmla="*/ 1338 h 1611"/>
                <a:gd name="T8" fmla="*/ 676 w 1074"/>
                <a:gd name="T9" fmla="*/ 1611 h 1611"/>
                <a:gd name="T10" fmla="*/ 672 w 1074"/>
                <a:gd name="T11" fmla="*/ 1200 h 1611"/>
                <a:gd name="T12" fmla="*/ 403 w 1074"/>
                <a:gd name="T13" fmla="*/ 1200 h 1611"/>
                <a:gd name="T14" fmla="*/ 806 w 1074"/>
                <a:gd name="T15" fmla="*/ 533 h 1611"/>
                <a:gd name="T16" fmla="*/ 537 w 1074"/>
                <a:gd name="T17" fmla="*/ 267 h 1611"/>
                <a:gd name="T18" fmla="*/ 269 w 1074"/>
                <a:gd name="T19" fmla="*/ 537 h 1611"/>
                <a:gd name="T20" fmla="*/ 0 w 1074"/>
                <a:gd name="T21" fmla="*/ 537 h 1611"/>
                <a:gd name="T22" fmla="*/ 535 w 1074"/>
                <a:gd name="T23" fmla="*/ 0 h 1611"/>
                <a:gd name="T24" fmla="*/ 537 w 1074"/>
                <a:gd name="T25" fmla="*/ 0 h 1611"/>
                <a:gd name="T26" fmla="*/ 1074 w 1074"/>
                <a:gd name="T27" fmla="*/ 533 h 1611"/>
                <a:gd name="T28" fmla="*/ 671 w 1074"/>
                <a:gd name="T29" fmla="*/ 1200 h 1611"/>
                <a:gd name="T30" fmla="*/ 672 w 1074"/>
                <a:gd name="T31" fmla="*/ 1200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4" h="1611">
                  <a:moveTo>
                    <a:pt x="676" y="1611"/>
                  </a:moveTo>
                  <a:cubicBezTo>
                    <a:pt x="399" y="1611"/>
                    <a:pt x="399" y="1611"/>
                    <a:pt x="399" y="1611"/>
                  </a:cubicBezTo>
                  <a:cubicBezTo>
                    <a:pt x="399" y="1338"/>
                    <a:pt x="399" y="1338"/>
                    <a:pt x="399" y="1338"/>
                  </a:cubicBezTo>
                  <a:cubicBezTo>
                    <a:pt x="676" y="1338"/>
                    <a:pt x="676" y="1338"/>
                    <a:pt x="676" y="1338"/>
                  </a:cubicBezTo>
                  <a:lnTo>
                    <a:pt x="676" y="1611"/>
                  </a:lnTo>
                  <a:close/>
                  <a:moveTo>
                    <a:pt x="672" y="1200"/>
                  </a:moveTo>
                  <a:cubicBezTo>
                    <a:pt x="403" y="1200"/>
                    <a:pt x="403" y="1200"/>
                    <a:pt x="403" y="1200"/>
                  </a:cubicBezTo>
                  <a:cubicBezTo>
                    <a:pt x="403" y="776"/>
                    <a:pt x="806" y="801"/>
                    <a:pt x="806" y="533"/>
                  </a:cubicBezTo>
                  <a:cubicBezTo>
                    <a:pt x="806" y="385"/>
                    <a:pt x="685" y="267"/>
                    <a:pt x="537" y="267"/>
                  </a:cubicBezTo>
                  <a:cubicBezTo>
                    <a:pt x="389" y="267"/>
                    <a:pt x="269" y="394"/>
                    <a:pt x="269" y="537"/>
                  </a:cubicBezTo>
                  <a:cubicBezTo>
                    <a:pt x="0" y="537"/>
                    <a:pt x="0" y="537"/>
                    <a:pt x="0" y="537"/>
                  </a:cubicBezTo>
                  <a:cubicBezTo>
                    <a:pt x="0" y="241"/>
                    <a:pt x="239" y="0"/>
                    <a:pt x="535" y="0"/>
                  </a:cubicBezTo>
                  <a:cubicBezTo>
                    <a:pt x="536" y="0"/>
                    <a:pt x="536" y="0"/>
                    <a:pt x="537" y="0"/>
                  </a:cubicBezTo>
                  <a:cubicBezTo>
                    <a:pt x="834" y="0"/>
                    <a:pt x="1074" y="236"/>
                    <a:pt x="1074" y="533"/>
                  </a:cubicBezTo>
                  <a:cubicBezTo>
                    <a:pt x="1074" y="868"/>
                    <a:pt x="671" y="906"/>
                    <a:pt x="671" y="1200"/>
                  </a:cubicBezTo>
                  <a:lnTo>
                    <a:pt x="672" y="1200"/>
                  </a:lnTo>
                  <a:close/>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1" name="íŝḻídê">
              <a:extLst>
                <a:ext uri="{FF2B5EF4-FFF2-40B4-BE49-F238E27FC236}">
                  <a16:creationId xmlns:a16="http://schemas.microsoft.com/office/drawing/2014/main" id="{2D07E01F-0348-4368-9F82-340CE12C553A}"/>
                </a:ext>
              </a:extLst>
            </p:cNvPr>
            <p:cNvSpPr/>
            <p:nvPr/>
          </p:nvSpPr>
          <p:spPr bwMode="auto">
            <a:xfrm>
              <a:off x="4624388" y="2655888"/>
              <a:ext cx="384175" cy="573088"/>
            </a:xfrm>
            <a:custGeom>
              <a:avLst/>
              <a:gdLst>
                <a:gd name="T0" fmla="*/ 174 w 276"/>
                <a:gd name="T1" fmla="*/ 343 h 413"/>
                <a:gd name="T2" fmla="*/ 102 w 276"/>
                <a:gd name="T3" fmla="*/ 343 h 413"/>
                <a:gd name="T4" fmla="*/ 102 w 276"/>
                <a:gd name="T5" fmla="*/ 413 h 413"/>
                <a:gd name="T6" fmla="*/ 174 w 276"/>
                <a:gd name="T7" fmla="*/ 413 h 413"/>
                <a:gd name="T8" fmla="*/ 174 w 276"/>
                <a:gd name="T9" fmla="*/ 343 h 413"/>
                <a:gd name="T10" fmla="*/ 138 w 276"/>
                <a:gd name="T11" fmla="*/ 0 h 413"/>
                <a:gd name="T12" fmla="*/ 0 w 276"/>
                <a:gd name="T13" fmla="*/ 136 h 413"/>
                <a:gd name="T14" fmla="*/ 69 w 276"/>
                <a:gd name="T15" fmla="*/ 136 h 413"/>
                <a:gd name="T16" fmla="*/ 138 w 276"/>
                <a:gd name="T17" fmla="*/ 67 h 413"/>
                <a:gd name="T18" fmla="*/ 138 w 276"/>
                <a:gd name="T19" fmla="*/ 67 h 413"/>
                <a:gd name="T20" fmla="*/ 138 w 276"/>
                <a:gd name="T21" fmla="*/ 67 h 413"/>
                <a:gd name="T22" fmla="*/ 207 w 276"/>
                <a:gd name="T23" fmla="*/ 135 h 413"/>
                <a:gd name="T24" fmla="*/ 103 w 276"/>
                <a:gd name="T25" fmla="*/ 307 h 413"/>
                <a:gd name="T26" fmla="*/ 172 w 276"/>
                <a:gd name="T27" fmla="*/ 307 h 413"/>
                <a:gd name="T28" fmla="*/ 172 w 276"/>
                <a:gd name="T29" fmla="*/ 307 h 413"/>
                <a:gd name="T30" fmla="*/ 276 w 276"/>
                <a:gd name="T31" fmla="*/ 135 h 413"/>
                <a:gd name="T32" fmla="*/ 140 w 276"/>
                <a:gd name="T33" fmla="*/ 0 h 413"/>
                <a:gd name="T34" fmla="*/ 138 w 276"/>
                <a:gd name="T3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413">
                  <a:moveTo>
                    <a:pt x="174" y="343"/>
                  </a:moveTo>
                  <a:cubicBezTo>
                    <a:pt x="102" y="343"/>
                    <a:pt x="102" y="343"/>
                    <a:pt x="102" y="343"/>
                  </a:cubicBezTo>
                  <a:cubicBezTo>
                    <a:pt x="102" y="413"/>
                    <a:pt x="102" y="413"/>
                    <a:pt x="102" y="413"/>
                  </a:cubicBezTo>
                  <a:cubicBezTo>
                    <a:pt x="174" y="413"/>
                    <a:pt x="174" y="413"/>
                    <a:pt x="174" y="413"/>
                  </a:cubicBezTo>
                  <a:cubicBezTo>
                    <a:pt x="174" y="343"/>
                    <a:pt x="174" y="343"/>
                    <a:pt x="174" y="343"/>
                  </a:cubicBezTo>
                  <a:moveTo>
                    <a:pt x="138" y="0"/>
                  </a:moveTo>
                  <a:cubicBezTo>
                    <a:pt x="62" y="0"/>
                    <a:pt x="1" y="61"/>
                    <a:pt x="0" y="136"/>
                  </a:cubicBezTo>
                  <a:cubicBezTo>
                    <a:pt x="69" y="136"/>
                    <a:pt x="69" y="136"/>
                    <a:pt x="69" y="136"/>
                  </a:cubicBezTo>
                  <a:cubicBezTo>
                    <a:pt x="69" y="98"/>
                    <a:pt x="100" y="68"/>
                    <a:pt x="138" y="67"/>
                  </a:cubicBezTo>
                  <a:cubicBezTo>
                    <a:pt x="138" y="67"/>
                    <a:pt x="138" y="67"/>
                    <a:pt x="138" y="67"/>
                  </a:cubicBezTo>
                  <a:cubicBezTo>
                    <a:pt x="138" y="67"/>
                    <a:pt x="138" y="67"/>
                    <a:pt x="138" y="67"/>
                  </a:cubicBezTo>
                  <a:cubicBezTo>
                    <a:pt x="176" y="67"/>
                    <a:pt x="207" y="97"/>
                    <a:pt x="207" y="135"/>
                  </a:cubicBezTo>
                  <a:cubicBezTo>
                    <a:pt x="207" y="205"/>
                    <a:pt x="103" y="198"/>
                    <a:pt x="103" y="307"/>
                  </a:cubicBezTo>
                  <a:cubicBezTo>
                    <a:pt x="172" y="307"/>
                    <a:pt x="172" y="307"/>
                    <a:pt x="172" y="307"/>
                  </a:cubicBezTo>
                  <a:cubicBezTo>
                    <a:pt x="172" y="307"/>
                    <a:pt x="172" y="307"/>
                    <a:pt x="172" y="307"/>
                  </a:cubicBezTo>
                  <a:cubicBezTo>
                    <a:pt x="172" y="232"/>
                    <a:pt x="276" y="222"/>
                    <a:pt x="276" y="135"/>
                  </a:cubicBezTo>
                  <a:cubicBezTo>
                    <a:pt x="275" y="61"/>
                    <a:pt x="214" y="1"/>
                    <a:pt x="140" y="0"/>
                  </a:cubicBezTo>
                  <a:cubicBezTo>
                    <a:pt x="139" y="0"/>
                    <a:pt x="139" y="0"/>
                    <a:pt x="138" y="0"/>
                  </a:cubicBezTo>
                </a:path>
              </a:pathLst>
            </a:custGeom>
            <a:solidFill>
              <a:srgbClr val="4285F4">
                <a:alpha val="20000"/>
              </a:srgbClr>
            </a:solidFill>
            <a:ln>
              <a:noFill/>
            </a:ln>
          </p:spPr>
          <p:txBody>
            <a:bodyPr anchor="ctr"/>
            <a:lstStyle/>
            <a:p>
              <a:pPr algn="ctr"/>
              <a:endParaRPr/>
            </a:p>
          </p:txBody>
        </p:sp>
        <p:sp>
          <p:nvSpPr>
            <p:cNvPr id="152" name="ísļïḍé">
              <a:extLst>
                <a:ext uri="{FF2B5EF4-FFF2-40B4-BE49-F238E27FC236}">
                  <a16:creationId xmlns:a16="http://schemas.microsoft.com/office/drawing/2014/main" id="{606B516E-1B8A-4821-AC19-73F089F88CFC}"/>
                </a:ext>
              </a:extLst>
            </p:cNvPr>
            <p:cNvSpPr/>
            <p:nvPr/>
          </p:nvSpPr>
          <p:spPr bwMode="auto">
            <a:xfrm>
              <a:off x="5376863" y="3335338"/>
              <a:ext cx="384175" cy="574675"/>
            </a:xfrm>
            <a:custGeom>
              <a:avLst/>
              <a:gdLst>
                <a:gd name="T0" fmla="*/ 174 w 277"/>
                <a:gd name="T1" fmla="*/ 343 h 413"/>
                <a:gd name="T2" fmla="*/ 103 w 277"/>
                <a:gd name="T3" fmla="*/ 343 h 413"/>
                <a:gd name="T4" fmla="*/ 103 w 277"/>
                <a:gd name="T5" fmla="*/ 413 h 413"/>
                <a:gd name="T6" fmla="*/ 174 w 277"/>
                <a:gd name="T7" fmla="*/ 413 h 413"/>
                <a:gd name="T8" fmla="*/ 174 w 277"/>
                <a:gd name="T9" fmla="*/ 343 h 413"/>
                <a:gd name="T10" fmla="*/ 138 w 277"/>
                <a:gd name="T11" fmla="*/ 0 h 413"/>
                <a:gd name="T12" fmla="*/ 0 w 277"/>
                <a:gd name="T13" fmla="*/ 136 h 413"/>
                <a:gd name="T14" fmla="*/ 69 w 277"/>
                <a:gd name="T15" fmla="*/ 136 h 413"/>
                <a:gd name="T16" fmla="*/ 138 w 277"/>
                <a:gd name="T17" fmla="*/ 67 h 413"/>
                <a:gd name="T18" fmla="*/ 138 w 277"/>
                <a:gd name="T19" fmla="*/ 67 h 413"/>
                <a:gd name="T20" fmla="*/ 139 w 277"/>
                <a:gd name="T21" fmla="*/ 67 h 413"/>
                <a:gd name="T22" fmla="*/ 207 w 277"/>
                <a:gd name="T23" fmla="*/ 135 h 413"/>
                <a:gd name="T24" fmla="*/ 104 w 277"/>
                <a:gd name="T25" fmla="*/ 307 h 413"/>
                <a:gd name="T26" fmla="*/ 173 w 277"/>
                <a:gd name="T27" fmla="*/ 307 h 413"/>
                <a:gd name="T28" fmla="*/ 276 w 277"/>
                <a:gd name="T29" fmla="*/ 135 h 413"/>
                <a:gd name="T30" fmla="*/ 140 w 277"/>
                <a:gd name="T31" fmla="*/ 0 h 413"/>
                <a:gd name="T32" fmla="*/ 138 w 277"/>
                <a:gd name="T33"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13">
                  <a:moveTo>
                    <a:pt x="174" y="343"/>
                  </a:moveTo>
                  <a:cubicBezTo>
                    <a:pt x="103" y="343"/>
                    <a:pt x="103" y="343"/>
                    <a:pt x="103" y="343"/>
                  </a:cubicBezTo>
                  <a:cubicBezTo>
                    <a:pt x="103" y="413"/>
                    <a:pt x="103" y="413"/>
                    <a:pt x="103" y="413"/>
                  </a:cubicBezTo>
                  <a:cubicBezTo>
                    <a:pt x="174" y="413"/>
                    <a:pt x="174" y="413"/>
                    <a:pt x="174" y="413"/>
                  </a:cubicBezTo>
                  <a:cubicBezTo>
                    <a:pt x="174" y="343"/>
                    <a:pt x="174" y="343"/>
                    <a:pt x="174" y="343"/>
                  </a:cubicBezTo>
                  <a:moveTo>
                    <a:pt x="138" y="0"/>
                  </a:moveTo>
                  <a:cubicBezTo>
                    <a:pt x="62" y="0"/>
                    <a:pt x="1" y="60"/>
                    <a:pt x="0" y="136"/>
                  </a:cubicBezTo>
                  <a:cubicBezTo>
                    <a:pt x="69" y="136"/>
                    <a:pt x="69" y="136"/>
                    <a:pt x="69" y="136"/>
                  </a:cubicBezTo>
                  <a:cubicBezTo>
                    <a:pt x="69" y="98"/>
                    <a:pt x="100" y="67"/>
                    <a:pt x="138" y="67"/>
                  </a:cubicBezTo>
                  <a:cubicBezTo>
                    <a:pt x="138" y="67"/>
                    <a:pt x="138" y="67"/>
                    <a:pt x="138" y="67"/>
                  </a:cubicBezTo>
                  <a:cubicBezTo>
                    <a:pt x="138" y="67"/>
                    <a:pt x="139" y="67"/>
                    <a:pt x="139" y="67"/>
                  </a:cubicBezTo>
                  <a:cubicBezTo>
                    <a:pt x="176" y="67"/>
                    <a:pt x="207" y="97"/>
                    <a:pt x="207" y="135"/>
                  </a:cubicBezTo>
                  <a:cubicBezTo>
                    <a:pt x="207" y="204"/>
                    <a:pt x="104" y="198"/>
                    <a:pt x="104" y="307"/>
                  </a:cubicBezTo>
                  <a:cubicBezTo>
                    <a:pt x="173" y="307"/>
                    <a:pt x="173" y="307"/>
                    <a:pt x="173" y="307"/>
                  </a:cubicBezTo>
                  <a:cubicBezTo>
                    <a:pt x="173" y="231"/>
                    <a:pt x="277" y="222"/>
                    <a:pt x="276" y="135"/>
                  </a:cubicBezTo>
                  <a:cubicBezTo>
                    <a:pt x="275" y="60"/>
                    <a:pt x="214" y="1"/>
                    <a:pt x="140" y="0"/>
                  </a:cubicBezTo>
                  <a:cubicBezTo>
                    <a:pt x="139" y="0"/>
                    <a:pt x="139" y="0"/>
                    <a:pt x="138" y="0"/>
                  </a:cubicBezTo>
                </a:path>
              </a:pathLst>
            </a:custGeom>
            <a:solidFill>
              <a:srgbClr val="4285F4">
                <a:alpha val="20000"/>
              </a:srgbClr>
            </a:solidFill>
            <a:ln>
              <a:noFill/>
            </a:ln>
          </p:spPr>
          <p:txBody>
            <a:bodyPr anchor="ctr"/>
            <a:lstStyle/>
            <a:p>
              <a:pPr algn="ctr"/>
              <a:endParaRPr/>
            </a:p>
          </p:txBody>
        </p:sp>
        <p:sp>
          <p:nvSpPr>
            <p:cNvPr id="153" name="îṡlíďê">
              <a:extLst>
                <a:ext uri="{FF2B5EF4-FFF2-40B4-BE49-F238E27FC236}">
                  <a16:creationId xmlns:a16="http://schemas.microsoft.com/office/drawing/2014/main" id="{5458CC67-6606-49BB-A8C1-87BC69B260B6}"/>
                </a:ext>
              </a:extLst>
            </p:cNvPr>
            <p:cNvSpPr/>
            <p:nvPr/>
          </p:nvSpPr>
          <p:spPr bwMode="auto">
            <a:xfrm>
              <a:off x="5899150" y="2287588"/>
              <a:ext cx="279400" cy="417513"/>
            </a:xfrm>
            <a:custGeom>
              <a:avLst/>
              <a:gdLst>
                <a:gd name="T0" fmla="*/ 126 w 201"/>
                <a:gd name="T1" fmla="*/ 250 h 301"/>
                <a:gd name="T2" fmla="*/ 75 w 201"/>
                <a:gd name="T3" fmla="*/ 250 h 301"/>
                <a:gd name="T4" fmla="*/ 75 w 201"/>
                <a:gd name="T5" fmla="*/ 301 h 301"/>
                <a:gd name="T6" fmla="*/ 126 w 201"/>
                <a:gd name="T7" fmla="*/ 301 h 301"/>
                <a:gd name="T8" fmla="*/ 126 w 201"/>
                <a:gd name="T9" fmla="*/ 250 h 301"/>
                <a:gd name="T10" fmla="*/ 101 w 201"/>
                <a:gd name="T11" fmla="*/ 0 h 301"/>
                <a:gd name="T12" fmla="*/ 100 w 201"/>
                <a:gd name="T13" fmla="*/ 0 h 301"/>
                <a:gd name="T14" fmla="*/ 0 w 201"/>
                <a:gd name="T15" fmla="*/ 101 h 301"/>
                <a:gd name="T16" fmla="*/ 50 w 201"/>
                <a:gd name="T17" fmla="*/ 101 h 301"/>
                <a:gd name="T18" fmla="*/ 101 w 201"/>
                <a:gd name="T19" fmla="*/ 50 h 301"/>
                <a:gd name="T20" fmla="*/ 101 w 201"/>
                <a:gd name="T21" fmla="*/ 50 h 301"/>
                <a:gd name="T22" fmla="*/ 101 w 201"/>
                <a:gd name="T23" fmla="*/ 50 h 301"/>
                <a:gd name="T24" fmla="*/ 151 w 201"/>
                <a:gd name="T25" fmla="*/ 100 h 301"/>
                <a:gd name="T26" fmla="*/ 76 w 201"/>
                <a:gd name="T27" fmla="*/ 224 h 301"/>
                <a:gd name="T28" fmla="*/ 126 w 201"/>
                <a:gd name="T29" fmla="*/ 224 h 301"/>
                <a:gd name="T30" fmla="*/ 201 w 201"/>
                <a:gd name="T31" fmla="*/ 100 h 301"/>
                <a:gd name="T32" fmla="*/ 101 w 201"/>
                <a:gd name="T3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301">
                  <a:moveTo>
                    <a:pt x="126" y="250"/>
                  </a:moveTo>
                  <a:cubicBezTo>
                    <a:pt x="75" y="250"/>
                    <a:pt x="75" y="250"/>
                    <a:pt x="75" y="250"/>
                  </a:cubicBezTo>
                  <a:cubicBezTo>
                    <a:pt x="75" y="301"/>
                    <a:pt x="75" y="301"/>
                    <a:pt x="75" y="301"/>
                  </a:cubicBezTo>
                  <a:cubicBezTo>
                    <a:pt x="126" y="301"/>
                    <a:pt x="126" y="301"/>
                    <a:pt x="126" y="301"/>
                  </a:cubicBezTo>
                  <a:cubicBezTo>
                    <a:pt x="126" y="250"/>
                    <a:pt x="126" y="250"/>
                    <a:pt x="126" y="250"/>
                  </a:cubicBezTo>
                  <a:moveTo>
                    <a:pt x="101" y="0"/>
                  </a:moveTo>
                  <a:cubicBezTo>
                    <a:pt x="100" y="0"/>
                    <a:pt x="100" y="0"/>
                    <a:pt x="100" y="0"/>
                  </a:cubicBezTo>
                  <a:cubicBezTo>
                    <a:pt x="45" y="0"/>
                    <a:pt x="0" y="45"/>
                    <a:pt x="0" y="101"/>
                  </a:cubicBezTo>
                  <a:cubicBezTo>
                    <a:pt x="50" y="101"/>
                    <a:pt x="50" y="101"/>
                    <a:pt x="50" y="101"/>
                  </a:cubicBezTo>
                  <a:cubicBezTo>
                    <a:pt x="51" y="73"/>
                    <a:pt x="73" y="51"/>
                    <a:pt x="101" y="50"/>
                  </a:cubicBezTo>
                  <a:cubicBezTo>
                    <a:pt x="101" y="50"/>
                    <a:pt x="101" y="50"/>
                    <a:pt x="101" y="50"/>
                  </a:cubicBezTo>
                  <a:cubicBezTo>
                    <a:pt x="101" y="50"/>
                    <a:pt x="101" y="50"/>
                    <a:pt x="101" y="50"/>
                  </a:cubicBezTo>
                  <a:cubicBezTo>
                    <a:pt x="128" y="50"/>
                    <a:pt x="151" y="72"/>
                    <a:pt x="151" y="100"/>
                  </a:cubicBezTo>
                  <a:cubicBezTo>
                    <a:pt x="151" y="150"/>
                    <a:pt x="76" y="145"/>
                    <a:pt x="76" y="224"/>
                  </a:cubicBezTo>
                  <a:cubicBezTo>
                    <a:pt x="126" y="224"/>
                    <a:pt x="126" y="224"/>
                    <a:pt x="126" y="224"/>
                  </a:cubicBezTo>
                  <a:cubicBezTo>
                    <a:pt x="126" y="170"/>
                    <a:pt x="201" y="162"/>
                    <a:pt x="201" y="100"/>
                  </a:cubicBezTo>
                  <a:cubicBezTo>
                    <a:pt x="201" y="45"/>
                    <a:pt x="156" y="0"/>
                    <a:pt x="101" y="0"/>
                  </a:cubicBezTo>
                </a:path>
              </a:pathLst>
            </a:custGeom>
            <a:solidFill>
              <a:srgbClr val="4285F4">
                <a:alpha val="20000"/>
              </a:srgbClr>
            </a:solidFill>
            <a:ln>
              <a:noFill/>
            </a:ln>
          </p:spPr>
          <p:txBody>
            <a:bodyPr anchor="ctr"/>
            <a:lstStyle/>
            <a:p>
              <a:pPr algn="ctr"/>
              <a:endParaRPr/>
            </a:p>
          </p:txBody>
        </p:sp>
        <p:sp>
          <p:nvSpPr>
            <p:cNvPr id="154" name="ïşľîḑê">
              <a:extLst>
                <a:ext uri="{FF2B5EF4-FFF2-40B4-BE49-F238E27FC236}">
                  <a16:creationId xmlns:a16="http://schemas.microsoft.com/office/drawing/2014/main" id="{3A53E740-F289-48E0-A883-45072325A891}"/>
                </a:ext>
              </a:extLst>
            </p:cNvPr>
            <p:cNvSpPr/>
            <p:nvPr/>
          </p:nvSpPr>
          <p:spPr bwMode="auto">
            <a:xfrm>
              <a:off x="7204075" y="2570163"/>
              <a:ext cx="158750" cy="234950"/>
            </a:xfrm>
            <a:custGeom>
              <a:avLst/>
              <a:gdLst>
                <a:gd name="T0" fmla="*/ 72 w 114"/>
                <a:gd name="T1" fmla="*/ 140 h 169"/>
                <a:gd name="T2" fmla="*/ 43 w 114"/>
                <a:gd name="T3" fmla="*/ 140 h 169"/>
                <a:gd name="T4" fmla="*/ 43 w 114"/>
                <a:gd name="T5" fmla="*/ 169 h 169"/>
                <a:gd name="T6" fmla="*/ 72 w 114"/>
                <a:gd name="T7" fmla="*/ 169 h 169"/>
                <a:gd name="T8" fmla="*/ 72 w 114"/>
                <a:gd name="T9" fmla="*/ 140 h 169"/>
                <a:gd name="T10" fmla="*/ 57 w 114"/>
                <a:gd name="T11" fmla="*/ 0 h 169"/>
                <a:gd name="T12" fmla="*/ 0 w 114"/>
                <a:gd name="T13" fmla="*/ 56 h 169"/>
                <a:gd name="T14" fmla="*/ 29 w 114"/>
                <a:gd name="T15" fmla="*/ 56 h 169"/>
                <a:gd name="T16" fmla="*/ 57 w 114"/>
                <a:gd name="T17" fmla="*/ 27 h 169"/>
                <a:gd name="T18" fmla="*/ 57 w 114"/>
                <a:gd name="T19" fmla="*/ 27 h 169"/>
                <a:gd name="T20" fmla="*/ 85 w 114"/>
                <a:gd name="T21" fmla="*/ 55 h 169"/>
                <a:gd name="T22" fmla="*/ 43 w 114"/>
                <a:gd name="T23" fmla="*/ 126 h 169"/>
                <a:gd name="T24" fmla="*/ 71 w 114"/>
                <a:gd name="T25" fmla="*/ 126 h 169"/>
                <a:gd name="T26" fmla="*/ 114 w 114"/>
                <a:gd name="T27" fmla="*/ 55 h 169"/>
                <a:gd name="T28" fmla="*/ 58 w 114"/>
                <a:gd name="T29" fmla="*/ 0 h 169"/>
                <a:gd name="T30" fmla="*/ 57 w 114"/>
                <a:gd name="T3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9">
                  <a:moveTo>
                    <a:pt x="72" y="140"/>
                  </a:moveTo>
                  <a:cubicBezTo>
                    <a:pt x="43" y="140"/>
                    <a:pt x="43" y="140"/>
                    <a:pt x="43" y="140"/>
                  </a:cubicBezTo>
                  <a:cubicBezTo>
                    <a:pt x="43" y="169"/>
                    <a:pt x="43" y="169"/>
                    <a:pt x="43" y="169"/>
                  </a:cubicBezTo>
                  <a:cubicBezTo>
                    <a:pt x="72" y="169"/>
                    <a:pt x="72" y="169"/>
                    <a:pt x="72" y="169"/>
                  </a:cubicBezTo>
                  <a:cubicBezTo>
                    <a:pt x="72" y="140"/>
                    <a:pt x="72" y="140"/>
                    <a:pt x="72" y="140"/>
                  </a:cubicBezTo>
                  <a:moveTo>
                    <a:pt x="57" y="0"/>
                  </a:moveTo>
                  <a:cubicBezTo>
                    <a:pt x="26" y="0"/>
                    <a:pt x="1" y="25"/>
                    <a:pt x="0" y="56"/>
                  </a:cubicBezTo>
                  <a:cubicBezTo>
                    <a:pt x="29" y="56"/>
                    <a:pt x="29" y="56"/>
                    <a:pt x="29" y="56"/>
                  </a:cubicBezTo>
                  <a:cubicBezTo>
                    <a:pt x="29" y="40"/>
                    <a:pt x="41" y="28"/>
                    <a:pt x="57" y="27"/>
                  </a:cubicBezTo>
                  <a:cubicBezTo>
                    <a:pt x="57" y="27"/>
                    <a:pt x="57" y="27"/>
                    <a:pt x="57" y="27"/>
                  </a:cubicBezTo>
                  <a:cubicBezTo>
                    <a:pt x="73" y="27"/>
                    <a:pt x="85" y="40"/>
                    <a:pt x="85" y="55"/>
                  </a:cubicBezTo>
                  <a:cubicBezTo>
                    <a:pt x="85" y="84"/>
                    <a:pt x="43" y="81"/>
                    <a:pt x="43" y="126"/>
                  </a:cubicBezTo>
                  <a:cubicBezTo>
                    <a:pt x="71" y="126"/>
                    <a:pt x="71" y="126"/>
                    <a:pt x="71" y="126"/>
                  </a:cubicBezTo>
                  <a:cubicBezTo>
                    <a:pt x="71" y="95"/>
                    <a:pt x="114" y="90"/>
                    <a:pt x="114" y="55"/>
                  </a:cubicBezTo>
                  <a:cubicBezTo>
                    <a:pt x="113" y="25"/>
                    <a:pt x="88" y="1"/>
                    <a:pt x="58" y="0"/>
                  </a:cubicBezTo>
                  <a:cubicBezTo>
                    <a:pt x="58" y="0"/>
                    <a:pt x="57" y="0"/>
                    <a:pt x="57" y="0"/>
                  </a:cubicBezTo>
                </a:path>
              </a:pathLst>
            </a:custGeom>
            <a:solidFill>
              <a:srgbClr val="4285F4">
                <a:alpha val="20000"/>
              </a:srgbClr>
            </a:solidFill>
            <a:ln>
              <a:noFill/>
            </a:ln>
          </p:spPr>
          <p:txBody>
            <a:bodyPr anchor="ctr"/>
            <a:lstStyle/>
            <a:p>
              <a:pPr algn="ctr"/>
              <a:endParaRPr/>
            </a:p>
          </p:txBody>
        </p:sp>
        <p:sp>
          <p:nvSpPr>
            <p:cNvPr id="155" name="işlíḍè">
              <a:extLst>
                <a:ext uri="{FF2B5EF4-FFF2-40B4-BE49-F238E27FC236}">
                  <a16:creationId xmlns:a16="http://schemas.microsoft.com/office/drawing/2014/main" id="{4C907F72-52D8-4622-A8FB-B7CD5AF51B13}"/>
                </a:ext>
              </a:extLst>
            </p:cNvPr>
            <p:cNvSpPr/>
            <p:nvPr/>
          </p:nvSpPr>
          <p:spPr bwMode="auto">
            <a:xfrm>
              <a:off x="7827963" y="4391026"/>
              <a:ext cx="157163" cy="234950"/>
            </a:xfrm>
            <a:custGeom>
              <a:avLst/>
              <a:gdLst>
                <a:gd name="T0" fmla="*/ 71 w 113"/>
                <a:gd name="T1" fmla="*/ 140 h 169"/>
                <a:gd name="T2" fmla="*/ 42 w 113"/>
                <a:gd name="T3" fmla="*/ 140 h 169"/>
                <a:gd name="T4" fmla="*/ 42 w 113"/>
                <a:gd name="T5" fmla="*/ 169 h 169"/>
                <a:gd name="T6" fmla="*/ 71 w 113"/>
                <a:gd name="T7" fmla="*/ 169 h 169"/>
                <a:gd name="T8" fmla="*/ 71 w 113"/>
                <a:gd name="T9" fmla="*/ 140 h 169"/>
                <a:gd name="T10" fmla="*/ 56 w 113"/>
                <a:gd name="T11" fmla="*/ 0 h 169"/>
                <a:gd name="T12" fmla="*/ 0 w 113"/>
                <a:gd name="T13" fmla="*/ 56 h 169"/>
                <a:gd name="T14" fmla="*/ 28 w 113"/>
                <a:gd name="T15" fmla="*/ 56 h 169"/>
                <a:gd name="T16" fmla="*/ 56 w 113"/>
                <a:gd name="T17" fmla="*/ 27 h 169"/>
                <a:gd name="T18" fmla="*/ 56 w 113"/>
                <a:gd name="T19" fmla="*/ 27 h 169"/>
                <a:gd name="T20" fmla="*/ 85 w 113"/>
                <a:gd name="T21" fmla="*/ 55 h 169"/>
                <a:gd name="T22" fmla="*/ 42 w 113"/>
                <a:gd name="T23" fmla="*/ 126 h 169"/>
                <a:gd name="T24" fmla="*/ 70 w 113"/>
                <a:gd name="T25" fmla="*/ 126 h 169"/>
                <a:gd name="T26" fmla="*/ 71 w 113"/>
                <a:gd name="T27" fmla="*/ 126 h 169"/>
                <a:gd name="T28" fmla="*/ 113 w 113"/>
                <a:gd name="T29" fmla="*/ 55 h 169"/>
                <a:gd name="T30" fmla="*/ 57 w 113"/>
                <a:gd name="T31" fmla="*/ 0 h 169"/>
                <a:gd name="T32" fmla="*/ 56 w 113"/>
                <a:gd name="T3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69">
                  <a:moveTo>
                    <a:pt x="71" y="140"/>
                  </a:moveTo>
                  <a:cubicBezTo>
                    <a:pt x="42" y="140"/>
                    <a:pt x="42" y="140"/>
                    <a:pt x="42" y="140"/>
                  </a:cubicBezTo>
                  <a:cubicBezTo>
                    <a:pt x="42" y="169"/>
                    <a:pt x="42" y="169"/>
                    <a:pt x="42" y="169"/>
                  </a:cubicBezTo>
                  <a:cubicBezTo>
                    <a:pt x="71" y="169"/>
                    <a:pt x="71" y="169"/>
                    <a:pt x="71" y="169"/>
                  </a:cubicBezTo>
                  <a:cubicBezTo>
                    <a:pt x="71" y="140"/>
                    <a:pt x="71" y="140"/>
                    <a:pt x="71" y="140"/>
                  </a:cubicBezTo>
                  <a:moveTo>
                    <a:pt x="56" y="0"/>
                  </a:moveTo>
                  <a:cubicBezTo>
                    <a:pt x="25" y="0"/>
                    <a:pt x="0" y="25"/>
                    <a:pt x="0" y="56"/>
                  </a:cubicBezTo>
                  <a:cubicBezTo>
                    <a:pt x="28" y="56"/>
                    <a:pt x="28" y="56"/>
                    <a:pt x="28" y="56"/>
                  </a:cubicBezTo>
                  <a:cubicBezTo>
                    <a:pt x="28" y="40"/>
                    <a:pt x="41" y="27"/>
                    <a:pt x="56" y="27"/>
                  </a:cubicBezTo>
                  <a:cubicBezTo>
                    <a:pt x="56" y="27"/>
                    <a:pt x="56" y="27"/>
                    <a:pt x="56" y="27"/>
                  </a:cubicBezTo>
                  <a:cubicBezTo>
                    <a:pt x="72" y="27"/>
                    <a:pt x="84" y="40"/>
                    <a:pt x="85" y="55"/>
                  </a:cubicBezTo>
                  <a:cubicBezTo>
                    <a:pt x="85" y="83"/>
                    <a:pt x="42" y="81"/>
                    <a:pt x="42" y="126"/>
                  </a:cubicBezTo>
                  <a:cubicBezTo>
                    <a:pt x="70" y="126"/>
                    <a:pt x="70" y="126"/>
                    <a:pt x="70" y="126"/>
                  </a:cubicBezTo>
                  <a:cubicBezTo>
                    <a:pt x="71" y="126"/>
                    <a:pt x="71" y="126"/>
                    <a:pt x="71" y="126"/>
                  </a:cubicBezTo>
                  <a:cubicBezTo>
                    <a:pt x="71" y="95"/>
                    <a:pt x="113" y="90"/>
                    <a:pt x="113" y="55"/>
                  </a:cubicBezTo>
                  <a:cubicBezTo>
                    <a:pt x="112" y="25"/>
                    <a:pt x="88" y="1"/>
                    <a:pt x="57" y="0"/>
                  </a:cubicBezTo>
                  <a:cubicBezTo>
                    <a:pt x="57" y="0"/>
                    <a:pt x="57" y="0"/>
                    <a:pt x="56" y="0"/>
                  </a:cubicBezTo>
                </a:path>
              </a:pathLst>
            </a:custGeom>
            <a:solidFill>
              <a:srgbClr val="4285F4">
                <a:alpha val="20000"/>
              </a:srgbClr>
            </a:solidFill>
            <a:ln>
              <a:noFill/>
            </a:ln>
          </p:spPr>
          <p:txBody>
            <a:bodyPr anchor="ctr"/>
            <a:lstStyle/>
            <a:p>
              <a:pPr algn="ctr"/>
              <a:endParaRPr/>
            </a:p>
          </p:txBody>
        </p:sp>
      </p:grpSp>
      <p:grpSp>
        <p:nvGrpSpPr>
          <p:cNvPr id="3" name="组合 2">
            <a:extLst>
              <a:ext uri="{FF2B5EF4-FFF2-40B4-BE49-F238E27FC236}">
                <a16:creationId xmlns:a16="http://schemas.microsoft.com/office/drawing/2014/main" id="{469890F3-BB80-45EA-8350-3F76126EE7CB}"/>
              </a:ext>
            </a:extLst>
          </p:cNvPr>
          <p:cNvGrpSpPr/>
          <p:nvPr/>
        </p:nvGrpSpPr>
        <p:grpSpPr>
          <a:xfrm>
            <a:off x="1325094" y="1684365"/>
            <a:ext cx="4532123" cy="1684621"/>
            <a:chOff x="1325094" y="1684365"/>
            <a:chExt cx="4532123" cy="1684621"/>
          </a:xfrm>
        </p:grpSpPr>
        <p:grpSp>
          <p:nvGrpSpPr>
            <p:cNvPr id="174" name="iś1îdè">
              <a:extLst>
                <a:ext uri="{FF2B5EF4-FFF2-40B4-BE49-F238E27FC236}">
                  <a16:creationId xmlns:a16="http://schemas.microsoft.com/office/drawing/2014/main" id="{CF23E8A6-DB77-41BA-BEF6-2F16D3F43B52}"/>
                </a:ext>
              </a:extLst>
            </p:cNvPr>
            <p:cNvGrpSpPr/>
            <p:nvPr/>
          </p:nvGrpSpPr>
          <p:grpSpPr>
            <a:xfrm>
              <a:off x="1325094" y="1684365"/>
              <a:ext cx="4532123" cy="1684621"/>
              <a:chOff x="6986777" y="1486237"/>
              <a:chExt cx="4532123" cy="1684621"/>
            </a:xfrm>
          </p:grpSpPr>
          <p:sp>
            <p:nvSpPr>
              <p:cNvPr id="175" name="îṣḻïḋé">
                <a:extLst>
                  <a:ext uri="{FF2B5EF4-FFF2-40B4-BE49-F238E27FC236}">
                    <a16:creationId xmlns:a16="http://schemas.microsoft.com/office/drawing/2014/main" id="{0E6E4641-0B00-4365-9B84-D04406AA3FA0}"/>
                  </a:ext>
                </a:extLst>
              </p:cNvPr>
              <p:cNvSpPr txBox="1"/>
              <p:nvPr/>
            </p:nvSpPr>
            <p:spPr bwMode="auto">
              <a:xfrm>
                <a:off x="6986777" y="2741091"/>
                <a:ext cx="1185419" cy="429767"/>
              </a:xfrm>
              <a:prstGeom prst="roundRect">
                <a:avLst>
                  <a:gd name="adj" fmla="val 50000"/>
                </a:avLst>
              </a:prstGeom>
              <a:solidFill>
                <a:srgbClr val="FF6969"/>
              </a:solidFill>
              <a:ln>
                <a:noFill/>
              </a:ln>
            </p:spPr>
            <p:txBody>
              <a:bodyPr wrap="none" lIns="90000" tIns="46800" rIns="90000" bIns="4680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endParaRPr lang="en-US" altLang="zh-CN" sz="1200" dirty="0">
                  <a:solidFill>
                    <a:schemeClr val="bg1"/>
                  </a:solidFill>
                </a:endParaRPr>
              </a:p>
            </p:txBody>
          </p:sp>
          <p:grpSp>
            <p:nvGrpSpPr>
              <p:cNvPr id="176" name="îṩlíḓé">
                <a:extLst>
                  <a:ext uri="{FF2B5EF4-FFF2-40B4-BE49-F238E27FC236}">
                    <a16:creationId xmlns:a16="http://schemas.microsoft.com/office/drawing/2014/main" id="{07C8E242-E664-4495-B37A-80533153CC79}"/>
                  </a:ext>
                </a:extLst>
              </p:cNvPr>
              <p:cNvGrpSpPr/>
              <p:nvPr/>
            </p:nvGrpSpPr>
            <p:grpSpPr>
              <a:xfrm>
                <a:off x="6986777" y="1486237"/>
                <a:ext cx="4532123" cy="958431"/>
                <a:chOff x="6986777" y="1486237"/>
                <a:chExt cx="4532123" cy="958431"/>
              </a:xfrm>
            </p:grpSpPr>
            <p:sp>
              <p:nvSpPr>
                <p:cNvPr id="177" name="îṧ1ïḍe">
                  <a:extLst>
                    <a:ext uri="{FF2B5EF4-FFF2-40B4-BE49-F238E27FC236}">
                      <a16:creationId xmlns:a16="http://schemas.microsoft.com/office/drawing/2014/main" id="{FD447177-6905-43EF-9469-6E9F1F884124}"/>
                    </a:ext>
                  </a:extLst>
                </p:cNvPr>
                <p:cNvSpPr/>
                <p:nvPr/>
              </p:nvSpPr>
              <p:spPr bwMode="auto">
                <a:xfrm>
                  <a:off x="6986777" y="1785526"/>
                  <a:ext cx="4532123" cy="65914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spcBef>
                      <a:spcPct val="0"/>
                    </a:spcBef>
                  </a:pPr>
                  <a:r>
                    <a:rPr lang="en-US" altLang="zh-CN" sz="1100" dirty="0" err="1"/>
                    <a:t>ePAD</a:t>
                  </a:r>
                  <a:r>
                    <a:rPr lang="zh-CN" altLang="en-US" sz="1100" dirty="0"/>
                    <a:t>恢复设计模式实例的可靠性极大地影响了获得结果的可靠性。少数可用工具不允许更改设计模式定义。 此外，获得的结果也可能会受到评估恢复实例的手动验证的影响。 为了减轻这个问题，应该与其他实验者获得的结果进行比较。</a:t>
                  </a:r>
                  <a:endParaRPr lang="en-US" altLang="zh-CN" sz="1100" dirty="0"/>
                </a:p>
              </p:txBody>
            </p:sp>
            <p:sp>
              <p:nvSpPr>
                <p:cNvPr id="178" name="îsḷiḓe">
                  <a:extLst>
                    <a:ext uri="{FF2B5EF4-FFF2-40B4-BE49-F238E27FC236}">
                      <a16:creationId xmlns:a16="http://schemas.microsoft.com/office/drawing/2014/main" id="{46604C32-F49E-48EF-A238-0C75921304A0}"/>
                    </a:ext>
                  </a:extLst>
                </p:cNvPr>
                <p:cNvSpPr txBox="1"/>
                <p:nvPr/>
              </p:nvSpPr>
              <p:spPr bwMode="auto">
                <a:xfrm>
                  <a:off x="6986777" y="1486237"/>
                  <a:ext cx="4532123" cy="44400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600" b="1" dirty="0"/>
                    <a:t>存在的问题</a:t>
                  </a:r>
                  <a:endParaRPr lang="en-US" altLang="zh-CN" sz="1600" b="1" dirty="0"/>
                </a:p>
              </p:txBody>
            </p:sp>
          </p:grpSp>
        </p:grpSp>
        <p:sp>
          <p:nvSpPr>
            <p:cNvPr id="184" name="right-arrow-in-a-circle_44522">
              <a:extLst>
                <a:ext uri="{FF2B5EF4-FFF2-40B4-BE49-F238E27FC236}">
                  <a16:creationId xmlns:a16="http://schemas.microsoft.com/office/drawing/2014/main" id="{A56B2C4E-F52F-45A8-9A04-234D262FD371}"/>
                </a:ext>
              </a:extLst>
            </p:cNvPr>
            <p:cNvSpPr>
              <a:spLocks noChangeAspect="1"/>
            </p:cNvSpPr>
            <p:nvPr/>
          </p:nvSpPr>
          <p:spPr bwMode="auto">
            <a:xfrm>
              <a:off x="1794170" y="2972754"/>
              <a:ext cx="351154" cy="350624"/>
            </a:xfrm>
            <a:custGeom>
              <a:avLst/>
              <a:gdLst>
                <a:gd name="T0" fmla="*/ 267 w 533"/>
                <a:gd name="T1" fmla="*/ 0 h 533"/>
                <a:gd name="T2" fmla="*/ 0 w 533"/>
                <a:gd name="T3" fmla="*/ 267 h 533"/>
                <a:gd name="T4" fmla="*/ 267 w 533"/>
                <a:gd name="T5" fmla="*/ 533 h 533"/>
                <a:gd name="T6" fmla="*/ 533 w 533"/>
                <a:gd name="T7" fmla="*/ 267 h 533"/>
                <a:gd name="T8" fmla="*/ 267 w 533"/>
                <a:gd name="T9" fmla="*/ 0 h 533"/>
                <a:gd name="T10" fmla="*/ 384 w 533"/>
                <a:gd name="T11" fmla="*/ 286 h 533"/>
                <a:gd name="T12" fmla="*/ 313 w 533"/>
                <a:gd name="T13" fmla="*/ 370 h 533"/>
                <a:gd name="T14" fmla="*/ 290 w 533"/>
                <a:gd name="T15" fmla="*/ 381 h 533"/>
                <a:gd name="T16" fmla="*/ 270 w 533"/>
                <a:gd name="T17" fmla="*/ 374 h 533"/>
                <a:gd name="T18" fmla="*/ 266 w 533"/>
                <a:gd name="T19" fmla="*/ 331 h 533"/>
                <a:gd name="T20" fmla="*/ 295 w 533"/>
                <a:gd name="T21" fmla="*/ 297 h 533"/>
                <a:gd name="T22" fmla="*/ 173 w 533"/>
                <a:gd name="T23" fmla="*/ 297 h 533"/>
                <a:gd name="T24" fmla="*/ 142 w 533"/>
                <a:gd name="T25" fmla="*/ 267 h 533"/>
                <a:gd name="T26" fmla="*/ 173 w 533"/>
                <a:gd name="T27" fmla="*/ 236 h 533"/>
                <a:gd name="T28" fmla="*/ 295 w 533"/>
                <a:gd name="T29" fmla="*/ 236 h 533"/>
                <a:gd name="T30" fmla="*/ 266 w 533"/>
                <a:gd name="T31" fmla="*/ 203 h 533"/>
                <a:gd name="T32" fmla="*/ 270 w 533"/>
                <a:gd name="T33" fmla="*/ 160 h 533"/>
                <a:gd name="T34" fmla="*/ 313 w 533"/>
                <a:gd name="T35" fmla="*/ 163 h 533"/>
                <a:gd name="T36" fmla="*/ 384 w 533"/>
                <a:gd name="T37" fmla="*/ 247 h 533"/>
                <a:gd name="T38" fmla="*/ 384 w 533"/>
                <a:gd name="T39" fmla="*/ 286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3" h="533">
                  <a:moveTo>
                    <a:pt x="267" y="0"/>
                  </a:moveTo>
                  <a:cubicBezTo>
                    <a:pt x="120" y="0"/>
                    <a:pt x="0" y="120"/>
                    <a:pt x="0" y="267"/>
                  </a:cubicBezTo>
                  <a:cubicBezTo>
                    <a:pt x="0" y="414"/>
                    <a:pt x="120" y="533"/>
                    <a:pt x="267" y="533"/>
                  </a:cubicBezTo>
                  <a:cubicBezTo>
                    <a:pt x="414" y="533"/>
                    <a:pt x="533" y="414"/>
                    <a:pt x="533" y="267"/>
                  </a:cubicBezTo>
                  <a:cubicBezTo>
                    <a:pt x="533" y="120"/>
                    <a:pt x="414" y="0"/>
                    <a:pt x="267" y="0"/>
                  </a:cubicBezTo>
                  <a:close/>
                  <a:moveTo>
                    <a:pt x="384" y="286"/>
                  </a:moveTo>
                  <a:lnTo>
                    <a:pt x="313" y="370"/>
                  </a:lnTo>
                  <a:cubicBezTo>
                    <a:pt x="307" y="377"/>
                    <a:pt x="298" y="381"/>
                    <a:pt x="290" y="381"/>
                  </a:cubicBezTo>
                  <a:cubicBezTo>
                    <a:pt x="283" y="381"/>
                    <a:pt x="276" y="378"/>
                    <a:pt x="270" y="374"/>
                  </a:cubicBezTo>
                  <a:cubicBezTo>
                    <a:pt x="257" y="363"/>
                    <a:pt x="256" y="344"/>
                    <a:pt x="266" y="331"/>
                  </a:cubicBezTo>
                  <a:lnTo>
                    <a:pt x="295" y="297"/>
                  </a:lnTo>
                  <a:lnTo>
                    <a:pt x="173" y="297"/>
                  </a:lnTo>
                  <a:cubicBezTo>
                    <a:pt x="156" y="297"/>
                    <a:pt x="142" y="283"/>
                    <a:pt x="142" y="267"/>
                  </a:cubicBezTo>
                  <a:cubicBezTo>
                    <a:pt x="142" y="250"/>
                    <a:pt x="156" y="236"/>
                    <a:pt x="173" y="236"/>
                  </a:cubicBezTo>
                  <a:lnTo>
                    <a:pt x="295" y="236"/>
                  </a:lnTo>
                  <a:lnTo>
                    <a:pt x="266" y="203"/>
                  </a:lnTo>
                  <a:cubicBezTo>
                    <a:pt x="256" y="190"/>
                    <a:pt x="257" y="171"/>
                    <a:pt x="270" y="160"/>
                  </a:cubicBezTo>
                  <a:cubicBezTo>
                    <a:pt x="283" y="149"/>
                    <a:pt x="302" y="150"/>
                    <a:pt x="313" y="163"/>
                  </a:cubicBezTo>
                  <a:lnTo>
                    <a:pt x="384" y="247"/>
                  </a:lnTo>
                  <a:cubicBezTo>
                    <a:pt x="394" y="258"/>
                    <a:pt x="394" y="275"/>
                    <a:pt x="384" y="286"/>
                  </a:cubicBezTo>
                  <a:close/>
                </a:path>
              </a:pathLst>
            </a:custGeom>
            <a:solidFill>
              <a:schemeClr val="bg1"/>
            </a:solidFill>
            <a:ln>
              <a:noFill/>
            </a:ln>
          </p:spPr>
        </p:sp>
      </p:grpSp>
      <p:grpSp>
        <p:nvGrpSpPr>
          <p:cNvPr id="4" name="组合 3">
            <a:extLst>
              <a:ext uri="{FF2B5EF4-FFF2-40B4-BE49-F238E27FC236}">
                <a16:creationId xmlns:a16="http://schemas.microsoft.com/office/drawing/2014/main" id="{28E91DB1-752F-410C-95F8-B54364B027B0}"/>
              </a:ext>
            </a:extLst>
          </p:cNvPr>
          <p:cNvGrpSpPr/>
          <p:nvPr/>
        </p:nvGrpSpPr>
        <p:grpSpPr>
          <a:xfrm>
            <a:off x="1325094" y="3516051"/>
            <a:ext cx="4532123" cy="1768349"/>
            <a:chOff x="1325094" y="3516051"/>
            <a:chExt cx="4532123" cy="1768349"/>
          </a:xfrm>
        </p:grpSpPr>
        <p:grpSp>
          <p:nvGrpSpPr>
            <p:cNvPr id="179" name="iś1îdè">
              <a:extLst>
                <a:ext uri="{FF2B5EF4-FFF2-40B4-BE49-F238E27FC236}">
                  <a16:creationId xmlns:a16="http://schemas.microsoft.com/office/drawing/2014/main" id="{19B74341-A668-46A5-9B87-FCBA72223232}"/>
                </a:ext>
              </a:extLst>
            </p:cNvPr>
            <p:cNvGrpSpPr/>
            <p:nvPr/>
          </p:nvGrpSpPr>
          <p:grpSpPr>
            <a:xfrm>
              <a:off x="1325094" y="3516051"/>
              <a:ext cx="4532123" cy="1768349"/>
              <a:chOff x="6986777" y="1624257"/>
              <a:chExt cx="4532123" cy="1768349"/>
            </a:xfrm>
          </p:grpSpPr>
          <p:sp>
            <p:nvSpPr>
              <p:cNvPr id="180" name="îṣḻïḋé">
                <a:extLst>
                  <a:ext uri="{FF2B5EF4-FFF2-40B4-BE49-F238E27FC236}">
                    <a16:creationId xmlns:a16="http://schemas.microsoft.com/office/drawing/2014/main" id="{4383CDE9-84EF-4E9B-AD16-26EEFC7817AB}"/>
                  </a:ext>
                </a:extLst>
              </p:cNvPr>
              <p:cNvSpPr txBox="1"/>
              <p:nvPr/>
            </p:nvSpPr>
            <p:spPr bwMode="auto">
              <a:xfrm>
                <a:off x="6986777" y="2962839"/>
                <a:ext cx="1185419" cy="429767"/>
              </a:xfrm>
              <a:prstGeom prst="roundRect">
                <a:avLst>
                  <a:gd name="adj" fmla="val 50000"/>
                </a:avLst>
              </a:prstGeom>
              <a:solidFill>
                <a:schemeClr val="accent1"/>
              </a:solidFill>
              <a:ln>
                <a:noFill/>
              </a:ln>
            </p:spPr>
            <p:txBody>
              <a:bodyPr wrap="none" lIns="90000" tIns="46800" rIns="90000" bIns="4680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endParaRPr lang="en-US" altLang="zh-CN" sz="1200" dirty="0">
                  <a:solidFill>
                    <a:schemeClr val="bg1"/>
                  </a:solidFill>
                </a:endParaRPr>
              </a:p>
            </p:txBody>
          </p:sp>
          <p:grpSp>
            <p:nvGrpSpPr>
              <p:cNvPr id="181" name="îṩlíḓé">
                <a:extLst>
                  <a:ext uri="{FF2B5EF4-FFF2-40B4-BE49-F238E27FC236}">
                    <a16:creationId xmlns:a16="http://schemas.microsoft.com/office/drawing/2014/main" id="{D4C1D23B-6380-45A9-BA8F-A0C092CA2B05}"/>
                  </a:ext>
                </a:extLst>
              </p:cNvPr>
              <p:cNvGrpSpPr/>
              <p:nvPr/>
            </p:nvGrpSpPr>
            <p:grpSpPr>
              <a:xfrm>
                <a:off x="6986777" y="1624257"/>
                <a:ext cx="4532123" cy="1380444"/>
                <a:chOff x="6986777" y="1624257"/>
                <a:chExt cx="4532123" cy="1380444"/>
              </a:xfrm>
            </p:grpSpPr>
            <p:sp>
              <p:nvSpPr>
                <p:cNvPr id="182" name="îṧ1ïḍe">
                  <a:extLst>
                    <a:ext uri="{FF2B5EF4-FFF2-40B4-BE49-F238E27FC236}">
                      <a16:creationId xmlns:a16="http://schemas.microsoft.com/office/drawing/2014/main" id="{65B27E5C-DDCE-4F78-BA2A-B1053BC5EA39}"/>
                    </a:ext>
                  </a:extLst>
                </p:cNvPr>
                <p:cNvSpPr/>
                <p:nvPr/>
              </p:nvSpPr>
              <p:spPr bwMode="auto">
                <a:xfrm>
                  <a:off x="6986777" y="1937867"/>
                  <a:ext cx="4532123" cy="106683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spcBef>
                      <a:spcPct val="0"/>
                    </a:spcBef>
                  </a:pPr>
                  <a:r>
                    <a:rPr lang="zh-CN" altLang="en-US" sz="1100" dirty="0"/>
                    <a:t>为了减轻这种威胁，我们选择了具有不同大小的软件系统，并广泛用于评估设计模式恢复方法和工具准确性的案例研究中。至于考虑的设计模式及其变体，选择一种广泛使用的结构设计模式（即</a:t>
                  </a:r>
                  <a:r>
                    <a:rPr lang="en-US" altLang="zh-CN" sz="1100" dirty="0"/>
                    <a:t>Adapter</a:t>
                  </a:r>
                  <a:r>
                    <a:rPr lang="zh-CN" altLang="en-US" sz="1100" dirty="0"/>
                    <a:t>）和一种广泛采用的行为设计模式（即</a:t>
                  </a:r>
                  <a:r>
                    <a:rPr lang="en-US" altLang="zh-CN" sz="1100" dirty="0"/>
                    <a:t>Observer</a:t>
                  </a:r>
                  <a:r>
                    <a:rPr lang="zh-CN" altLang="en-US" sz="1100" dirty="0"/>
                    <a:t>）。</a:t>
                  </a:r>
                  <a:endParaRPr lang="en-US" altLang="zh-CN" sz="1100" dirty="0"/>
                </a:p>
              </p:txBody>
            </p:sp>
            <p:sp>
              <p:nvSpPr>
                <p:cNvPr id="183" name="îsḷiḓe">
                  <a:extLst>
                    <a:ext uri="{FF2B5EF4-FFF2-40B4-BE49-F238E27FC236}">
                      <a16:creationId xmlns:a16="http://schemas.microsoft.com/office/drawing/2014/main" id="{04BED6FE-7B7F-4070-98F2-320670314BDB}"/>
                    </a:ext>
                  </a:extLst>
                </p:cNvPr>
                <p:cNvSpPr txBox="1"/>
                <p:nvPr/>
              </p:nvSpPr>
              <p:spPr bwMode="auto">
                <a:xfrm>
                  <a:off x="6986777" y="1624257"/>
                  <a:ext cx="4532123" cy="44400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600" b="1" dirty="0"/>
                    <a:t>完善的措施</a:t>
                  </a:r>
                  <a:endParaRPr lang="en-US" altLang="zh-CN" sz="1600" b="1" dirty="0"/>
                </a:p>
              </p:txBody>
            </p:sp>
          </p:grpSp>
        </p:grpSp>
        <p:sp>
          <p:nvSpPr>
            <p:cNvPr id="191" name="right-arrow-in-a-circle_44522">
              <a:extLst>
                <a:ext uri="{FF2B5EF4-FFF2-40B4-BE49-F238E27FC236}">
                  <a16:creationId xmlns:a16="http://schemas.microsoft.com/office/drawing/2014/main" id="{F8B4F63C-2048-4D71-9849-3571185E0D85}"/>
                </a:ext>
              </a:extLst>
            </p:cNvPr>
            <p:cNvSpPr>
              <a:spLocks noChangeAspect="1"/>
            </p:cNvSpPr>
            <p:nvPr/>
          </p:nvSpPr>
          <p:spPr bwMode="auto">
            <a:xfrm>
              <a:off x="1799038" y="4894204"/>
              <a:ext cx="351154" cy="350624"/>
            </a:xfrm>
            <a:custGeom>
              <a:avLst/>
              <a:gdLst>
                <a:gd name="T0" fmla="*/ 267 w 533"/>
                <a:gd name="T1" fmla="*/ 0 h 533"/>
                <a:gd name="T2" fmla="*/ 0 w 533"/>
                <a:gd name="T3" fmla="*/ 267 h 533"/>
                <a:gd name="T4" fmla="*/ 267 w 533"/>
                <a:gd name="T5" fmla="*/ 533 h 533"/>
                <a:gd name="T6" fmla="*/ 533 w 533"/>
                <a:gd name="T7" fmla="*/ 267 h 533"/>
                <a:gd name="T8" fmla="*/ 267 w 533"/>
                <a:gd name="T9" fmla="*/ 0 h 533"/>
                <a:gd name="T10" fmla="*/ 384 w 533"/>
                <a:gd name="T11" fmla="*/ 286 h 533"/>
                <a:gd name="T12" fmla="*/ 313 w 533"/>
                <a:gd name="T13" fmla="*/ 370 h 533"/>
                <a:gd name="T14" fmla="*/ 290 w 533"/>
                <a:gd name="T15" fmla="*/ 381 h 533"/>
                <a:gd name="T16" fmla="*/ 270 w 533"/>
                <a:gd name="T17" fmla="*/ 374 h 533"/>
                <a:gd name="T18" fmla="*/ 266 w 533"/>
                <a:gd name="T19" fmla="*/ 331 h 533"/>
                <a:gd name="T20" fmla="*/ 295 w 533"/>
                <a:gd name="T21" fmla="*/ 297 h 533"/>
                <a:gd name="T22" fmla="*/ 173 w 533"/>
                <a:gd name="T23" fmla="*/ 297 h 533"/>
                <a:gd name="T24" fmla="*/ 142 w 533"/>
                <a:gd name="T25" fmla="*/ 267 h 533"/>
                <a:gd name="T26" fmla="*/ 173 w 533"/>
                <a:gd name="T27" fmla="*/ 236 h 533"/>
                <a:gd name="T28" fmla="*/ 295 w 533"/>
                <a:gd name="T29" fmla="*/ 236 h 533"/>
                <a:gd name="T30" fmla="*/ 266 w 533"/>
                <a:gd name="T31" fmla="*/ 203 h 533"/>
                <a:gd name="T32" fmla="*/ 270 w 533"/>
                <a:gd name="T33" fmla="*/ 160 h 533"/>
                <a:gd name="T34" fmla="*/ 313 w 533"/>
                <a:gd name="T35" fmla="*/ 163 h 533"/>
                <a:gd name="T36" fmla="*/ 384 w 533"/>
                <a:gd name="T37" fmla="*/ 247 h 533"/>
                <a:gd name="T38" fmla="*/ 384 w 533"/>
                <a:gd name="T39" fmla="*/ 286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3" h="533">
                  <a:moveTo>
                    <a:pt x="267" y="0"/>
                  </a:moveTo>
                  <a:cubicBezTo>
                    <a:pt x="120" y="0"/>
                    <a:pt x="0" y="120"/>
                    <a:pt x="0" y="267"/>
                  </a:cubicBezTo>
                  <a:cubicBezTo>
                    <a:pt x="0" y="414"/>
                    <a:pt x="120" y="533"/>
                    <a:pt x="267" y="533"/>
                  </a:cubicBezTo>
                  <a:cubicBezTo>
                    <a:pt x="414" y="533"/>
                    <a:pt x="533" y="414"/>
                    <a:pt x="533" y="267"/>
                  </a:cubicBezTo>
                  <a:cubicBezTo>
                    <a:pt x="533" y="120"/>
                    <a:pt x="414" y="0"/>
                    <a:pt x="267" y="0"/>
                  </a:cubicBezTo>
                  <a:close/>
                  <a:moveTo>
                    <a:pt x="384" y="286"/>
                  </a:moveTo>
                  <a:lnTo>
                    <a:pt x="313" y="370"/>
                  </a:lnTo>
                  <a:cubicBezTo>
                    <a:pt x="307" y="377"/>
                    <a:pt x="298" y="381"/>
                    <a:pt x="290" y="381"/>
                  </a:cubicBezTo>
                  <a:cubicBezTo>
                    <a:pt x="283" y="381"/>
                    <a:pt x="276" y="378"/>
                    <a:pt x="270" y="374"/>
                  </a:cubicBezTo>
                  <a:cubicBezTo>
                    <a:pt x="257" y="363"/>
                    <a:pt x="256" y="344"/>
                    <a:pt x="266" y="331"/>
                  </a:cubicBezTo>
                  <a:lnTo>
                    <a:pt x="295" y="297"/>
                  </a:lnTo>
                  <a:lnTo>
                    <a:pt x="173" y="297"/>
                  </a:lnTo>
                  <a:cubicBezTo>
                    <a:pt x="156" y="297"/>
                    <a:pt x="142" y="283"/>
                    <a:pt x="142" y="267"/>
                  </a:cubicBezTo>
                  <a:cubicBezTo>
                    <a:pt x="142" y="250"/>
                    <a:pt x="156" y="236"/>
                    <a:pt x="173" y="236"/>
                  </a:cubicBezTo>
                  <a:lnTo>
                    <a:pt x="295" y="236"/>
                  </a:lnTo>
                  <a:lnTo>
                    <a:pt x="266" y="203"/>
                  </a:lnTo>
                  <a:cubicBezTo>
                    <a:pt x="256" y="190"/>
                    <a:pt x="257" y="171"/>
                    <a:pt x="270" y="160"/>
                  </a:cubicBezTo>
                  <a:cubicBezTo>
                    <a:pt x="283" y="149"/>
                    <a:pt x="302" y="150"/>
                    <a:pt x="313" y="163"/>
                  </a:cubicBezTo>
                  <a:lnTo>
                    <a:pt x="384" y="247"/>
                  </a:lnTo>
                  <a:cubicBezTo>
                    <a:pt x="394" y="258"/>
                    <a:pt x="394" y="275"/>
                    <a:pt x="384" y="286"/>
                  </a:cubicBezTo>
                  <a:close/>
                </a:path>
              </a:pathLst>
            </a:custGeom>
            <a:solidFill>
              <a:schemeClr val="bg1"/>
            </a:solidFill>
            <a:ln>
              <a:noFill/>
            </a:ln>
          </p:spPr>
        </p:sp>
      </p:grpSp>
      <p:grpSp>
        <p:nvGrpSpPr>
          <p:cNvPr id="2" name="组合 1">
            <a:extLst>
              <a:ext uri="{FF2B5EF4-FFF2-40B4-BE49-F238E27FC236}">
                <a16:creationId xmlns:a16="http://schemas.microsoft.com/office/drawing/2014/main" id="{3AEB3094-F0CC-4CF1-B5CD-1698BD85C4DD}"/>
              </a:ext>
            </a:extLst>
          </p:cNvPr>
          <p:cNvGrpSpPr/>
          <p:nvPr/>
        </p:nvGrpSpPr>
        <p:grpSpPr>
          <a:xfrm>
            <a:off x="-43962" y="-2"/>
            <a:ext cx="12265321" cy="1081456"/>
            <a:chOff x="-43962" y="-2"/>
            <a:chExt cx="12265321" cy="1081456"/>
          </a:xfrm>
        </p:grpSpPr>
        <p:grpSp>
          <p:nvGrpSpPr>
            <p:cNvPr id="5" name="组合 4">
              <a:extLst>
                <a:ext uri="{FF2B5EF4-FFF2-40B4-BE49-F238E27FC236}">
                  <a16:creationId xmlns:a16="http://schemas.microsoft.com/office/drawing/2014/main" id="{A02D8D5F-9092-40A1-BEE7-2E18BC595794}"/>
                </a:ext>
              </a:extLst>
            </p:cNvPr>
            <p:cNvGrpSpPr/>
            <p:nvPr/>
          </p:nvGrpSpPr>
          <p:grpSpPr>
            <a:xfrm rot="10800000">
              <a:off x="-43962" y="-2"/>
              <a:ext cx="12265321" cy="1081456"/>
              <a:chOff x="1" y="5010588"/>
              <a:chExt cx="12265322" cy="1905823"/>
            </a:xfrm>
          </p:grpSpPr>
          <p:sp>
            <p:nvSpPr>
              <p:cNvPr id="6" name="îṧļiḑe">
                <a:extLst>
                  <a:ext uri="{FF2B5EF4-FFF2-40B4-BE49-F238E27FC236}">
                    <a16:creationId xmlns:a16="http://schemas.microsoft.com/office/drawing/2014/main" id="{49F6E0D8-E3BC-4BD3-84FB-161A76550555}"/>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îṩľiḑê">
                <a:extLst>
                  <a:ext uri="{FF2B5EF4-FFF2-40B4-BE49-F238E27FC236}">
                    <a16:creationId xmlns:a16="http://schemas.microsoft.com/office/drawing/2014/main" id="{E47AD772-61D7-455A-AF1D-07952261DFE2}"/>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sp>
          <p:nvSpPr>
            <p:cNvPr id="9" name="矩形 8">
              <a:extLst>
                <a:ext uri="{FF2B5EF4-FFF2-40B4-BE49-F238E27FC236}">
                  <a16:creationId xmlns:a16="http://schemas.microsoft.com/office/drawing/2014/main" id="{559493B6-54D5-4BFB-8173-8ADF4B215E18}"/>
                </a:ext>
              </a:extLst>
            </p:cNvPr>
            <p:cNvSpPr/>
            <p:nvPr/>
          </p:nvSpPr>
          <p:spPr>
            <a:xfrm>
              <a:off x="1028700" y="139985"/>
              <a:ext cx="9944100" cy="369332"/>
            </a:xfrm>
            <a:prstGeom prst="rect">
              <a:avLst/>
            </a:prstGeom>
          </p:spPr>
          <p:txBody>
            <a:bodyPr wrap="square">
              <a:spAutoFit/>
            </a:bodyPr>
            <a:lstStyle/>
            <a:p>
              <a:r>
                <a:rPr lang="sv-SE" altLang="zh-CN" dirty="0">
                  <a:solidFill>
                    <a:schemeClr val="bg1"/>
                  </a:solidFill>
                </a:rPr>
                <a:t>D.</a:t>
              </a:r>
              <a:r>
                <a:rPr lang="zh-CN" altLang="en-US" dirty="0">
                  <a:solidFill>
                    <a:schemeClr val="bg1"/>
                  </a:solidFill>
                </a:rPr>
                <a:t>有效性评估</a:t>
              </a:r>
              <a:endParaRPr lang="en-US" altLang="zh-CN" dirty="0">
                <a:solidFill>
                  <a:schemeClr val="bg1"/>
                </a:solidFill>
              </a:endParaRPr>
            </a:p>
          </p:txBody>
        </p:sp>
        <p:sp>
          <p:nvSpPr>
            <p:cNvPr id="157" name="ïšḷîdè">
              <a:extLst>
                <a:ext uri="{FF2B5EF4-FFF2-40B4-BE49-F238E27FC236}">
                  <a16:creationId xmlns:a16="http://schemas.microsoft.com/office/drawing/2014/main" id="{16FB6F8C-1847-4E15-B295-0FADB55ED571}"/>
                </a:ext>
              </a:extLst>
            </p:cNvPr>
            <p:cNvSpPr/>
            <p:nvPr/>
          </p:nvSpPr>
          <p:spPr>
            <a:xfrm>
              <a:off x="418935" y="106081"/>
              <a:ext cx="469590" cy="514984"/>
            </a:xfrm>
            <a:custGeom>
              <a:avLst/>
              <a:gdLst>
                <a:gd name="connsiteX0" fmla="*/ 333504 w 555138"/>
                <a:gd name="connsiteY0" fmla="*/ 231047 h 608801"/>
                <a:gd name="connsiteX1" fmla="*/ 254856 w 555138"/>
                <a:gd name="connsiteY1" fmla="*/ 309304 h 608801"/>
                <a:gd name="connsiteX2" fmla="*/ 221937 w 555138"/>
                <a:gd name="connsiteY2" fmla="*/ 276152 h 608801"/>
                <a:gd name="connsiteX3" fmla="*/ 187523 w 555138"/>
                <a:gd name="connsiteY3" fmla="*/ 310238 h 608801"/>
                <a:gd name="connsiteX4" fmla="*/ 220441 w 555138"/>
                <a:gd name="connsiteY4" fmla="*/ 343389 h 608801"/>
                <a:gd name="connsiteX5" fmla="*/ 254575 w 555138"/>
                <a:gd name="connsiteY5" fmla="*/ 377755 h 608801"/>
                <a:gd name="connsiteX6" fmla="*/ 288989 w 555138"/>
                <a:gd name="connsiteY6" fmla="*/ 343669 h 608801"/>
                <a:gd name="connsiteX7" fmla="*/ 367731 w 555138"/>
                <a:gd name="connsiteY7" fmla="*/ 265413 h 608801"/>
                <a:gd name="connsiteX8" fmla="*/ 277580 w 555138"/>
                <a:gd name="connsiteY8" fmla="*/ 130845 h 608801"/>
                <a:gd name="connsiteX9" fmla="*/ 451336 w 555138"/>
                <a:gd name="connsiteY9" fmla="*/ 304448 h 608801"/>
                <a:gd name="connsiteX10" fmla="*/ 277580 w 555138"/>
                <a:gd name="connsiteY10" fmla="*/ 477957 h 608801"/>
                <a:gd name="connsiteX11" fmla="*/ 103731 w 555138"/>
                <a:gd name="connsiteY11" fmla="*/ 304448 h 608801"/>
                <a:gd name="connsiteX12" fmla="*/ 277580 w 555138"/>
                <a:gd name="connsiteY12" fmla="*/ 130845 h 608801"/>
                <a:gd name="connsiteX13" fmla="*/ 440395 w 555138"/>
                <a:gd name="connsiteY13" fmla="*/ 80038 h 608801"/>
                <a:gd name="connsiteX14" fmla="*/ 555138 w 555138"/>
                <a:gd name="connsiteY14" fmla="*/ 304436 h 608801"/>
                <a:gd name="connsiteX15" fmla="*/ 277586 w 555138"/>
                <a:gd name="connsiteY15" fmla="*/ 581594 h 608801"/>
                <a:gd name="connsiteX16" fmla="*/ 277586 w 555138"/>
                <a:gd name="connsiteY16" fmla="*/ 605593 h 608801"/>
                <a:gd name="connsiteX17" fmla="*/ 272536 w 555138"/>
                <a:gd name="connsiteY17" fmla="*/ 608208 h 608801"/>
                <a:gd name="connsiteX18" fmla="*/ 207356 w 555138"/>
                <a:gd name="connsiteY18" fmla="*/ 563478 h 608801"/>
                <a:gd name="connsiteX19" fmla="*/ 207356 w 555138"/>
                <a:gd name="connsiteY19" fmla="*/ 558155 h 608801"/>
                <a:gd name="connsiteX20" fmla="*/ 272536 w 555138"/>
                <a:gd name="connsiteY20" fmla="*/ 513425 h 608801"/>
                <a:gd name="connsiteX21" fmla="*/ 277586 w 555138"/>
                <a:gd name="connsiteY21" fmla="*/ 516040 h 608801"/>
                <a:gd name="connsiteX22" fmla="*/ 277586 w 555138"/>
                <a:gd name="connsiteY22" fmla="*/ 540319 h 608801"/>
                <a:gd name="connsiteX23" fmla="*/ 513711 w 555138"/>
                <a:gd name="connsiteY23" fmla="*/ 304529 h 608801"/>
                <a:gd name="connsiteX24" fmla="*/ 416081 w 555138"/>
                <a:gd name="connsiteY24" fmla="*/ 113562 h 608801"/>
                <a:gd name="connsiteX25" fmla="*/ 282527 w 555138"/>
                <a:gd name="connsiteY25" fmla="*/ 593 h 608801"/>
                <a:gd name="connsiteX26" fmla="*/ 347711 w 555138"/>
                <a:gd name="connsiteY26" fmla="*/ 45323 h 608801"/>
                <a:gd name="connsiteX27" fmla="*/ 347711 w 555138"/>
                <a:gd name="connsiteY27" fmla="*/ 50646 h 608801"/>
                <a:gd name="connsiteX28" fmla="*/ 282527 w 555138"/>
                <a:gd name="connsiteY28" fmla="*/ 95376 h 608801"/>
                <a:gd name="connsiteX29" fmla="*/ 277570 w 555138"/>
                <a:gd name="connsiteY29" fmla="*/ 92761 h 608801"/>
                <a:gd name="connsiteX30" fmla="*/ 277570 w 555138"/>
                <a:gd name="connsiteY30" fmla="*/ 68575 h 608801"/>
                <a:gd name="connsiteX31" fmla="*/ 41336 w 555138"/>
                <a:gd name="connsiteY31" fmla="*/ 304459 h 608801"/>
                <a:gd name="connsiteX32" fmla="*/ 138878 w 555138"/>
                <a:gd name="connsiteY32" fmla="*/ 495332 h 608801"/>
                <a:gd name="connsiteX33" fmla="*/ 114563 w 555138"/>
                <a:gd name="connsiteY33" fmla="*/ 528763 h 608801"/>
                <a:gd name="connsiteX34" fmla="*/ 0 w 555138"/>
                <a:gd name="connsiteY34" fmla="*/ 304459 h 608801"/>
                <a:gd name="connsiteX35" fmla="*/ 277570 w 555138"/>
                <a:gd name="connsiteY35" fmla="*/ 27300 h 608801"/>
                <a:gd name="connsiteX36" fmla="*/ 277570 w 555138"/>
                <a:gd name="connsiteY36" fmla="*/ 3208 h 608801"/>
                <a:gd name="connsiteX37" fmla="*/ 282527 w 555138"/>
                <a:gd name="connsiteY37" fmla="*/ 593 h 6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55138" h="608801">
                  <a:moveTo>
                    <a:pt x="333504" y="231047"/>
                  </a:moveTo>
                  <a:lnTo>
                    <a:pt x="254856" y="309304"/>
                  </a:lnTo>
                  <a:lnTo>
                    <a:pt x="221937" y="276152"/>
                  </a:lnTo>
                  <a:lnTo>
                    <a:pt x="187523" y="310238"/>
                  </a:lnTo>
                  <a:lnTo>
                    <a:pt x="220441" y="343389"/>
                  </a:lnTo>
                  <a:lnTo>
                    <a:pt x="254575" y="377755"/>
                  </a:lnTo>
                  <a:lnTo>
                    <a:pt x="288989" y="343669"/>
                  </a:lnTo>
                  <a:lnTo>
                    <a:pt x="367731" y="265413"/>
                  </a:lnTo>
                  <a:close/>
                  <a:moveTo>
                    <a:pt x="277580" y="130845"/>
                  </a:moveTo>
                  <a:cubicBezTo>
                    <a:pt x="373529" y="130845"/>
                    <a:pt x="451336" y="208541"/>
                    <a:pt x="451336" y="304448"/>
                  </a:cubicBezTo>
                  <a:cubicBezTo>
                    <a:pt x="451336" y="400261"/>
                    <a:pt x="373529" y="477957"/>
                    <a:pt x="277580" y="477957"/>
                  </a:cubicBezTo>
                  <a:cubicBezTo>
                    <a:pt x="181538" y="477957"/>
                    <a:pt x="103731" y="400261"/>
                    <a:pt x="103731" y="304448"/>
                  </a:cubicBezTo>
                  <a:cubicBezTo>
                    <a:pt x="103731" y="208541"/>
                    <a:pt x="181538" y="130845"/>
                    <a:pt x="277580" y="130845"/>
                  </a:cubicBezTo>
                  <a:close/>
                  <a:moveTo>
                    <a:pt x="440395" y="80038"/>
                  </a:moveTo>
                  <a:cubicBezTo>
                    <a:pt x="512215" y="132052"/>
                    <a:pt x="555138" y="215909"/>
                    <a:pt x="555138" y="304436"/>
                  </a:cubicBezTo>
                  <a:cubicBezTo>
                    <a:pt x="555138" y="457302"/>
                    <a:pt x="430576" y="581594"/>
                    <a:pt x="277586" y="581594"/>
                  </a:cubicBezTo>
                  <a:lnTo>
                    <a:pt x="277586" y="605593"/>
                  </a:lnTo>
                  <a:cubicBezTo>
                    <a:pt x="277586" y="608208"/>
                    <a:pt x="274687" y="609702"/>
                    <a:pt x="272536" y="608208"/>
                  </a:cubicBezTo>
                  <a:lnTo>
                    <a:pt x="207356" y="563478"/>
                  </a:lnTo>
                  <a:cubicBezTo>
                    <a:pt x="205486" y="562170"/>
                    <a:pt x="205486" y="559369"/>
                    <a:pt x="207356" y="558155"/>
                  </a:cubicBezTo>
                  <a:lnTo>
                    <a:pt x="272536" y="513425"/>
                  </a:lnTo>
                  <a:cubicBezTo>
                    <a:pt x="274687" y="511931"/>
                    <a:pt x="277586" y="513425"/>
                    <a:pt x="277586" y="516040"/>
                  </a:cubicBezTo>
                  <a:lnTo>
                    <a:pt x="277586" y="540319"/>
                  </a:lnTo>
                  <a:cubicBezTo>
                    <a:pt x="407759" y="540319"/>
                    <a:pt x="513711" y="434517"/>
                    <a:pt x="513711" y="304529"/>
                  </a:cubicBezTo>
                  <a:cubicBezTo>
                    <a:pt x="513711" y="229169"/>
                    <a:pt x="477147" y="157825"/>
                    <a:pt x="416081" y="113562"/>
                  </a:cubicBezTo>
                  <a:close/>
                  <a:moveTo>
                    <a:pt x="282527" y="593"/>
                  </a:moveTo>
                  <a:lnTo>
                    <a:pt x="347711" y="45323"/>
                  </a:lnTo>
                  <a:cubicBezTo>
                    <a:pt x="349581" y="46724"/>
                    <a:pt x="349581" y="49432"/>
                    <a:pt x="347711" y="50646"/>
                  </a:cubicBezTo>
                  <a:lnTo>
                    <a:pt x="282527" y="95376"/>
                  </a:lnTo>
                  <a:cubicBezTo>
                    <a:pt x="280376" y="96870"/>
                    <a:pt x="277570" y="95376"/>
                    <a:pt x="277570" y="92761"/>
                  </a:cubicBezTo>
                  <a:lnTo>
                    <a:pt x="277570" y="68575"/>
                  </a:lnTo>
                  <a:cubicBezTo>
                    <a:pt x="147389" y="68575"/>
                    <a:pt x="41336" y="174471"/>
                    <a:pt x="41336" y="304459"/>
                  </a:cubicBezTo>
                  <a:cubicBezTo>
                    <a:pt x="41336" y="379725"/>
                    <a:pt x="77903" y="451069"/>
                    <a:pt x="138878" y="495332"/>
                  </a:cubicBezTo>
                  <a:lnTo>
                    <a:pt x="114563" y="528763"/>
                  </a:lnTo>
                  <a:cubicBezTo>
                    <a:pt x="42832" y="476749"/>
                    <a:pt x="0" y="392985"/>
                    <a:pt x="0" y="304459"/>
                  </a:cubicBezTo>
                  <a:cubicBezTo>
                    <a:pt x="0" y="151686"/>
                    <a:pt x="124570" y="27300"/>
                    <a:pt x="277570" y="27300"/>
                  </a:cubicBezTo>
                  <a:lnTo>
                    <a:pt x="277570" y="3208"/>
                  </a:lnTo>
                  <a:cubicBezTo>
                    <a:pt x="277570" y="593"/>
                    <a:pt x="280376" y="-901"/>
                    <a:pt x="282527" y="593"/>
                  </a:cubicBezTo>
                  <a:close/>
                </a:path>
              </a:pathLst>
            </a:custGeom>
            <a:solidFill>
              <a:schemeClr val="bg1"/>
            </a:solidFill>
            <a:ln w="12700">
              <a:miter lim="400000"/>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Tree>
    <p:extLst>
      <p:ext uri="{BB962C8B-B14F-4D97-AF65-F5344CB8AC3E}">
        <p14:creationId xmlns:p14="http://schemas.microsoft.com/office/powerpoint/2010/main" val="33637241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200"/>
                                      </p:stCondLst>
                                      <p:childTnLst>
                                        <p:set>
                                          <p:cBhvr>
                                            <p:cTn id="11" dur="1" fill="hold">
                                              <p:stCondLst>
                                                <p:cond delay="0"/>
                                              </p:stCondLst>
                                            </p:cTn>
                                            <p:tgtEl>
                                              <p:spTgt spid="156"/>
                                            </p:tgtEl>
                                            <p:attrNameLst>
                                              <p:attrName>style.visibility</p:attrName>
                                            </p:attrNameLst>
                                          </p:cBhvr>
                                          <p:to>
                                            <p:strVal val="visible"/>
                                          </p:to>
                                        </p:set>
                                        <p:animEffect transition="in" filter="fade">
                                          <p:cBhvr>
                                            <p:cTn id="12" dur="500"/>
                                            <p:tgtEl>
                                              <p:spTgt spid="156"/>
                                            </p:tgtEl>
                                          </p:cBhvr>
                                        </p:animEffect>
                                      </p:childTnLst>
                                    </p:cTn>
                                  </p:par>
                                  <p:par>
                                    <p:cTn id="13" presetID="10" presetClass="entr" presetSubtype="0" fill="hold" nodeType="withEffect">
                                      <p:stCondLst>
                                        <p:cond delay="30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par>
                                    <p:cTn id="16" presetID="2" presetClass="entr" presetSubtype="8" accel="10000" fill="hold" nodeType="withEffect" p14:presetBounceEnd="30000">
                                      <p:stCondLst>
                                        <p:cond delay="500"/>
                                      </p:stCondLst>
                                      <p:childTnLst>
                                        <p:set>
                                          <p:cBhvr>
                                            <p:cTn id="17" dur="1" fill="hold">
                                              <p:stCondLst>
                                                <p:cond delay="0"/>
                                              </p:stCondLst>
                                            </p:cTn>
                                            <p:tgtEl>
                                              <p:spTgt spid="3"/>
                                            </p:tgtEl>
                                            <p:attrNameLst>
                                              <p:attrName>style.visibility</p:attrName>
                                            </p:attrNameLst>
                                          </p:cBhvr>
                                          <p:to>
                                            <p:strVal val="visible"/>
                                          </p:to>
                                        </p:set>
                                        <p:anim calcmode="lin" valueType="num" p14:bounceEnd="30000">
                                          <p:cBhvr additive="base">
                                            <p:cTn id="18" dur="500" fill="hold"/>
                                            <p:tgtEl>
                                              <p:spTgt spid="3"/>
                                            </p:tgtEl>
                                            <p:attrNameLst>
                                              <p:attrName>ppt_x</p:attrName>
                                            </p:attrNameLst>
                                          </p:cBhvr>
                                          <p:tavLst>
                                            <p:tav tm="0">
                                              <p:val>
                                                <p:strVal val="0-#ppt_w/2"/>
                                              </p:val>
                                            </p:tav>
                                            <p:tav tm="100000">
                                              <p:val>
                                                <p:strVal val="#ppt_x"/>
                                              </p:val>
                                            </p:tav>
                                          </p:tavLst>
                                        </p:anim>
                                        <p:anim calcmode="lin" valueType="num" p14:bounceEnd="30000">
                                          <p:cBhvr additive="base">
                                            <p:cTn id="19" dur="500" fill="hold"/>
                                            <p:tgtEl>
                                              <p:spTgt spid="3"/>
                                            </p:tgtEl>
                                            <p:attrNameLst>
                                              <p:attrName>ppt_y</p:attrName>
                                            </p:attrNameLst>
                                          </p:cBhvr>
                                          <p:tavLst>
                                            <p:tav tm="0">
                                              <p:val>
                                                <p:strVal val="#ppt_y"/>
                                              </p:val>
                                            </p:tav>
                                            <p:tav tm="100000">
                                              <p:val>
                                                <p:strVal val="#ppt_y"/>
                                              </p:val>
                                            </p:tav>
                                          </p:tavLst>
                                        </p:anim>
                                      </p:childTnLst>
                                    </p:cTn>
                                  </p:par>
                                  <p:par>
                                    <p:cTn id="20" presetID="2" presetClass="entr" presetSubtype="8" accel="10000" fill="hold" nodeType="withEffect" p14:presetBounceEnd="30000">
                                      <p:stCondLst>
                                        <p:cond delay="800"/>
                                      </p:stCondLst>
                                      <p:childTnLst>
                                        <p:set>
                                          <p:cBhvr>
                                            <p:cTn id="21" dur="1" fill="hold">
                                              <p:stCondLst>
                                                <p:cond delay="0"/>
                                              </p:stCondLst>
                                            </p:cTn>
                                            <p:tgtEl>
                                              <p:spTgt spid="4"/>
                                            </p:tgtEl>
                                            <p:attrNameLst>
                                              <p:attrName>style.visibility</p:attrName>
                                            </p:attrNameLst>
                                          </p:cBhvr>
                                          <p:to>
                                            <p:strVal val="visible"/>
                                          </p:to>
                                        </p:set>
                                        <p:anim calcmode="lin" valueType="num" p14:bounceEnd="30000">
                                          <p:cBhvr additive="base">
                                            <p:cTn id="22" dur="500" fill="hold"/>
                                            <p:tgtEl>
                                              <p:spTgt spid="4"/>
                                            </p:tgtEl>
                                            <p:attrNameLst>
                                              <p:attrName>ppt_x</p:attrName>
                                            </p:attrNameLst>
                                          </p:cBhvr>
                                          <p:tavLst>
                                            <p:tav tm="0">
                                              <p:val>
                                                <p:strVal val="0-#ppt_w/2"/>
                                              </p:val>
                                            </p:tav>
                                            <p:tav tm="100000">
                                              <p:val>
                                                <p:strVal val="#ppt_x"/>
                                              </p:val>
                                            </p:tav>
                                          </p:tavLst>
                                        </p:anim>
                                        <p:anim calcmode="lin" valueType="num" p14:bounceEnd="30000">
                                          <p:cBhvr additive="base">
                                            <p:cTn id="23"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200"/>
                                      </p:stCondLst>
                                      <p:childTnLst>
                                        <p:set>
                                          <p:cBhvr>
                                            <p:cTn id="11" dur="1" fill="hold">
                                              <p:stCondLst>
                                                <p:cond delay="0"/>
                                              </p:stCondLst>
                                            </p:cTn>
                                            <p:tgtEl>
                                              <p:spTgt spid="156"/>
                                            </p:tgtEl>
                                            <p:attrNameLst>
                                              <p:attrName>style.visibility</p:attrName>
                                            </p:attrNameLst>
                                          </p:cBhvr>
                                          <p:to>
                                            <p:strVal val="visible"/>
                                          </p:to>
                                        </p:set>
                                        <p:animEffect transition="in" filter="fade">
                                          <p:cBhvr>
                                            <p:cTn id="12" dur="500"/>
                                            <p:tgtEl>
                                              <p:spTgt spid="156"/>
                                            </p:tgtEl>
                                          </p:cBhvr>
                                        </p:animEffect>
                                      </p:childTnLst>
                                    </p:cTn>
                                  </p:par>
                                  <p:par>
                                    <p:cTn id="13" presetID="10" presetClass="entr" presetSubtype="0" fill="hold" nodeType="withEffect">
                                      <p:stCondLst>
                                        <p:cond delay="30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par>
                                    <p:cTn id="16" presetID="2" presetClass="entr" presetSubtype="8" accel="10000" fill="hold" nodeType="withEffect">
                                      <p:stCondLst>
                                        <p:cond delay="50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fill="hold"/>
                                            <p:tgtEl>
                                              <p:spTgt spid="3"/>
                                            </p:tgtEl>
                                            <p:attrNameLst>
                                              <p:attrName>ppt_x</p:attrName>
                                            </p:attrNameLst>
                                          </p:cBhvr>
                                          <p:tavLst>
                                            <p:tav tm="0">
                                              <p:val>
                                                <p:strVal val="0-#ppt_w/2"/>
                                              </p:val>
                                            </p:tav>
                                            <p:tav tm="100000">
                                              <p:val>
                                                <p:strVal val="#ppt_x"/>
                                              </p:val>
                                            </p:tav>
                                          </p:tavLst>
                                        </p:anim>
                                        <p:anim calcmode="lin" valueType="num">
                                          <p:cBhvr additive="base">
                                            <p:cTn id="19" dur="500" fill="hold"/>
                                            <p:tgtEl>
                                              <p:spTgt spid="3"/>
                                            </p:tgtEl>
                                            <p:attrNameLst>
                                              <p:attrName>ppt_y</p:attrName>
                                            </p:attrNameLst>
                                          </p:cBhvr>
                                          <p:tavLst>
                                            <p:tav tm="0">
                                              <p:val>
                                                <p:strVal val="#ppt_y"/>
                                              </p:val>
                                            </p:tav>
                                            <p:tav tm="100000">
                                              <p:val>
                                                <p:strVal val="#ppt_y"/>
                                              </p:val>
                                            </p:tav>
                                          </p:tavLst>
                                        </p:anim>
                                      </p:childTnLst>
                                    </p:cTn>
                                  </p:par>
                                  <p:par>
                                    <p:cTn id="20" presetID="2" presetClass="entr" presetSubtype="8" accel="10000" fill="hold" nodeType="withEffect">
                                      <p:stCondLst>
                                        <p:cond delay="800"/>
                                      </p:stCondLst>
                                      <p:childTnLst>
                                        <p:set>
                                          <p:cBhvr>
                                            <p:cTn id="21" dur="1" fill="hold">
                                              <p:stCondLst>
                                                <p:cond delay="0"/>
                                              </p:stCondLst>
                                            </p:cTn>
                                            <p:tgtEl>
                                              <p:spTgt spid="4"/>
                                            </p:tgtEl>
                                            <p:attrNameLst>
                                              <p:attrName>style.visibility</p:attrName>
                                            </p:attrNameLst>
                                          </p:cBhvr>
                                          <p:to>
                                            <p:strVal val="visible"/>
                                          </p:to>
                                        </p:set>
                                        <p:anim calcmode="lin" valueType="num">
                                          <p:cBhvr additive="base">
                                            <p:cTn id="22" dur="500" fill="hold"/>
                                            <p:tgtEl>
                                              <p:spTgt spid="4"/>
                                            </p:tgtEl>
                                            <p:attrNameLst>
                                              <p:attrName>ppt_x</p:attrName>
                                            </p:attrNameLst>
                                          </p:cBhvr>
                                          <p:tavLst>
                                            <p:tav tm="0">
                                              <p:val>
                                                <p:strVal val="0-#ppt_w/2"/>
                                              </p:val>
                                            </p:tav>
                                            <p:tav tm="100000">
                                              <p:val>
                                                <p:strVal val="#ppt_x"/>
                                              </p:val>
                                            </p:tav>
                                          </p:tavLst>
                                        </p:anim>
                                        <p:anim calcmode="lin" valueType="num">
                                          <p:cBhvr additive="base">
                                            <p:cTn id="23"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 grpId="0" animBg="1"/>
        </p:bldLst>
      </p:timing>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97" name="think-cell Slide" r:id="rId7" imgW="347" imgH="348" progId="TCLayout.ActiveDocument.1">
                  <p:embed/>
                </p:oleObj>
              </mc:Choice>
              <mc:Fallback>
                <p:oleObj name="think-cell Slide" r:id="rId7"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a:extLst>
              <a:ext uri="{FF2B5EF4-FFF2-40B4-BE49-F238E27FC236}">
                <a16:creationId xmlns:a16="http://schemas.microsoft.com/office/drawing/2014/main" id="{70A5D87E-BB0B-4979-8BE2-20719E440B4B}"/>
              </a:ext>
            </a:extLst>
          </p:cNvPr>
          <p:cNvSpPr>
            <a:spLocks noGrp="1"/>
          </p:cNvSpPr>
          <p:nvPr>
            <p:ph type="ctrTitle"/>
          </p:nvPr>
        </p:nvSpPr>
        <p:spPr>
          <a:xfrm>
            <a:off x="634355" y="1374649"/>
            <a:ext cx="5297882" cy="1260063"/>
          </a:xfrm>
        </p:spPr>
        <p:txBody>
          <a:bodyPr>
            <a:normAutofit/>
          </a:bodyPr>
          <a:lstStyle/>
          <a:p>
            <a:r>
              <a:rPr lang="en-US" altLang="zh-CN" sz="6000" dirty="0"/>
              <a:t>THANKS</a:t>
            </a:r>
            <a:endParaRPr lang="zh-CN" altLang="en-US" sz="3200" dirty="0"/>
          </a:p>
        </p:txBody>
      </p:sp>
      <p:sp>
        <p:nvSpPr>
          <p:cNvPr id="24" name="标题 3">
            <a:extLst>
              <a:ext uri="{FF2B5EF4-FFF2-40B4-BE49-F238E27FC236}">
                <a16:creationId xmlns:a16="http://schemas.microsoft.com/office/drawing/2014/main" id="{149FB7CF-AEC5-4D52-A360-D61918175C25}"/>
              </a:ext>
            </a:extLst>
          </p:cNvPr>
          <p:cNvSpPr txBox="1">
            <a:spLocks/>
          </p:cNvSpPr>
          <p:nvPr/>
        </p:nvSpPr>
        <p:spPr>
          <a:xfrm>
            <a:off x="690860" y="2257054"/>
            <a:ext cx="5694299" cy="1314320"/>
          </a:xfrm>
          <a:prstGeom prst="rect">
            <a:avLst/>
          </a:prstGeom>
        </p:spPr>
        <p:txBody>
          <a:bodyPr vert="horz" lIns="91440" tIns="45720" rIns="91440" bIns="45720" rtlCol="0" anchor="b">
            <a:normAutofit/>
          </a:bodyPr>
          <a:lstStyle>
            <a:lvl1pPr marL="0" indent="0" algn="l" defTabSz="914354" rtl="0" eaLnBrk="1" latinLnBrk="0" hangingPunct="1">
              <a:lnSpc>
                <a:spcPct val="90000"/>
              </a:lnSpc>
              <a:spcBef>
                <a:spcPct val="0"/>
              </a:spcBef>
              <a:buFont typeface="Arial" panose="020B0604020202020204" pitchFamily="34" charset="0"/>
              <a:buNone/>
              <a:defRPr sz="3600" b="1" kern="1200">
                <a:solidFill>
                  <a:schemeClr val="bg1"/>
                </a:solidFill>
                <a:latin typeface="+mj-lt"/>
                <a:ea typeface="+mj-ea"/>
                <a:cs typeface="+mj-cs"/>
              </a:defRPr>
            </a:lvl1pPr>
          </a:lstStyle>
          <a:p>
            <a:pPr>
              <a:lnSpc>
                <a:spcPct val="100000"/>
              </a:lnSpc>
              <a:spcBef>
                <a:spcPts val="1800"/>
              </a:spcBef>
            </a:pPr>
            <a:r>
              <a:rPr lang="en-US" altLang="zh-CN" sz="1600" dirty="0"/>
              <a:t>Impact of Design Pattern Implementation Variants on the Retrieval Effectiveness of a Recovery Tool: </a:t>
            </a:r>
            <a:br>
              <a:rPr lang="en-US" altLang="zh-CN" sz="1600" dirty="0"/>
            </a:br>
            <a:r>
              <a:rPr lang="en-US" altLang="zh-CN" sz="1600" dirty="0"/>
              <a:t>An Exploratory Study</a:t>
            </a:r>
            <a:endParaRPr lang="zh-CN" altLang="en-US" sz="4000" dirty="0"/>
          </a:p>
        </p:txBody>
      </p:sp>
      <p:sp>
        <p:nvSpPr>
          <p:cNvPr id="25" name="矩形 24">
            <a:extLst>
              <a:ext uri="{FF2B5EF4-FFF2-40B4-BE49-F238E27FC236}">
                <a16:creationId xmlns:a16="http://schemas.microsoft.com/office/drawing/2014/main" id="{BA45828D-A197-4B51-8F27-BAD298F0BBF2}"/>
              </a:ext>
            </a:extLst>
          </p:cNvPr>
          <p:cNvSpPr/>
          <p:nvPr/>
        </p:nvSpPr>
        <p:spPr>
          <a:xfrm>
            <a:off x="687360" y="3574473"/>
            <a:ext cx="5533660" cy="553998"/>
          </a:xfrm>
          <a:prstGeom prst="rect">
            <a:avLst/>
          </a:prstGeom>
        </p:spPr>
        <p:txBody>
          <a:bodyPr wrap="square">
            <a:spAutoFit/>
          </a:bodyPr>
          <a:lstStyle/>
          <a:p>
            <a:r>
              <a:rPr lang="en-US" altLang="zh-CN" sz="1000" dirty="0">
                <a:solidFill>
                  <a:schemeClr val="bg1">
                    <a:lumMod val="85000"/>
                  </a:schemeClr>
                </a:solidFill>
                <a:latin typeface="Gabriola" panose="04040605051002020D02" pitchFamily="82" charset="0"/>
              </a:rPr>
              <a:t>De Lucia, A., </a:t>
            </a:r>
            <a:r>
              <a:rPr lang="en-US" altLang="zh-CN" sz="1000" dirty="0" err="1">
                <a:solidFill>
                  <a:schemeClr val="bg1">
                    <a:lumMod val="85000"/>
                  </a:schemeClr>
                </a:solidFill>
                <a:latin typeface="Gabriola" panose="04040605051002020D02" pitchFamily="82" charset="0"/>
              </a:rPr>
              <a:t>Deufemia</a:t>
            </a:r>
            <a:r>
              <a:rPr lang="en-US" altLang="zh-CN" sz="1000" dirty="0">
                <a:solidFill>
                  <a:schemeClr val="bg1">
                    <a:lumMod val="85000"/>
                  </a:schemeClr>
                </a:solidFill>
                <a:latin typeface="Gabriola" panose="04040605051002020D02" pitchFamily="82" charset="0"/>
              </a:rPr>
              <a:t>, V., </a:t>
            </a:r>
            <a:r>
              <a:rPr lang="en-US" altLang="zh-CN" sz="1000" dirty="0" err="1">
                <a:solidFill>
                  <a:schemeClr val="bg1">
                    <a:lumMod val="85000"/>
                  </a:schemeClr>
                </a:solidFill>
                <a:latin typeface="Gabriola" panose="04040605051002020D02" pitchFamily="82" charset="0"/>
              </a:rPr>
              <a:t>Gravino</a:t>
            </a:r>
            <a:r>
              <a:rPr lang="en-US" altLang="zh-CN" sz="1000" dirty="0">
                <a:solidFill>
                  <a:schemeClr val="bg1">
                    <a:lumMod val="85000"/>
                  </a:schemeClr>
                </a:solidFill>
                <a:latin typeface="Gabriola" panose="04040605051002020D02" pitchFamily="82" charset="0"/>
              </a:rPr>
              <a:t>, C., &amp; </a:t>
            </a:r>
            <a:r>
              <a:rPr lang="en-US" altLang="zh-CN" sz="1000" dirty="0" err="1">
                <a:solidFill>
                  <a:schemeClr val="bg1">
                    <a:lumMod val="85000"/>
                  </a:schemeClr>
                </a:solidFill>
                <a:latin typeface="Gabriola" panose="04040605051002020D02" pitchFamily="82" charset="0"/>
              </a:rPr>
              <a:t>Risi</a:t>
            </a:r>
            <a:r>
              <a:rPr lang="en-US" altLang="zh-CN" sz="1000" dirty="0">
                <a:solidFill>
                  <a:schemeClr val="bg1">
                    <a:lumMod val="85000"/>
                  </a:schemeClr>
                </a:solidFill>
                <a:latin typeface="Gabriola" panose="04040605051002020D02" pitchFamily="82" charset="0"/>
              </a:rPr>
              <a:t>, M. (2018). </a:t>
            </a:r>
            <a:r>
              <a:rPr lang="en-US" altLang="zh-CN" sz="1000" i="1" dirty="0">
                <a:solidFill>
                  <a:schemeClr val="bg1">
                    <a:lumMod val="85000"/>
                  </a:schemeClr>
                </a:solidFill>
                <a:latin typeface="Gabriola" panose="04040605051002020D02" pitchFamily="82" charset="0"/>
              </a:rPr>
              <a:t>Impact of Design Pattern Implementation Variants on the Retrieval Effectiveness of a Recovery Tool: An Exploratory Study. 2018 44th </a:t>
            </a:r>
            <a:r>
              <a:rPr lang="en-US" altLang="zh-CN" sz="1000" i="1" dirty="0" err="1">
                <a:solidFill>
                  <a:schemeClr val="bg1">
                    <a:lumMod val="85000"/>
                  </a:schemeClr>
                </a:solidFill>
                <a:latin typeface="Gabriola" panose="04040605051002020D02" pitchFamily="82" charset="0"/>
              </a:rPr>
              <a:t>Euromicro</a:t>
            </a:r>
            <a:r>
              <a:rPr lang="en-US" altLang="zh-CN" sz="1000" i="1" dirty="0">
                <a:solidFill>
                  <a:schemeClr val="bg1">
                    <a:lumMod val="85000"/>
                  </a:schemeClr>
                </a:solidFill>
                <a:latin typeface="Gabriola" panose="04040605051002020D02" pitchFamily="82" charset="0"/>
              </a:rPr>
              <a:t> Conference on Software Engineering and Advanced Applications (SEAA).</a:t>
            </a:r>
            <a:r>
              <a:rPr lang="en-US" altLang="zh-CN" sz="1000" dirty="0">
                <a:solidFill>
                  <a:schemeClr val="bg1">
                    <a:lumMod val="85000"/>
                  </a:schemeClr>
                </a:solidFill>
                <a:latin typeface="Gabriola" panose="04040605051002020D02" pitchFamily="82" charset="0"/>
              </a:rPr>
              <a:t> doi:10.1109/seaa.2018.00034 </a:t>
            </a:r>
            <a:endParaRPr lang="zh-CN" altLang="en-US" sz="1000" dirty="0">
              <a:solidFill>
                <a:schemeClr val="bg1">
                  <a:lumMod val="85000"/>
                </a:schemeClr>
              </a:solidFill>
              <a:latin typeface="Gabriola" panose="04040605051002020D02" pitchFamily="82" charset="0"/>
            </a:endParaRPr>
          </a:p>
        </p:txBody>
      </p:sp>
      <p:sp>
        <p:nvSpPr>
          <p:cNvPr id="13" name="矩形 12">
            <a:extLst>
              <a:ext uri="{FF2B5EF4-FFF2-40B4-BE49-F238E27FC236}">
                <a16:creationId xmlns:a16="http://schemas.microsoft.com/office/drawing/2014/main" id="{2769E5A8-6116-4664-87CD-DDFB9450BBD1}"/>
              </a:ext>
            </a:extLst>
          </p:cNvPr>
          <p:cNvSpPr/>
          <p:nvPr/>
        </p:nvSpPr>
        <p:spPr>
          <a:xfrm flipH="1">
            <a:off x="1026813" y="4519700"/>
            <a:ext cx="4726923" cy="1316867"/>
          </a:xfrm>
          <a:prstGeom prst="rect">
            <a:avLst/>
          </a:prstGeom>
          <a:gradFill flip="none" rotWithShape="1">
            <a:gsLst>
              <a:gs pos="100000">
                <a:schemeClr val="bg1">
                  <a:alpha val="0"/>
                </a:schemeClr>
              </a:gs>
              <a:gs pos="0">
                <a:schemeClr val="bg1">
                  <a:alpha val="0"/>
                </a:schemeClr>
              </a:gs>
              <a:gs pos="23000">
                <a:srgbClr val="01BADC">
                  <a:alpha val="27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副标题 4">
            <a:extLst>
              <a:ext uri="{FF2B5EF4-FFF2-40B4-BE49-F238E27FC236}">
                <a16:creationId xmlns:a16="http://schemas.microsoft.com/office/drawing/2014/main" id="{6D69455A-7FA9-47FD-A793-3171DEC8E3C1}"/>
              </a:ext>
            </a:extLst>
          </p:cNvPr>
          <p:cNvSpPr txBox="1">
            <a:spLocks/>
          </p:cNvSpPr>
          <p:nvPr/>
        </p:nvSpPr>
        <p:spPr>
          <a:xfrm>
            <a:off x="1288900" y="4756921"/>
            <a:ext cx="1383064" cy="1149247"/>
          </a:xfrm>
          <a:prstGeom prst="rect">
            <a:avLst/>
          </a:prstGeom>
        </p:spPr>
        <p:txBody>
          <a:bodyPr>
            <a:normAutofit/>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200"/>
              </a:spcBef>
              <a:buNone/>
            </a:pPr>
            <a:r>
              <a:rPr lang="zh-CN" altLang="en-US" sz="1400" dirty="0">
                <a:solidFill>
                  <a:schemeClr val="bg1"/>
                </a:solidFill>
                <a:latin typeface="Monotype Corsiva" panose="03010101010201010101" pitchFamily="66" charset="0"/>
                <a:ea typeface="微软雅黑 Light" panose="020B0502040204020203" pitchFamily="34" charset="-122"/>
              </a:rPr>
              <a:t>李思佳</a:t>
            </a:r>
            <a:endParaRPr lang="en-US" altLang="zh-CN" sz="1400" dirty="0">
              <a:solidFill>
                <a:schemeClr val="bg1"/>
              </a:solidFill>
              <a:latin typeface="Monotype Corsiva" panose="03010101010201010101" pitchFamily="66" charset="0"/>
              <a:ea typeface="微软雅黑 Light" panose="020B0502040204020203" pitchFamily="34" charset="-122"/>
            </a:endParaRPr>
          </a:p>
          <a:p>
            <a:pPr marL="0" indent="0">
              <a:spcBef>
                <a:spcPts val="1200"/>
              </a:spcBef>
              <a:buNone/>
            </a:pPr>
            <a:r>
              <a:rPr lang="zh-CN" altLang="en-US" sz="1400" dirty="0">
                <a:solidFill>
                  <a:schemeClr val="bg1"/>
                </a:solidFill>
                <a:latin typeface="Monotype Corsiva" panose="03010101010201010101" pitchFamily="66" charset="0"/>
                <a:ea typeface="微软雅黑 Light" panose="020B0502040204020203" pitchFamily="34" charset="-122"/>
              </a:rPr>
              <a:t>刘    亮</a:t>
            </a:r>
            <a:endParaRPr lang="en-US" altLang="zh-CN" sz="1400" dirty="0">
              <a:solidFill>
                <a:schemeClr val="bg1"/>
              </a:solidFill>
              <a:latin typeface="Monotype Corsiva" panose="03010101010201010101" pitchFamily="66" charset="0"/>
              <a:ea typeface="微软雅黑 Light" panose="020B0502040204020203" pitchFamily="34" charset="-122"/>
            </a:endParaRPr>
          </a:p>
          <a:p>
            <a:pPr marL="0" indent="0">
              <a:spcBef>
                <a:spcPts val="1200"/>
              </a:spcBef>
              <a:buNone/>
            </a:pPr>
            <a:r>
              <a:rPr lang="zh-CN" altLang="en-US" sz="1400" dirty="0">
                <a:solidFill>
                  <a:schemeClr val="bg1"/>
                </a:solidFill>
                <a:latin typeface="Monotype Corsiva" panose="03010101010201010101" pitchFamily="66" charset="0"/>
                <a:ea typeface="微软雅黑 Light" panose="020B0502040204020203" pitchFamily="34" charset="-122"/>
              </a:rPr>
              <a:t>赵韦鑫</a:t>
            </a:r>
            <a:endParaRPr lang="en-US" altLang="zh-CN" sz="1400" dirty="0">
              <a:solidFill>
                <a:schemeClr val="bg1"/>
              </a:solidFill>
              <a:latin typeface="Monotype Corsiva" panose="03010101010201010101" pitchFamily="66" charset="0"/>
              <a:ea typeface="微软雅黑 Light" panose="020B0502040204020203" pitchFamily="34" charset="-122"/>
            </a:endParaRPr>
          </a:p>
        </p:txBody>
      </p:sp>
      <p:sp>
        <p:nvSpPr>
          <p:cNvPr id="15" name="矩形 14">
            <a:extLst>
              <a:ext uri="{FF2B5EF4-FFF2-40B4-BE49-F238E27FC236}">
                <a16:creationId xmlns:a16="http://schemas.microsoft.com/office/drawing/2014/main" id="{9F92269C-C4A9-45AC-BBF3-0C6B6D796279}"/>
              </a:ext>
            </a:extLst>
          </p:cNvPr>
          <p:cNvSpPr/>
          <p:nvPr/>
        </p:nvSpPr>
        <p:spPr>
          <a:xfrm flipH="1">
            <a:off x="746126" y="4522134"/>
            <a:ext cx="122554" cy="1316867"/>
          </a:xfrm>
          <a:prstGeom prst="rect">
            <a:avLst/>
          </a:prstGeom>
          <a:gradFill flip="none" rotWithShape="1">
            <a:gsLst>
              <a:gs pos="100000">
                <a:schemeClr val="bg1">
                  <a:alpha val="0"/>
                </a:schemeClr>
              </a:gs>
              <a:gs pos="0">
                <a:srgbClr val="01BADC">
                  <a:alpha val="27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woman-with-collar_81990">
            <a:extLst>
              <a:ext uri="{FF2B5EF4-FFF2-40B4-BE49-F238E27FC236}">
                <a16:creationId xmlns:a16="http://schemas.microsoft.com/office/drawing/2014/main" id="{1FD9D3CE-4BA7-44F3-9D30-94D6D9D25A87}"/>
              </a:ext>
            </a:extLst>
          </p:cNvPr>
          <p:cNvSpPr>
            <a:spLocks noChangeAspect="1"/>
          </p:cNvSpPr>
          <p:nvPr/>
        </p:nvSpPr>
        <p:spPr bwMode="auto">
          <a:xfrm>
            <a:off x="1067434" y="4747485"/>
            <a:ext cx="174626" cy="250244"/>
          </a:xfrm>
          <a:custGeom>
            <a:avLst/>
            <a:gdLst>
              <a:gd name="T0" fmla="*/ 4027 w 4458"/>
              <a:gd name="T1" fmla="*/ 4195 h 6398"/>
              <a:gd name="T2" fmla="*/ 3564 w 4458"/>
              <a:gd name="T3" fmla="*/ 2441 h 6398"/>
              <a:gd name="T4" fmla="*/ 3645 w 4458"/>
              <a:gd name="T5" fmla="*/ 1697 h 6398"/>
              <a:gd name="T6" fmla="*/ 2229 w 4458"/>
              <a:gd name="T7" fmla="*/ 0 h 6398"/>
              <a:gd name="T8" fmla="*/ 813 w 4458"/>
              <a:gd name="T9" fmla="*/ 1697 h 6398"/>
              <a:gd name="T10" fmla="*/ 894 w 4458"/>
              <a:gd name="T11" fmla="*/ 2441 h 6398"/>
              <a:gd name="T12" fmla="*/ 431 w 4458"/>
              <a:gd name="T13" fmla="*/ 4195 h 6398"/>
              <a:gd name="T14" fmla="*/ 197 w 4458"/>
              <a:gd name="T15" fmla="*/ 6071 h 6398"/>
              <a:gd name="T16" fmla="*/ 3614 w 4458"/>
              <a:gd name="T17" fmla="*/ 6398 h 6398"/>
              <a:gd name="T18" fmla="*/ 4384 w 4458"/>
              <a:gd name="T19" fmla="*/ 5357 h 6398"/>
              <a:gd name="T20" fmla="*/ 1799 w 4458"/>
              <a:gd name="T21" fmla="*/ 4449 h 6398"/>
              <a:gd name="T22" fmla="*/ 1942 w 4458"/>
              <a:gd name="T23" fmla="*/ 4430 h 6398"/>
              <a:gd name="T24" fmla="*/ 2516 w 4458"/>
              <a:gd name="T25" fmla="*/ 4430 h 6398"/>
              <a:gd name="T26" fmla="*/ 2659 w 4458"/>
              <a:gd name="T27" fmla="*/ 4449 h 6398"/>
              <a:gd name="T28" fmla="*/ 3107 w 4458"/>
              <a:gd name="T29" fmla="*/ 4000 h 6398"/>
              <a:gd name="T30" fmla="*/ 3257 w 4458"/>
              <a:gd name="T31" fmla="*/ 3908 h 6398"/>
              <a:gd name="T32" fmla="*/ 2197 w 4458"/>
              <a:gd name="T33" fmla="*/ 5599 h 6398"/>
              <a:gd name="T34" fmla="*/ 1201 w 4458"/>
              <a:gd name="T35" fmla="*/ 3908 h 6398"/>
              <a:gd name="T36" fmla="*/ 1351 w 4458"/>
              <a:gd name="T37" fmla="*/ 4000 h 6398"/>
              <a:gd name="T38" fmla="*/ 2229 w 4458"/>
              <a:gd name="T39" fmla="*/ 1703 h 6398"/>
              <a:gd name="T40" fmla="*/ 3431 w 4458"/>
              <a:gd name="T41" fmla="*/ 2092 h 6398"/>
              <a:gd name="T42" fmla="*/ 3132 w 4458"/>
              <a:gd name="T43" fmla="*/ 2441 h 6398"/>
              <a:gd name="T44" fmla="*/ 2508 w 4458"/>
              <a:gd name="T45" fmla="*/ 3335 h 6398"/>
              <a:gd name="T46" fmla="*/ 2673 w 4458"/>
              <a:gd name="T47" fmla="*/ 3888 h 6398"/>
              <a:gd name="T48" fmla="*/ 2426 w 4458"/>
              <a:gd name="T49" fmla="*/ 4215 h 6398"/>
              <a:gd name="T50" fmla="*/ 2229 w 4458"/>
              <a:gd name="T51" fmla="*/ 4143 h 6398"/>
              <a:gd name="T52" fmla="*/ 2032 w 4458"/>
              <a:gd name="T53" fmla="*/ 4215 h 6398"/>
              <a:gd name="T54" fmla="*/ 1784 w 4458"/>
              <a:gd name="T55" fmla="*/ 3888 h 6398"/>
              <a:gd name="T56" fmla="*/ 1950 w 4458"/>
              <a:gd name="T57" fmla="*/ 3335 h 6398"/>
              <a:gd name="T58" fmla="*/ 1326 w 4458"/>
              <a:gd name="T59" fmla="*/ 2441 h 6398"/>
              <a:gd name="T60" fmla="*/ 1027 w 4458"/>
              <a:gd name="T61" fmla="*/ 2092 h 6398"/>
              <a:gd name="T62" fmla="*/ 2229 w 4458"/>
              <a:gd name="T63" fmla="*/ 1703 h 6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58" h="6398">
                <a:moveTo>
                  <a:pt x="4384" y="5357"/>
                </a:moveTo>
                <a:lnTo>
                  <a:pt x="4027" y="4195"/>
                </a:lnTo>
                <a:cubicBezTo>
                  <a:pt x="3955" y="3958"/>
                  <a:pt x="3782" y="3778"/>
                  <a:pt x="3564" y="3688"/>
                </a:cubicBezTo>
                <a:lnTo>
                  <a:pt x="3564" y="2441"/>
                </a:lnTo>
                <a:cubicBezTo>
                  <a:pt x="3630" y="2362"/>
                  <a:pt x="3682" y="2264"/>
                  <a:pt x="3706" y="2153"/>
                </a:cubicBezTo>
                <a:cubicBezTo>
                  <a:pt x="3743" y="1985"/>
                  <a:pt x="3716" y="1823"/>
                  <a:pt x="3645" y="1697"/>
                </a:cubicBezTo>
                <a:cubicBezTo>
                  <a:pt x="3666" y="1634"/>
                  <a:pt x="3678" y="1553"/>
                  <a:pt x="3678" y="1449"/>
                </a:cubicBezTo>
                <a:cubicBezTo>
                  <a:pt x="3678" y="649"/>
                  <a:pt x="3029" y="0"/>
                  <a:pt x="2229" y="0"/>
                </a:cubicBezTo>
                <a:cubicBezTo>
                  <a:pt x="1429" y="0"/>
                  <a:pt x="780" y="649"/>
                  <a:pt x="780" y="1449"/>
                </a:cubicBezTo>
                <a:cubicBezTo>
                  <a:pt x="780" y="1553"/>
                  <a:pt x="792" y="1634"/>
                  <a:pt x="813" y="1697"/>
                </a:cubicBezTo>
                <a:cubicBezTo>
                  <a:pt x="742" y="1823"/>
                  <a:pt x="715" y="1985"/>
                  <a:pt x="752" y="2153"/>
                </a:cubicBezTo>
                <a:cubicBezTo>
                  <a:pt x="776" y="2264"/>
                  <a:pt x="828" y="2362"/>
                  <a:pt x="894" y="2441"/>
                </a:cubicBezTo>
                <a:lnTo>
                  <a:pt x="894" y="3688"/>
                </a:lnTo>
                <a:cubicBezTo>
                  <a:pt x="676" y="3778"/>
                  <a:pt x="503" y="3958"/>
                  <a:pt x="431" y="4195"/>
                </a:cubicBezTo>
                <a:lnTo>
                  <a:pt x="74" y="5356"/>
                </a:lnTo>
                <a:cubicBezTo>
                  <a:pt x="0" y="5600"/>
                  <a:pt x="46" y="5867"/>
                  <a:pt x="197" y="6071"/>
                </a:cubicBezTo>
                <a:cubicBezTo>
                  <a:pt x="348" y="6276"/>
                  <a:pt x="590" y="6398"/>
                  <a:pt x="844" y="6398"/>
                </a:cubicBezTo>
                <a:lnTo>
                  <a:pt x="3614" y="6398"/>
                </a:lnTo>
                <a:cubicBezTo>
                  <a:pt x="3868" y="6398"/>
                  <a:pt x="4110" y="6276"/>
                  <a:pt x="4261" y="6071"/>
                </a:cubicBezTo>
                <a:cubicBezTo>
                  <a:pt x="4412" y="5867"/>
                  <a:pt x="4458" y="5600"/>
                  <a:pt x="4384" y="5357"/>
                </a:cubicBezTo>
                <a:close/>
                <a:moveTo>
                  <a:pt x="1569" y="4231"/>
                </a:moveTo>
                <a:cubicBezTo>
                  <a:pt x="1577" y="4352"/>
                  <a:pt x="1675" y="4449"/>
                  <a:pt x="1799" y="4449"/>
                </a:cubicBezTo>
                <a:cubicBezTo>
                  <a:pt x="1857" y="4449"/>
                  <a:pt x="1909" y="4425"/>
                  <a:pt x="1950" y="4390"/>
                </a:cubicBezTo>
                <a:cubicBezTo>
                  <a:pt x="1948" y="4404"/>
                  <a:pt x="1942" y="4416"/>
                  <a:pt x="1942" y="4430"/>
                </a:cubicBezTo>
                <a:cubicBezTo>
                  <a:pt x="1942" y="4589"/>
                  <a:pt x="2070" y="4718"/>
                  <a:pt x="2229" y="4718"/>
                </a:cubicBezTo>
                <a:cubicBezTo>
                  <a:pt x="2388" y="4718"/>
                  <a:pt x="2516" y="4589"/>
                  <a:pt x="2516" y="4430"/>
                </a:cubicBezTo>
                <a:cubicBezTo>
                  <a:pt x="2516" y="4416"/>
                  <a:pt x="2510" y="4404"/>
                  <a:pt x="2508" y="4390"/>
                </a:cubicBezTo>
                <a:cubicBezTo>
                  <a:pt x="2549" y="4425"/>
                  <a:pt x="2601" y="4449"/>
                  <a:pt x="2659" y="4449"/>
                </a:cubicBezTo>
                <a:cubicBezTo>
                  <a:pt x="2782" y="4449"/>
                  <a:pt x="2881" y="4352"/>
                  <a:pt x="2889" y="4231"/>
                </a:cubicBezTo>
                <a:cubicBezTo>
                  <a:pt x="3011" y="4222"/>
                  <a:pt x="3107" y="4124"/>
                  <a:pt x="3107" y="4000"/>
                </a:cubicBezTo>
                <a:cubicBezTo>
                  <a:pt x="3107" y="3967"/>
                  <a:pt x="3100" y="3936"/>
                  <a:pt x="3088" y="3908"/>
                </a:cubicBezTo>
                <a:lnTo>
                  <a:pt x="3257" y="3908"/>
                </a:lnTo>
                <a:cubicBezTo>
                  <a:pt x="3271" y="3908"/>
                  <a:pt x="3285" y="3910"/>
                  <a:pt x="3298" y="3911"/>
                </a:cubicBezTo>
                <a:cubicBezTo>
                  <a:pt x="3126" y="4341"/>
                  <a:pt x="2586" y="5604"/>
                  <a:pt x="2197" y="5599"/>
                </a:cubicBezTo>
                <a:cubicBezTo>
                  <a:pt x="1815" y="5594"/>
                  <a:pt x="1310" y="4342"/>
                  <a:pt x="1148" y="3912"/>
                </a:cubicBezTo>
                <a:cubicBezTo>
                  <a:pt x="1165" y="3910"/>
                  <a:pt x="1183" y="3908"/>
                  <a:pt x="1201" y="3908"/>
                </a:cubicBezTo>
                <a:lnTo>
                  <a:pt x="1370" y="3908"/>
                </a:lnTo>
                <a:cubicBezTo>
                  <a:pt x="1358" y="3936"/>
                  <a:pt x="1351" y="3967"/>
                  <a:pt x="1351" y="4000"/>
                </a:cubicBezTo>
                <a:cubicBezTo>
                  <a:pt x="1351" y="4124"/>
                  <a:pt x="1447" y="4222"/>
                  <a:pt x="1569" y="4231"/>
                </a:cubicBezTo>
                <a:close/>
                <a:moveTo>
                  <a:pt x="2229" y="1703"/>
                </a:moveTo>
                <a:cubicBezTo>
                  <a:pt x="2725" y="1703"/>
                  <a:pt x="3162" y="1912"/>
                  <a:pt x="3423" y="1881"/>
                </a:cubicBezTo>
                <a:cubicBezTo>
                  <a:pt x="3443" y="1941"/>
                  <a:pt x="3448" y="2016"/>
                  <a:pt x="3431" y="2092"/>
                </a:cubicBezTo>
                <a:cubicBezTo>
                  <a:pt x="3404" y="2217"/>
                  <a:pt x="3321" y="2320"/>
                  <a:pt x="3231" y="2344"/>
                </a:cubicBezTo>
                <a:cubicBezTo>
                  <a:pt x="3184" y="2357"/>
                  <a:pt x="3146" y="2393"/>
                  <a:pt x="3132" y="2441"/>
                </a:cubicBezTo>
                <a:cubicBezTo>
                  <a:pt x="3033" y="2779"/>
                  <a:pt x="2832" y="3049"/>
                  <a:pt x="2581" y="3182"/>
                </a:cubicBezTo>
                <a:cubicBezTo>
                  <a:pt x="2525" y="3211"/>
                  <a:pt x="2496" y="3273"/>
                  <a:pt x="2508" y="3335"/>
                </a:cubicBezTo>
                <a:lnTo>
                  <a:pt x="2603" y="3795"/>
                </a:lnTo>
                <a:cubicBezTo>
                  <a:pt x="2612" y="3836"/>
                  <a:pt x="2639" y="3868"/>
                  <a:pt x="2673" y="3888"/>
                </a:cubicBezTo>
                <a:cubicBezTo>
                  <a:pt x="2657" y="3917"/>
                  <a:pt x="2646" y="3949"/>
                  <a:pt x="2644" y="3985"/>
                </a:cubicBezTo>
                <a:cubicBezTo>
                  <a:pt x="2522" y="3993"/>
                  <a:pt x="2426" y="4092"/>
                  <a:pt x="2426" y="4215"/>
                </a:cubicBezTo>
                <a:cubicBezTo>
                  <a:pt x="2426" y="4218"/>
                  <a:pt x="2427" y="4221"/>
                  <a:pt x="2427" y="4224"/>
                </a:cubicBezTo>
                <a:cubicBezTo>
                  <a:pt x="2376" y="4174"/>
                  <a:pt x="2306" y="4143"/>
                  <a:pt x="2229" y="4143"/>
                </a:cubicBezTo>
                <a:cubicBezTo>
                  <a:pt x="2152" y="4143"/>
                  <a:pt x="2082" y="4174"/>
                  <a:pt x="2031" y="4224"/>
                </a:cubicBezTo>
                <a:cubicBezTo>
                  <a:pt x="2031" y="4221"/>
                  <a:pt x="2032" y="4218"/>
                  <a:pt x="2032" y="4215"/>
                </a:cubicBezTo>
                <a:cubicBezTo>
                  <a:pt x="2032" y="4092"/>
                  <a:pt x="1936" y="3993"/>
                  <a:pt x="1814" y="3985"/>
                </a:cubicBezTo>
                <a:cubicBezTo>
                  <a:pt x="1812" y="3949"/>
                  <a:pt x="1801" y="3917"/>
                  <a:pt x="1784" y="3888"/>
                </a:cubicBezTo>
                <a:cubicBezTo>
                  <a:pt x="1819" y="3868"/>
                  <a:pt x="1846" y="3836"/>
                  <a:pt x="1854" y="3795"/>
                </a:cubicBezTo>
                <a:lnTo>
                  <a:pt x="1950" y="3335"/>
                </a:lnTo>
                <a:cubicBezTo>
                  <a:pt x="1962" y="3273"/>
                  <a:pt x="1933" y="3211"/>
                  <a:pt x="1877" y="3182"/>
                </a:cubicBezTo>
                <a:cubicBezTo>
                  <a:pt x="1626" y="3049"/>
                  <a:pt x="1425" y="2779"/>
                  <a:pt x="1326" y="2441"/>
                </a:cubicBezTo>
                <a:cubicBezTo>
                  <a:pt x="1312" y="2393"/>
                  <a:pt x="1274" y="2357"/>
                  <a:pt x="1226" y="2344"/>
                </a:cubicBezTo>
                <a:cubicBezTo>
                  <a:pt x="1136" y="2321"/>
                  <a:pt x="1054" y="2217"/>
                  <a:pt x="1027" y="2092"/>
                </a:cubicBezTo>
                <a:cubicBezTo>
                  <a:pt x="1010" y="2016"/>
                  <a:pt x="1015" y="1941"/>
                  <a:pt x="1034" y="1881"/>
                </a:cubicBezTo>
                <a:cubicBezTo>
                  <a:pt x="1295" y="1912"/>
                  <a:pt x="1733" y="1703"/>
                  <a:pt x="2229" y="1703"/>
                </a:cubicBezTo>
                <a:close/>
              </a:path>
            </a:pathLst>
          </a:custGeom>
          <a:solidFill>
            <a:srgbClr val="FF6969"/>
          </a:solidFill>
          <a:ln>
            <a:noFill/>
          </a:ln>
        </p:spPr>
      </p:sp>
      <p:sp>
        <p:nvSpPr>
          <p:cNvPr id="17" name="specialist-user_80886">
            <a:extLst>
              <a:ext uri="{FF2B5EF4-FFF2-40B4-BE49-F238E27FC236}">
                <a16:creationId xmlns:a16="http://schemas.microsoft.com/office/drawing/2014/main" id="{1ABB497D-A810-407F-9E9E-DF95F76C2C35}"/>
              </a:ext>
            </a:extLst>
          </p:cNvPr>
          <p:cNvSpPr>
            <a:spLocks noChangeAspect="1"/>
          </p:cNvSpPr>
          <p:nvPr/>
        </p:nvSpPr>
        <p:spPr bwMode="auto">
          <a:xfrm>
            <a:off x="1026813" y="5106926"/>
            <a:ext cx="215247" cy="250244"/>
          </a:xfrm>
          <a:custGeom>
            <a:avLst/>
            <a:gdLst>
              <a:gd name="connsiteX0" fmla="*/ 327615 w 521993"/>
              <a:gd name="connsiteY0" fmla="*/ 466652 h 606863"/>
              <a:gd name="connsiteX1" fmla="*/ 327615 w 521993"/>
              <a:gd name="connsiteY1" fmla="*/ 490607 h 606863"/>
              <a:gd name="connsiteX2" fmla="*/ 372201 w 521993"/>
              <a:gd name="connsiteY2" fmla="*/ 504537 h 606863"/>
              <a:gd name="connsiteX3" fmla="*/ 416917 w 521993"/>
              <a:gd name="connsiteY3" fmla="*/ 490607 h 606863"/>
              <a:gd name="connsiteX4" fmla="*/ 416917 w 521993"/>
              <a:gd name="connsiteY4" fmla="*/ 466652 h 606863"/>
              <a:gd name="connsiteX5" fmla="*/ 173129 w 521993"/>
              <a:gd name="connsiteY5" fmla="*/ 327483 h 606863"/>
              <a:gd name="connsiteX6" fmla="*/ 183819 w 521993"/>
              <a:gd name="connsiteY6" fmla="*/ 328394 h 606863"/>
              <a:gd name="connsiteX7" fmla="*/ 235315 w 521993"/>
              <a:gd name="connsiteY7" fmla="*/ 353260 h 606863"/>
              <a:gd name="connsiteX8" fmla="*/ 242355 w 521993"/>
              <a:gd name="connsiteY8" fmla="*/ 359379 h 606863"/>
              <a:gd name="connsiteX9" fmla="*/ 260997 w 521993"/>
              <a:gd name="connsiteY9" fmla="*/ 408459 h 606863"/>
              <a:gd name="connsiteX10" fmla="*/ 279640 w 521993"/>
              <a:gd name="connsiteY10" fmla="*/ 359379 h 606863"/>
              <a:gd name="connsiteX11" fmla="*/ 286680 w 521993"/>
              <a:gd name="connsiteY11" fmla="*/ 353260 h 606863"/>
              <a:gd name="connsiteX12" fmla="*/ 338175 w 521993"/>
              <a:gd name="connsiteY12" fmla="*/ 328394 h 606863"/>
              <a:gd name="connsiteX13" fmla="*/ 348865 w 521993"/>
              <a:gd name="connsiteY13" fmla="*/ 327483 h 606863"/>
              <a:gd name="connsiteX14" fmla="*/ 349387 w 521993"/>
              <a:gd name="connsiteY14" fmla="*/ 327743 h 606863"/>
              <a:gd name="connsiteX15" fmla="*/ 470368 w 521993"/>
              <a:gd name="connsiteY15" fmla="*/ 395440 h 606863"/>
              <a:gd name="connsiteX16" fmla="*/ 521863 w 521993"/>
              <a:gd name="connsiteY16" fmla="*/ 517816 h 606863"/>
              <a:gd name="connsiteX17" fmla="*/ 521472 w 521993"/>
              <a:gd name="connsiteY17" fmla="*/ 522633 h 606863"/>
              <a:gd name="connsiteX18" fmla="*/ 260997 w 521993"/>
              <a:gd name="connsiteY18" fmla="*/ 606863 h 606863"/>
              <a:gd name="connsiteX19" fmla="*/ 522 w 521993"/>
              <a:gd name="connsiteY19" fmla="*/ 522633 h 606863"/>
              <a:gd name="connsiteX20" fmla="*/ 131 w 521993"/>
              <a:gd name="connsiteY20" fmla="*/ 517816 h 606863"/>
              <a:gd name="connsiteX21" fmla="*/ 51757 w 521993"/>
              <a:gd name="connsiteY21" fmla="*/ 395440 h 606863"/>
              <a:gd name="connsiteX22" fmla="*/ 173129 w 521993"/>
              <a:gd name="connsiteY22" fmla="*/ 327483 h 606863"/>
              <a:gd name="connsiteX23" fmla="*/ 218629 w 521993"/>
              <a:gd name="connsiteY23" fmla="*/ 102451 h 606863"/>
              <a:gd name="connsiteX24" fmla="*/ 141455 w 521993"/>
              <a:gd name="connsiteY24" fmla="*/ 142547 h 606863"/>
              <a:gd name="connsiteX25" fmla="*/ 140933 w 521993"/>
              <a:gd name="connsiteY25" fmla="*/ 171186 h 606863"/>
              <a:gd name="connsiteX26" fmla="*/ 188907 w 521993"/>
              <a:gd name="connsiteY26" fmla="*/ 287046 h 606863"/>
              <a:gd name="connsiteX27" fmla="*/ 260997 w 521993"/>
              <a:gd name="connsiteY27" fmla="*/ 321805 h 606863"/>
              <a:gd name="connsiteX28" fmla="*/ 333088 w 521993"/>
              <a:gd name="connsiteY28" fmla="*/ 287046 h 606863"/>
              <a:gd name="connsiteX29" fmla="*/ 381061 w 521993"/>
              <a:gd name="connsiteY29" fmla="*/ 171186 h 606863"/>
              <a:gd name="connsiteX30" fmla="*/ 380409 w 521993"/>
              <a:gd name="connsiteY30" fmla="*/ 139032 h 606863"/>
              <a:gd name="connsiteX31" fmla="*/ 218629 w 521993"/>
              <a:gd name="connsiteY31" fmla="*/ 102451 h 606863"/>
              <a:gd name="connsiteX32" fmla="*/ 260997 w 521993"/>
              <a:gd name="connsiteY32" fmla="*/ 0 h 606863"/>
              <a:gd name="connsiteX33" fmla="*/ 401528 w 521993"/>
              <a:gd name="connsiteY33" fmla="*/ 171186 h 606863"/>
              <a:gd name="connsiteX34" fmla="*/ 260997 w 521993"/>
              <a:gd name="connsiteY34" fmla="*/ 342243 h 606863"/>
              <a:gd name="connsiteX35" fmla="*/ 120466 w 521993"/>
              <a:gd name="connsiteY35" fmla="*/ 171186 h 606863"/>
              <a:gd name="connsiteX36" fmla="*/ 260997 w 521993"/>
              <a:gd name="connsiteY36" fmla="*/ 0 h 60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21993" h="606863">
                <a:moveTo>
                  <a:pt x="327615" y="466652"/>
                </a:moveTo>
                <a:lnTo>
                  <a:pt x="327615" y="490607"/>
                </a:lnTo>
                <a:lnTo>
                  <a:pt x="372201" y="504537"/>
                </a:lnTo>
                <a:lnTo>
                  <a:pt x="416917" y="490607"/>
                </a:lnTo>
                <a:lnTo>
                  <a:pt x="416917" y="466652"/>
                </a:lnTo>
                <a:close/>
                <a:moveTo>
                  <a:pt x="173129" y="327483"/>
                </a:moveTo>
                <a:cubicBezTo>
                  <a:pt x="176649" y="325660"/>
                  <a:pt x="180821" y="326051"/>
                  <a:pt x="183819" y="328394"/>
                </a:cubicBezTo>
                <a:cubicBezTo>
                  <a:pt x="199724" y="340762"/>
                  <a:pt x="216933" y="349224"/>
                  <a:pt x="235315" y="353260"/>
                </a:cubicBezTo>
                <a:cubicBezTo>
                  <a:pt x="238574" y="353911"/>
                  <a:pt x="241181" y="356254"/>
                  <a:pt x="242355" y="359379"/>
                </a:cubicBezTo>
                <a:lnTo>
                  <a:pt x="260997" y="408459"/>
                </a:lnTo>
                <a:lnTo>
                  <a:pt x="279640" y="359379"/>
                </a:lnTo>
                <a:cubicBezTo>
                  <a:pt x="280813" y="356254"/>
                  <a:pt x="283551" y="353911"/>
                  <a:pt x="286680" y="353260"/>
                </a:cubicBezTo>
                <a:cubicBezTo>
                  <a:pt x="305062" y="349224"/>
                  <a:pt x="322401" y="340762"/>
                  <a:pt x="338175" y="328394"/>
                </a:cubicBezTo>
                <a:cubicBezTo>
                  <a:pt x="341174" y="326051"/>
                  <a:pt x="345476" y="325660"/>
                  <a:pt x="348865" y="327483"/>
                </a:cubicBezTo>
                <a:lnTo>
                  <a:pt x="349387" y="327743"/>
                </a:lnTo>
                <a:cubicBezTo>
                  <a:pt x="379502" y="343886"/>
                  <a:pt x="450161" y="381510"/>
                  <a:pt x="470368" y="395440"/>
                </a:cubicBezTo>
                <a:cubicBezTo>
                  <a:pt x="499962" y="415880"/>
                  <a:pt x="514693" y="473162"/>
                  <a:pt x="521863" y="517816"/>
                </a:cubicBezTo>
                <a:cubicBezTo>
                  <a:pt x="522124" y="519378"/>
                  <a:pt x="521994" y="521070"/>
                  <a:pt x="521472" y="522633"/>
                </a:cubicBezTo>
                <a:cubicBezTo>
                  <a:pt x="520299" y="526017"/>
                  <a:pt x="489011" y="606863"/>
                  <a:pt x="260997" y="606863"/>
                </a:cubicBezTo>
                <a:cubicBezTo>
                  <a:pt x="33114" y="606863"/>
                  <a:pt x="1826" y="526017"/>
                  <a:pt x="522" y="522633"/>
                </a:cubicBezTo>
                <a:cubicBezTo>
                  <a:pt x="1" y="521070"/>
                  <a:pt x="-130" y="519378"/>
                  <a:pt x="131" y="517816"/>
                </a:cubicBezTo>
                <a:cubicBezTo>
                  <a:pt x="2738" y="501412"/>
                  <a:pt x="17731" y="418353"/>
                  <a:pt x="51757" y="395440"/>
                </a:cubicBezTo>
                <a:cubicBezTo>
                  <a:pt x="71964" y="381771"/>
                  <a:pt x="143405" y="343366"/>
                  <a:pt x="173129" y="327483"/>
                </a:cubicBezTo>
                <a:close/>
                <a:moveTo>
                  <a:pt x="218629" y="102451"/>
                </a:moveTo>
                <a:cubicBezTo>
                  <a:pt x="172742" y="101540"/>
                  <a:pt x="151362" y="123540"/>
                  <a:pt x="141455" y="142547"/>
                </a:cubicBezTo>
                <a:cubicBezTo>
                  <a:pt x="141064" y="152050"/>
                  <a:pt x="140933" y="161553"/>
                  <a:pt x="140933" y="171186"/>
                </a:cubicBezTo>
                <a:cubicBezTo>
                  <a:pt x="140933" y="230158"/>
                  <a:pt x="167006" y="266738"/>
                  <a:pt x="188907" y="287046"/>
                </a:cubicBezTo>
                <a:cubicBezTo>
                  <a:pt x="216544" y="312562"/>
                  <a:pt x="247179" y="321805"/>
                  <a:pt x="260997" y="321805"/>
                </a:cubicBezTo>
                <a:cubicBezTo>
                  <a:pt x="274816" y="321805"/>
                  <a:pt x="305451" y="312562"/>
                  <a:pt x="333088" y="287046"/>
                </a:cubicBezTo>
                <a:cubicBezTo>
                  <a:pt x="354989" y="266738"/>
                  <a:pt x="381061" y="230158"/>
                  <a:pt x="381061" y="171186"/>
                </a:cubicBezTo>
                <a:cubicBezTo>
                  <a:pt x="381061" y="160381"/>
                  <a:pt x="380931" y="149576"/>
                  <a:pt x="380409" y="139032"/>
                </a:cubicBezTo>
                <a:cubicBezTo>
                  <a:pt x="246006" y="168713"/>
                  <a:pt x="218629" y="102451"/>
                  <a:pt x="218629" y="102451"/>
                </a:cubicBezTo>
                <a:close/>
                <a:moveTo>
                  <a:pt x="260997" y="0"/>
                </a:moveTo>
                <a:cubicBezTo>
                  <a:pt x="388753" y="0"/>
                  <a:pt x="401528" y="76676"/>
                  <a:pt x="401528" y="171186"/>
                </a:cubicBezTo>
                <a:cubicBezTo>
                  <a:pt x="401528" y="291863"/>
                  <a:pt x="302974" y="342243"/>
                  <a:pt x="260997" y="342243"/>
                </a:cubicBezTo>
                <a:cubicBezTo>
                  <a:pt x="219020" y="342243"/>
                  <a:pt x="120466" y="291863"/>
                  <a:pt x="120466" y="171186"/>
                </a:cubicBezTo>
                <a:cubicBezTo>
                  <a:pt x="120466" y="76676"/>
                  <a:pt x="133242" y="0"/>
                  <a:pt x="260997" y="0"/>
                </a:cubicBezTo>
                <a:close/>
              </a:path>
            </a:pathLst>
          </a:custGeom>
          <a:solidFill>
            <a:srgbClr val="01BADC"/>
          </a:solidFill>
          <a:ln>
            <a:noFill/>
          </a:ln>
        </p:spPr>
      </p:sp>
      <p:sp>
        <p:nvSpPr>
          <p:cNvPr id="18" name="specialist-user_80886">
            <a:extLst>
              <a:ext uri="{FF2B5EF4-FFF2-40B4-BE49-F238E27FC236}">
                <a16:creationId xmlns:a16="http://schemas.microsoft.com/office/drawing/2014/main" id="{C45200B2-02E3-4FB0-9BFB-3820D8091F68}"/>
              </a:ext>
            </a:extLst>
          </p:cNvPr>
          <p:cNvSpPr>
            <a:spLocks noChangeAspect="1"/>
          </p:cNvSpPr>
          <p:nvPr/>
        </p:nvSpPr>
        <p:spPr bwMode="auto">
          <a:xfrm>
            <a:off x="1026813" y="5444163"/>
            <a:ext cx="215247" cy="250244"/>
          </a:xfrm>
          <a:custGeom>
            <a:avLst/>
            <a:gdLst>
              <a:gd name="connsiteX0" fmla="*/ 327615 w 521993"/>
              <a:gd name="connsiteY0" fmla="*/ 466652 h 606863"/>
              <a:gd name="connsiteX1" fmla="*/ 327615 w 521993"/>
              <a:gd name="connsiteY1" fmla="*/ 490607 h 606863"/>
              <a:gd name="connsiteX2" fmla="*/ 372201 w 521993"/>
              <a:gd name="connsiteY2" fmla="*/ 504537 h 606863"/>
              <a:gd name="connsiteX3" fmla="*/ 416917 w 521993"/>
              <a:gd name="connsiteY3" fmla="*/ 490607 h 606863"/>
              <a:gd name="connsiteX4" fmla="*/ 416917 w 521993"/>
              <a:gd name="connsiteY4" fmla="*/ 466652 h 606863"/>
              <a:gd name="connsiteX5" fmla="*/ 173129 w 521993"/>
              <a:gd name="connsiteY5" fmla="*/ 327483 h 606863"/>
              <a:gd name="connsiteX6" fmla="*/ 183819 w 521993"/>
              <a:gd name="connsiteY6" fmla="*/ 328394 h 606863"/>
              <a:gd name="connsiteX7" fmla="*/ 235315 w 521993"/>
              <a:gd name="connsiteY7" fmla="*/ 353260 h 606863"/>
              <a:gd name="connsiteX8" fmla="*/ 242355 w 521993"/>
              <a:gd name="connsiteY8" fmla="*/ 359379 h 606863"/>
              <a:gd name="connsiteX9" fmla="*/ 260997 w 521993"/>
              <a:gd name="connsiteY9" fmla="*/ 408459 h 606863"/>
              <a:gd name="connsiteX10" fmla="*/ 279640 w 521993"/>
              <a:gd name="connsiteY10" fmla="*/ 359379 h 606863"/>
              <a:gd name="connsiteX11" fmla="*/ 286680 w 521993"/>
              <a:gd name="connsiteY11" fmla="*/ 353260 h 606863"/>
              <a:gd name="connsiteX12" fmla="*/ 338175 w 521993"/>
              <a:gd name="connsiteY12" fmla="*/ 328394 h 606863"/>
              <a:gd name="connsiteX13" fmla="*/ 348865 w 521993"/>
              <a:gd name="connsiteY13" fmla="*/ 327483 h 606863"/>
              <a:gd name="connsiteX14" fmla="*/ 349387 w 521993"/>
              <a:gd name="connsiteY14" fmla="*/ 327743 h 606863"/>
              <a:gd name="connsiteX15" fmla="*/ 470368 w 521993"/>
              <a:gd name="connsiteY15" fmla="*/ 395440 h 606863"/>
              <a:gd name="connsiteX16" fmla="*/ 521863 w 521993"/>
              <a:gd name="connsiteY16" fmla="*/ 517816 h 606863"/>
              <a:gd name="connsiteX17" fmla="*/ 521472 w 521993"/>
              <a:gd name="connsiteY17" fmla="*/ 522633 h 606863"/>
              <a:gd name="connsiteX18" fmla="*/ 260997 w 521993"/>
              <a:gd name="connsiteY18" fmla="*/ 606863 h 606863"/>
              <a:gd name="connsiteX19" fmla="*/ 522 w 521993"/>
              <a:gd name="connsiteY19" fmla="*/ 522633 h 606863"/>
              <a:gd name="connsiteX20" fmla="*/ 131 w 521993"/>
              <a:gd name="connsiteY20" fmla="*/ 517816 h 606863"/>
              <a:gd name="connsiteX21" fmla="*/ 51757 w 521993"/>
              <a:gd name="connsiteY21" fmla="*/ 395440 h 606863"/>
              <a:gd name="connsiteX22" fmla="*/ 173129 w 521993"/>
              <a:gd name="connsiteY22" fmla="*/ 327483 h 606863"/>
              <a:gd name="connsiteX23" fmla="*/ 218629 w 521993"/>
              <a:gd name="connsiteY23" fmla="*/ 102451 h 606863"/>
              <a:gd name="connsiteX24" fmla="*/ 141455 w 521993"/>
              <a:gd name="connsiteY24" fmla="*/ 142547 h 606863"/>
              <a:gd name="connsiteX25" fmla="*/ 140933 w 521993"/>
              <a:gd name="connsiteY25" fmla="*/ 171186 h 606863"/>
              <a:gd name="connsiteX26" fmla="*/ 188907 w 521993"/>
              <a:gd name="connsiteY26" fmla="*/ 287046 h 606863"/>
              <a:gd name="connsiteX27" fmla="*/ 260997 w 521993"/>
              <a:gd name="connsiteY27" fmla="*/ 321805 h 606863"/>
              <a:gd name="connsiteX28" fmla="*/ 333088 w 521993"/>
              <a:gd name="connsiteY28" fmla="*/ 287046 h 606863"/>
              <a:gd name="connsiteX29" fmla="*/ 381061 w 521993"/>
              <a:gd name="connsiteY29" fmla="*/ 171186 h 606863"/>
              <a:gd name="connsiteX30" fmla="*/ 380409 w 521993"/>
              <a:gd name="connsiteY30" fmla="*/ 139032 h 606863"/>
              <a:gd name="connsiteX31" fmla="*/ 218629 w 521993"/>
              <a:gd name="connsiteY31" fmla="*/ 102451 h 606863"/>
              <a:gd name="connsiteX32" fmla="*/ 260997 w 521993"/>
              <a:gd name="connsiteY32" fmla="*/ 0 h 606863"/>
              <a:gd name="connsiteX33" fmla="*/ 401528 w 521993"/>
              <a:gd name="connsiteY33" fmla="*/ 171186 h 606863"/>
              <a:gd name="connsiteX34" fmla="*/ 260997 w 521993"/>
              <a:gd name="connsiteY34" fmla="*/ 342243 h 606863"/>
              <a:gd name="connsiteX35" fmla="*/ 120466 w 521993"/>
              <a:gd name="connsiteY35" fmla="*/ 171186 h 606863"/>
              <a:gd name="connsiteX36" fmla="*/ 260997 w 521993"/>
              <a:gd name="connsiteY36" fmla="*/ 0 h 60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21993" h="606863">
                <a:moveTo>
                  <a:pt x="327615" y="466652"/>
                </a:moveTo>
                <a:lnTo>
                  <a:pt x="327615" y="490607"/>
                </a:lnTo>
                <a:lnTo>
                  <a:pt x="372201" y="504537"/>
                </a:lnTo>
                <a:lnTo>
                  <a:pt x="416917" y="490607"/>
                </a:lnTo>
                <a:lnTo>
                  <a:pt x="416917" y="466652"/>
                </a:lnTo>
                <a:close/>
                <a:moveTo>
                  <a:pt x="173129" y="327483"/>
                </a:moveTo>
                <a:cubicBezTo>
                  <a:pt x="176649" y="325660"/>
                  <a:pt x="180821" y="326051"/>
                  <a:pt x="183819" y="328394"/>
                </a:cubicBezTo>
                <a:cubicBezTo>
                  <a:pt x="199724" y="340762"/>
                  <a:pt x="216933" y="349224"/>
                  <a:pt x="235315" y="353260"/>
                </a:cubicBezTo>
                <a:cubicBezTo>
                  <a:pt x="238574" y="353911"/>
                  <a:pt x="241181" y="356254"/>
                  <a:pt x="242355" y="359379"/>
                </a:cubicBezTo>
                <a:lnTo>
                  <a:pt x="260997" y="408459"/>
                </a:lnTo>
                <a:lnTo>
                  <a:pt x="279640" y="359379"/>
                </a:lnTo>
                <a:cubicBezTo>
                  <a:pt x="280813" y="356254"/>
                  <a:pt x="283551" y="353911"/>
                  <a:pt x="286680" y="353260"/>
                </a:cubicBezTo>
                <a:cubicBezTo>
                  <a:pt x="305062" y="349224"/>
                  <a:pt x="322401" y="340762"/>
                  <a:pt x="338175" y="328394"/>
                </a:cubicBezTo>
                <a:cubicBezTo>
                  <a:pt x="341174" y="326051"/>
                  <a:pt x="345476" y="325660"/>
                  <a:pt x="348865" y="327483"/>
                </a:cubicBezTo>
                <a:lnTo>
                  <a:pt x="349387" y="327743"/>
                </a:lnTo>
                <a:cubicBezTo>
                  <a:pt x="379502" y="343886"/>
                  <a:pt x="450161" y="381510"/>
                  <a:pt x="470368" y="395440"/>
                </a:cubicBezTo>
                <a:cubicBezTo>
                  <a:pt x="499962" y="415880"/>
                  <a:pt x="514693" y="473162"/>
                  <a:pt x="521863" y="517816"/>
                </a:cubicBezTo>
                <a:cubicBezTo>
                  <a:pt x="522124" y="519378"/>
                  <a:pt x="521994" y="521070"/>
                  <a:pt x="521472" y="522633"/>
                </a:cubicBezTo>
                <a:cubicBezTo>
                  <a:pt x="520299" y="526017"/>
                  <a:pt x="489011" y="606863"/>
                  <a:pt x="260997" y="606863"/>
                </a:cubicBezTo>
                <a:cubicBezTo>
                  <a:pt x="33114" y="606863"/>
                  <a:pt x="1826" y="526017"/>
                  <a:pt x="522" y="522633"/>
                </a:cubicBezTo>
                <a:cubicBezTo>
                  <a:pt x="1" y="521070"/>
                  <a:pt x="-130" y="519378"/>
                  <a:pt x="131" y="517816"/>
                </a:cubicBezTo>
                <a:cubicBezTo>
                  <a:pt x="2738" y="501412"/>
                  <a:pt x="17731" y="418353"/>
                  <a:pt x="51757" y="395440"/>
                </a:cubicBezTo>
                <a:cubicBezTo>
                  <a:pt x="71964" y="381771"/>
                  <a:pt x="143405" y="343366"/>
                  <a:pt x="173129" y="327483"/>
                </a:cubicBezTo>
                <a:close/>
                <a:moveTo>
                  <a:pt x="218629" y="102451"/>
                </a:moveTo>
                <a:cubicBezTo>
                  <a:pt x="172742" y="101540"/>
                  <a:pt x="151362" y="123540"/>
                  <a:pt x="141455" y="142547"/>
                </a:cubicBezTo>
                <a:cubicBezTo>
                  <a:pt x="141064" y="152050"/>
                  <a:pt x="140933" y="161553"/>
                  <a:pt x="140933" y="171186"/>
                </a:cubicBezTo>
                <a:cubicBezTo>
                  <a:pt x="140933" y="230158"/>
                  <a:pt x="167006" y="266738"/>
                  <a:pt x="188907" y="287046"/>
                </a:cubicBezTo>
                <a:cubicBezTo>
                  <a:pt x="216544" y="312562"/>
                  <a:pt x="247179" y="321805"/>
                  <a:pt x="260997" y="321805"/>
                </a:cubicBezTo>
                <a:cubicBezTo>
                  <a:pt x="274816" y="321805"/>
                  <a:pt x="305451" y="312562"/>
                  <a:pt x="333088" y="287046"/>
                </a:cubicBezTo>
                <a:cubicBezTo>
                  <a:pt x="354989" y="266738"/>
                  <a:pt x="381061" y="230158"/>
                  <a:pt x="381061" y="171186"/>
                </a:cubicBezTo>
                <a:cubicBezTo>
                  <a:pt x="381061" y="160381"/>
                  <a:pt x="380931" y="149576"/>
                  <a:pt x="380409" y="139032"/>
                </a:cubicBezTo>
                <a:cubicBezTo>
                  <a:pt x="246006" y="168713"/>
                  <a:pt x="218629" y="102451"/>
                  <a:pt x="218629" y="102451"/>
                </a:cubicBezTo>
                <a:close/>
                <a:moveTo>
                  <a:pt x="260997" y="0"/>
                </a:moveTo>
                <a:cubicBezTo>
                  <a:pt x="388753" y="0"/>
                  <a:pt x="401528" y="76676"/>
                  <a:pt x="401528" y="171186"/>
                </a:cubicBezTo>
                <a:cubicBezTo>
                  <a:pt x="401528" y="291863"/>
                  <a:pt x="302974" y="342243"/>
                  <a:pt x="260997" y="342243"/>
                </a:cubicBezTo>
                <a:cubicBezTo>
                  <a:pt x="219020" y="342243"/>
                  <a:pt x="120466" y="291863"/>
                  <a:pt x="120466" y="171186"/>
                </a:cubicBezTo>
                <a:cubicBezTo>
                  <a:pt x="120466" y="76676"/>
                  <a:pt x="133242" y="0"/>
                  <a:pt x="260997" y="0"/>
                </a:cubicBezTo>
                <a:close/>
              </a:path>
            </a:pathLst>
          </a:custGeom>
          <a:solidFill>
            <a:srgbClr val="01BADC"/>
          </a:solidFill>
          <a:ln>
            <a:noFill/>
          </a:ln>
        </p:spPr>
      </p:sp>
    </p:spTree>
    <p:extLst>
      <p:ext uri="{BB962C8B-B14F-4D97-AF65-F5344CB8AC3E}">
        <p14:creationId xmlns:p14="http://schemas.microsoft.com/office/powerpoint/2010/main" val="125904303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ïSḻíḋê">
            <a:extLst>
              <a:ext uri="{FF2B5EF4-FFF2-40B4-BE49-F238E27FC236}">
                <a16:creationId xmlns:a16="http://schemas.microsoft.com/office/drawing/2014/main" id="{65C1E2E2-23B3-4A31-8889-37D2F136EFF6}"/>
              </a:ext>
            </a:extLst>
          </p:cNvPr>
          <p:cNvSpPr txBox="1"/>
          <p:nvPr/>
        </p:nvSpPr>
        <p:spPr>
          <a:xfrm>
            <a:off x="4836000" y="1405833"/>
            <a:ext cx="2520000" cy="927008"/>
          </a:xfrm>
          <a:prstGeom prst="rect">
            <a:avLst/>
          </a:prstGeom>
          <a:noFill/>
        </p:spPr>
        <p:txBody>
          <a:bodyPr wrap="square" lIns="90000" tIns="46800" rIns="90000" bIns="46800" anchor="ctr"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a:r>
              <a:rPr lang="en-US" altLang="zh-CN" sz="2600" b="1" dirty="0">
                <a:solidFill>
                  <a:schemeClr val="tx2"/>
                </a:solidFill>
              </a:rPr>
              <a:t>CONTENTS</a:t>
            </a:r>
            <a:endParaRPr lang="zh-CN" altLang="en-US" sz="4000" b="1" dirty="0">
              <a:solidFill>
                <a:schemeClr val="tx2"/>
              </a:solidFill>
            </a:endParaRPr>
          </a:p>
        </p:txBody>
      </p:sp>
      <p:cxnSp>
        <p:nvCxnSpPr>
          <p:cNvPr id="87" name="直接连接符 86">
            <a:extLst>
              <a:ext uri="{FF2B5EF4-FFF2-40B4-BE49-F238E27FC236}">
                <a16:creationId xmlns:a16="http://schemas.microsoft.com/office/drawing/2014/main" id="{EEC46745-521A-440A-AABA-5F2746D3551E}"/>
              </a:ext>
            </a:extLst>
          </p:cNvPr>
          <p:cNvCxnSpPr/>
          <p:nvPr/>
        </p:nvCxnSpPr>
        <p:spPr>
          <a:xfrm>
            <a:off x="3531000" y="3031241"/>
            <a:ext cx="0" cy="2377759"/>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88" name="直接连接符 87">
            <a:extLst>
              <a:ext uri="{FF2B5EF4-FFF2-40B4-BE49-F238E27FC236}">
                <a16:creationId xmlns:a16="http://schemas.microsoft.com/office/drawing/2014/main" id="{3CE85D44-B9DB-480E-9637-0683EF1E4E89}"/>
              </a:ext>
            </a:extLst>
          </p:cNvPr>
          <p:cNvCxnSpPr/>
          <p:nvPr/>
        </p:nvCxnSpPr>
        <p:spPr>
          <a:xfrm>
            <a:off x="6121800" y="3031241"/>
            <a:ext cx="0" cy="2377759"/>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89" name="直接连接符 88">
            <a:extLst>
              <a:ext uri="{FF2B5EF4-FFF2-40B4-BE49-F238E27FC236}">
                <a16:creationId xmlns:a16="http://schemas.microsoft.com/office/drawing/2014/main" id="{F876966C-C8D6-4D6B-8101-026210FD183F}"/>
              </a:ext>
            </a:extLst>
          </p:cNvPr>
          <p:cNvCxnSpPr/>
          <p:nvPr/>
        </p:nvCxnSpPr>
        <p:spPr>
          <a:xfrm>
            <a:off x="8750700" y="3031241"/>
            <a:ext cx="0" cy="2377759"/>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2" name="组合 1">
            <a:extLst>
              <a:ext uri="{FF2B5EF4-FFF2-40B4-BE49-F238E27FC236}">
                <a16:creationId xmlns:a16="http://schemas.microsoft.com/office/drawing/2014/main" id="{79E9B4EC-DCE4-40C6-9EF9-6E500B31FAFA}"/>
              </a:ext>
            </a:extLst>
          </p:cNvPr>
          <p:cNvGrpSpPr/>
          <p:nvPr/>
        </p:nvGrpSpPr>
        <p:grpSpPr>
          <a:xfrm>
            <a:off x="1094758" y="3039945"/>
            <a:ext cx="2213143" cy="2662477"/>
            <a:chOff x="1094758" y="3039945"/>
            <a:chExt cx="2213143" cy="2662477"/>
          </a:xfrm>
        </p:grpSpPr>
        <p:sp>
          <p:nvSpPr>
            <p:cNvPr id="75" name="ïṥḷiḋê">
              <a:extLst>
                <a:ext uri="{FF2B5EF4-FFF2-40B4-BE49-F238E27FC236}">
                  <a16:creationId xmlns:a16="http://schemas.microsoft.com/office/drawing/2014/main" id="{2465634E-35DB-46F0-A163-4B3BD93A0EF9}"/>
                </a:ext>
              </a:extLst>
            </p:cNvPr>
            <p:cNvSpPr/>
            <p:nvPr/>
          </p:nvSpPr>
          <p:spPr bwMode="auto">
            <a:xfrm>
              <a:off x="1729286" y="3039945"/>
              <a:ext cx="944086" cy="912194"/>
            </a:xfrm>
            <a:custGeom>
              <a:avLst/>
              <a:gdLst>
                <a:gd name="connsiteX0" fmla="*/ 72559 w 588712"/>
                <a:gd name="connsiteY0" fmla="*/ 332808 h 568825"/>
                <a:gd name="connsiteX1" fmla="*/ 60082 w 588712"/>
                <a:gd name="connsiteY1" fmla="*/ 337644 h 568825"/>
                <a:gd name="connsiteX2" fmla="*/ 54211 w 588712"/>
                <a:gd name="connsiteY2" fmla="*/ 344678 h 568825"/>
                <a:gd name="connsiteX3" fmla="*/ 48340 w 588712"/>
                <a:gd name="connsiteY3" fmla="*/ 370471 h 568825"/>
                <a:gd name="connsiteX4" fmla="*/ 64779 w 588712"/>
                <a:gd name="connsiteY4" fmla="*/ 372815 h 568825"/>
                <a:gd name="connsiteX5" fmla="*/ 89439 w 588712"/>
                <a:gd name="connsiteY5" fmla="*/ 348196 h 568825"/>
                <a:gd name="connsiteX6" fmla="*/ 85916 w 588712"/>
                <a:gd name="connsiteY6" fmla="*/ 334127 h 568825"/>
                <a:gd name="connsiteX7" fmla="*/ 72559 w 588712"/>
                <a:gd name="connsiteY7" fmla="*/ 332808 h 568825"/>
                <a:gd name="connsiteX8" fmla="*/ 63605 w 588712"/>
                <a:gd name="connsiteY8" fmla="*/ 320058 h 568825"/>
                <a:gd name="connsiteX9" fmla="*/ 49514 w 588712"/>
                <a:gd name="connsiteY9" fmla="*/ 325920 h 568825"/>
                <a:gd name="connsiteX10" fmla="*/ 48340 w 588712"/>
                <a:gd name="connsiteY10" fmla="*/ 325920 h 568825"/>
                <a:gd name="connsiteX11" fmla="*/ 38945 w 588712"/>
                <a:gd name="connsiteY11" fmla="*/ 341161 h 568825"/>
                <a:gd name="connsiteX12" fmla="*/ 38945 w 588712"/>
                <a:gd name="connsiteY12" fmla="*/ 343506 h 568825"/>
                <a:gd name="connsiteX13" fmla="*/ 41294 w 588712"/>
                <a:gd name="connsiteY13" fmla="*/ 348196 h 568825"/>
                <a:gd name="connsiteX14" fmla="*/ 54211 w 588712"/>
                <a:gd name="connsiteY14" fmla="*/ 342334 h 568825"/>
                <a:gd name="connsiteX15" fmla="*/ 58908 w 588712"/>
                <a:gd name="connsiteY15" fmla="*/ 337644 h 568825"/>
                <a:gd name="connsiteX16" fmla="*/ 69476 w 588712"/>
                <a:gd name="connsiteY16" fmla="*/ 325920 h 568825"/>
                <a:gd name="connsiteX17" fmla="*/ 67128 w 588712"/>
                <a:gd name="connsiteY17" fmla="*/ 324748 h 568825"/>
                <a:gd name="connsiteX18" fmla="*/ 63605 w 588712"/>
                <a:gd name="connsiteY18" fmla="*/ 320058 h 568825"/>
                <a:gd name="connsiteX19" fmla="*/ 259391 w 588712"/>
                <a:gd name="connsiteY19" fmla="*/ 293003 h 568825"/>
                <a:gd name="connsiteX20" fmla="*/ 256171 w 588712"/>
                <a:gd name="connsiteY20" fmla="*/ 298993 h 568825"/>
                <a:gd name="connsiteX21" fmla="*/ 242121 w 588712"/>
                <a:gd name="connsiteY21" fmla="*/ 314189 h 568825"/>
                <a:gd name="connsiteX22" fmla="*/ 228072 w 588712"/>
                <a:gd name="connsiteY22" fmla="*/ 325877 h 568825"/>
                <a:gd name="connsiteX23" fmla="*/ 225730 w 588712"/>
                <a:gd name="connsiteY23" fmla="*/ 322371 h 568825"/>
                <a:gd name="connsiteX24" fmla="*/ 253829 w 588712"/>
                <a:gd name="connsiteY24" fmla="*/ 296655 h 568825"/>
                <a:gd name="connsiteX25" fmla="*/ 259391 w 588712"/>
                <a:gd name="connsiteY25" fmla="*/ 293003 h 568825"/>
                <a:gd name="connsiteX26" fmla="*/ 55238 w 588712"/>
                <a:gd name="connsiteY26" fmla="*/ 274336 h 568825"/>
                <a:gd name="connsiteX27" fmla="*/ 48340 w 588712"/>
                <a:gd name="connsiteY27" fmla="*/ 277853 h 568825"/>
                <a:gd name="connsiteX28" fmla="*/ 42468 w 588712"/>
                <a:gd name="connsiteY28" fmla="*/ 283715 h 568825"/>
                <a:gd name="connsiteX29" fmla="*/ 31900 w 588712"/>
                <a:gd name="connsiteY29" fmla="*/ 308335 h 568825"/>
                <a:gd name="connsiteX30" fmla="*/ 44817 w 588712"/>
                <a:gd name="connsiteY30" fmla="*/ 309507 h 568825"/>
                <a:gd name="connsiteX31" fmla="*/ 45991 w 588712"/>
                <a:gd name="connsiteY31" fmla="*/ 307162 h 568825"/>
                <a:gd name="connsiteX32" fmla="*/ 57734 w 588712"/>
                <a:gd name="connsiteY32" fmla="*/ 281370 h 568825"/>
                <a:gd name="connsiteX33" fmla="*/ 55238 w 588712"/>
                <a:gd name="connsiteY33" fmla="*/ 274336 h 568825"/>
                <a:gd name="connsiteX34" fmla="*/ 550927 w 588712"/>
                <a:gd name="connsiteY34" fmla="*/ 251475 h 568825"/>
                <a:gd name="connsiteX35" fmla="*/ 542707 w 588712"/>
                <a:gd name="connsiteY35" fmla="*/ 254405 h 568825"/>
                <a:gd name="connsiteX36" fmla="*/ 534487 w 588712"/>
                <a:gd name="connsiteY36" fmla="*/ 281370 h 568825"/>
                <a:gd name="connsiteX37" fmla="*/ 534487 w 588712"/>
                <a:gd name="connsiteY37" fmla="*/ 287232 h 568825"/>
                <a:gd name="connsiteX38" fmla="*/ 539184 w 588712"/>
                <a:gd name="connsiteY38" fmla="*/ 295439 h 568825"/>
                <a:gd name="connsiteX39" fmla="*/ 547404 w 588712"/>
                <a:gd name="connsiteY39" fmla="*/ 287232 h 568825"/>
                <a:gd name="connsiteX40" fmla="*/ 552101 w 588712"/>
                <a:gd name="connsiteY40" fmla="*/ 281370 h 568825"/>
                <a:gd name="connsiteX41" fmla="*/ 555624 w 588712"/>
                <a:gd name="connsiteY41" fmla="*/ 260267 h 568825"/>
                <a:gd name="connsiteX42" fmla="*/ 555624 w 588712"/>
                <a:gd name="connsiteY42" fmla="*/ 259095 h 568825"/>
                <a:gd name="connsiteX43" fmla="*/ 550927 w 588712"/>
                <a:gd name="connsiteY43" fmla="*/ 251475 h 568825"/>
                <a:gd name="connsiteX44" fmla="*/ 279896 w 588712"/>
                <a:gd name="connsiteY44" fmla="*/ 233952 h 568825"/>
                <a:gd name="connsiteX45" fmla="*/ 281948 w 588712"/>
                <a:gd name="connsiteY45" fmla="*/ 235565 h 568825"/>
                <a:gd name="connsiteX46" fmla="*/ 270224 w 588712"/>
                <a:gd name="connsiteY46" fmla="*/ 251985 h 568825"/>
                <a:gd name="connsiteX47" fmla="*/ 191671 w 588712"/>
                <a:gd name="connsiteY47" fmla="*/ 324705 h 568825"/>
                <a:gd name="connsiteX48" fmla="*/ 179947 w 588712"/>
                <a:gd name="connsiteY48" fmla="*/ 334088 h 568825"/>
                <a:gd name="connsiteX49" fmla="*/ 189327 w 588712"/>
                <a:gd name="connsiteY49" fmla="*/ 322359 h 568825"/>
                <a:gd name="connsiteX50" fmla="*/ 272568 w 588712"/>
                <a:gd name="connsiteY50" fmla="*/ 240256 h 568825"/>
                <a:gd name="connsiteX51" fmla="*/ 279896 w 588712"/>
                <a:gd name="connsiteY51" fmla="*/ 233952 h 568825"/>
                <a:gd name="connsiteX52" fmla="*/ 279084 w 588712"/>
                <a:gd name="connsiteY52" fmla="*/ 183770 h 568825"/>
                <a:gd name="connsiteX53" fmla="*/ 267928 w 588712"/>
                <a:gd name="connsiteY53" fmla="*/ 188752 h 568825"/>
                <a:gd name="connsiteX54" fmla="*/ 215086 w 588712"/>
                <a:gd name="connsiteY54" fmla="*/ 242682 h 568825"/>
                <a:gd name="connsiteX55" fmla="*/ 198646 w 588712"/>
                <a:gd name="connsiteY55" fmla="*/ 268474 h 568825"/>
                <a:gd name="connsiteX56" fmla="*/ 168115 w 588712"/>
                <a:gd name="connsiteY56" fmla="*/ 309507 h 568825"/>
                <a:gd name="connsiteX57" fmla="*/ 122319 w 588712"/>
                <a:gd name="connsiteY57" fmla="*/ 335299 h 568825"/>
                <a:gd name="connsiteX58" fmla="*/ 108227 w 588712"/>
                <a:gd name="connsiteY58" fmla="*/ 344678 h 568825"/>
                <a:gd name="connsiteX59" fmla="*/ 98833 w 588712"/>
                <a:gd name="connsiteY59" fmla="*/ 362264 h 568825"/>
                <a:gd name="connsiteX60" fmla="*/ 72999 w 588712"/>
                <a:gd name="connsiteY60" fmla="*/ 389229 h 568825"/>
                <a:gd name="connsiteX61" fmla="*/ 69476 w 588712"/>
                <a:gd name="connsiteY61" fmla="*/ 413849 h 568825"/>
                <a:gd name="connsiteX62" fmla="*/ 82393 w 588712"/>
                <a:gd name="connsiteY62" fmla="*/ 434951 h 568825"/>
                <a:gd name="connsiteX63" fmla="*/ 102356 w 588712"/>
                <a:gd name="connsiteY63" fmla="*/ 436124 h 568825"/>
                <a:gd name="connsiteX64" fmla="*/ 118796 w 588712"/>
                <a:gd name="connsiteY64" fmla="*/ 420883 h 568825"/>
                <a:gd name="connsiteX65" fmla="*/ 135236 w 588712"/>
                <a:gd name="connsiteY65" fmla="*/ 419710 h 568825"/>
                <a:gd name="connsiteX66" fmla="*/ 128190 w 588712"/>
                <a:gd name="connsiteY66" fmla="*/ 438468 h 568825"/>
                <a:gd name="connsiteX67" fmla="*/ 114099 w 588712"/>
                <a:gd name="connsiteY67" fmla="*/ 451365 h 568825"/>
                <a:gd name="connsiteX68" fmla="*/ 110576 w 588712"/>
                <a:gd name="connsiteY68" fmla="*/ 470123 h 568825"/>
                <a:gd name="connsiteX69" fmla="*/ 129364 w 588712"/>
                <a:gd name="connsiteY69" fmla="*/ 467778 h 568825"/>
                <a:gd name="connsiteX70" fmla="*/ 139933 w 588712"/>
                <a:gd name="connsiteY70" fmla="*/ 457226 h 568825"/>
                <a:gd name="connsiteX71" fmla="*/ 152850 w 588712"/>
                <a:gd name="connsiteY71" fmla="*/ 447847 h 568825"/>
                <a:gd name="connsiteX72" fmla="*/ 142281 w 588712"/>
                <a:gd name="connsiteY72" fmla="*/ 460744 h 568825"/>
                <a:gd name="connsiteX73" fmla="*/ 132887 w 588712"/>
                <a:gd name="connsiteY73" fmla="*/ 470123 h 568825"/>
                <a:gd name="connsiteX74" fmla="*/ 134061 w 588712"/>
                <a:gd name="connsiteY74" fmla="*/ 492398 h 568825"/>
                <a:gd name="connsiteX75" fmla="*/ 151675 w 588712"/>
                <a:gd name="connsiteY75" fmla="*/ 506466 h 568825"/>
                <a:gd name="connsiteX76" fmla="*/ 176335 w 588712"/>
                <a:gd name="connsiteY76" fmla="*/ 505294 h 568825"/>
                <a:gd name="connsiteX77" fmla="*/ 178683 w 588712"/>
                <a:gd name="connsiteY77" fmla="*/ 502949 h 568825"/>
                <a:gd name="connsiteX78" fmla="*/ 196298 w 588712"/>
                <a:gd name="connsiteY78" fmla="*/ 497087 h 568825"/>
                <a:gd name="connsiteX79" fmla="*/ 191600 w 588712"/>
                <a:gd name="connsiteY79" fmla="*/ 513500 h 568825"/>
                <a:gd name="connsiteX80" fmla="*/ 195123 w 588712"/>
                <a:gd name="connsiteY80" fmla="*/ 532258 h 568825"/>
                <a:gd name="connsiteX81" fmla="*/ 212737 w 588712"/>
                <a:gd name="connsiteY81" fmla="*/ 539293 h 568825"/>
                <a:gd name="connsiteX82" fmla="*/ 235049 w 588712"/>
                <a:gd name="connsiteY82" fmla="*/ 536948 h 568825"/>
                <a:gd name="connsiteX83" fmla="*/ 256186 w 588712"/>
                <a:gd name="connsiteY83" fmla="*/ 538120 h 568825"/>
                <a:gd name="connsiteX84" fmla="*/ 257360 w 588712"/>
                <a:gd name="connsiteY84" fmla="*/ 538120 h 568825"/>
                <a:gd name="connsiteX85" fmla="*/ 267928 w 588712"/>
                <a:gd name="connsiteY85" fmla="*/ 548672 h 568825"/>
                <a:gd name="connsiteX86" fmla="*/ 279671 w 588712"/>
                <a:gd name="connsiteY86" fmla="*/ 554534 h 568825"/>
                <a:gd name="connsiteX87" fmla="*/ 339559 w 588712"/>
                <a:gd name="connsiteY87" fmla="*/ 551016 h 568825"/>
                <a:gd name="connsiteX88" fmla="*/ 546230 w 588712"/>
                <a:gd name="connsiteY88" fmla="*/ 363436 h 568825"/>
                <a:gd name="connsiteX89" fmla="*/ 547404 w 588712"/>
                <a:gd name="connsiteY89" fmla="*/ 347023 h 568825"/>
                <a:gd name="connsiteX90" fmla="*/ 543881 w 588712"/>
                <a:gd name="connsiteY90" fmla="*/ 345851 h 568825"/>
                <a:gd name="connsiteX91" fmla="*/ 536836 w 588712"/>
                <a:gd name="connsiteY91" fmla="*/ 342334 h 568825"/>
                <a:gd name="connsiteX92" fmla="*/ 541533 w 588712"/>
                <a:gd name="connsiteY92" fmla="*/ 327093 h 568825"/>
                <a:gd name="connsiteX93" fmla="*/ 546230 w 588712"/>
                <a:gd name="connsiteY93" fmla="*/ 322403 h 568825"/>
                <a:gd name="connsiteX94" fmla="*/ 557973 w 588712"/>
                <a:gd name="connsiteY94" fmla="*/ 298956 h 568825"/>
                <a:gd name="connsiteX95" fmla="*/ 547404 w 588712"/>
                <a:gd name="connsiteY95" fmla="*/ 297783 h 568825"/>
                <a:gd name="connsiteX96" fmla="*/ 535662 w 588712"/>
                <a:gd name="connsiteY96" fmla="*/ 309507 h 568825"/>
                <a:gd name="connsiteX97" fmla="*/ 520396 w 588712"/>
                <a:gd name="connsiteY97" fmla="*/ 328265 h 568825"/>
                <a:gd name="connsiteX98" fmla="*/ 514525 w 588712"/>
                <a:gd name="connsiteY98" fmla="*/ 334127 h 568825"/>
                <a:gd name="connsiteX99" fmla="*/ 406492 w 588712"/>
                <a:gd name="connsiteY99" fmla="*/ 318886 h 568825"/>
                <a:gd name="connsiteX100" fmla="*/ 290239 w 588712"/>
                <a:gd name="connsiteY100" fmla="*/ 187580 h 568825"/>
                <a:gd name="connsiteX101" fmla="*/ 279084 w 588712"/>
                <a:gd name="connsiteY101" fmla="*/ 183770 h 568825"/>
                <a:gd name="connsiteX102" fmla="*/ 522598 w 588712"/>
                <a:gd name="connsiteY102" fmla="*/ 165891 h 568825"/>
                <a:gd name="connsiteX103" fmla="*/ 513350 w 588712"/>
                <a:gd name="connsiteY103" fmla="*/ 168822 h 568825"/>
                <a:gd name="connsiteX104" fmla="*/ 509828 w 588712"/>
                <a:gd name="connsiteY104" fmla="*/ 192270 h 568825"/>
                <a:gd name="connsiteX105" fmla="*/ 525093 w 588712"/>
                <a:gd name="connsiteY105" fmla="*/ 229786 h 568825"/>
                <a:gd name="connsiteX106" fmla="*/ 539184 w 588712"/>
                <a:gd name="connsiteY106" fmla="*/ 234475 h 568825"/>
                <a:gd name="connsiteX107" fmla="*/ 545056 w 588712"/>
                <a:gd name="connsiteY107" fmla="*/ 209855 h 568825"/>
                <a:gd name="connsiteX108" fmla="*/ 530965 w 588712"/>
                <a:gd name="connsiteY108" fmla="*/ 173512 h 568825"/>
                <a:gd name="connsiteX109" fmla="*/ 522598 w 588712"/>
                <a:gd name="connsiteY109" fmla="*/ 165891 h 568825"/>
                <a:gd name="connsiteX110" fmla="*/ 231673 w 588712"/>
                <a:gd name="connsiteY110" fmla="*/ 152556 h 568825"/>
                <a:gd name="connsiteX111" fmla="*/ 219783 w 588712"/>
                <a:gd name="connsiteY111" fmla="*/ 158271 h 568825"/>
                <a:gd name="connsiteX112" fmla="*/ 210389 w 588712"/>
                <a:gd name="connsiteY112" fmla="*/ 184063 h 568825"/>
                <a:gd name="connsiteX113" fmla="*/ 211563 w 588712"/>
                <a:gd name="connsiteY113" fmla="*/ 212200 h 568825"/>
                <a:gd name="connsiteX114" fmla="*/ 213912 w 588712"/>
                <a:gd name="connsiteY114" fmla="*/ 225096 h 568825"/>
                <a:gd name="connsiteX115" fmla="*/ 217434 w 588712"/>
                <a:gd name="connsiteY115" fmla="*/ 221579 h 568825"/>
                <a:gd name="connsiteX116" fmla="*/ 258534 w 588712"/>
                <a:gd name="connsiteY116" fmla="*/ 181718 h 568825"/>
                <a:gd name="connsiteX117" fmla="*/ 257360 w 588712"/>
                <a:gd name="connsiteY117" fmla="*/ 162960 h 568825"/>
                <a:gd name="connsiteX118" fmla="*/ 244443 w 588712"/>
                <a:gd name="connsiteY118" fmla="*/ 154754 h 568825"/>
                <a:gd name="connsiteX119" fmla="*/ 231673 w 588712"/>
                <a:gd name="connsiteY119" fmla="*/ 152556 h 568825"/>
                <a:gd name="connsiteX120" fmla="*/ 501608 w 588712"/>
                <a:gd name="connsiteY120" fmla="*/ 147719 h 568825"/>
                <a:gd name="connsiteX121" fmla="*/ 496911 w 588712"/>
                <a:gd name="connsiteY121" fmla="*/ 166477 h 568825"/>
                <a:gd name="connsiteX122" fmla="*/ 511002 w 588712"/>
                <a:gd name="connsiteY122" fmla="*/ 165305 h 568825"/>
                <a:gd name="connsiteX123" fmla="*/ 515699 w 588712"/>
                <a:gd name="connsiteY123" fmla="*/ 147719 h 568825"/>
                <a:gd name="connsiteX124" fmla="*/ 501608 w 588712"/>
                <a:gd name="connsiteY124" fmla="*/ 147719 h 568825"/>
                <a:gd name="connsiteX125" fmla="*/ 212737 w 588712"/>
                <a:gd name="connsiteY125" fmla="*/ 138340 h 568825"/>
                <a:gd name="connsiteX126" fmla="*/ 206866 w 588712"/>
                <a:gd name="connsiteY126" fmla="*/ 145375 h 568825"/>
                <a:gd name="connsiteX127" fmla="*/ 212737 w 588712"/>
                <a:gd name="connsiteY127" fmla="*/ 147719 h 568825"/>
                <a:gd name="connsiteX128" fmla="*/ 212737 w 588712"/>
                <a:gd name="connsiteY128" fmla="*/ 138340 h 568825"/>
                <a:gd name="connsiteX129" fmla="*/ 487370 w 588712"/>
                <a:gd name="connsiteY129" fmla="*/ 113427 h 568825"/>
                <a:gd name="connsiteX130" fmla="*/ 476948 w 588712"/>
                <a:gd name="connsiteY130" fmla="*/ 116065 h 568825"/>
                <a:gd name="connsiteX131" fmla="*/ 473425 w 588712"/>
                <a:gd name="connsiteY131" fmla="*/ 132478 h 568825"/>
                <a:gd name="connsiteX132" fmla="*/ 479297 w 588712"/>
                <a:gd name="connsiteY132" fmla="*/ 139513 h 568825"/>
                <a:gd name="connsiteX133" fmla="*/ 483994 w 588712"/>
                <a:gd name="connsiteY133" fmla="*/ 146547 h 568825"/>
                <a:gd name="connsiteX134" fmla="*/ 498085 w 588712"/>
                <a:gd name="connsiteY134" fmla="*/ 144202 h 568825"/>
                <a:gd name="connsiteX135" fmla="*/ 499259 w 588712"/>
                <a:gd name="connsiteY135" fmla="*/ 144202 h 568825"/>
                <a:gd name="connsiteX136" fmla="*/ 498085 w 588712"/>
                <a:gd name="connsiteY136" fmla="*/ 144202 h 568825"/>
                <a:gd name="connsiteX137" fmla="*/ 499259 w 588712"/>
                <a:gd name="connsiteY137" fmla="*/ 121927 h 568825"/>
                <a:gd name="connsiteX138" fmla="*/ 496911 w 588712"/>
                <a:gd name="connsiteY138" fmla="*/ 119582 h 568825"/>
                <a:gd name="connsiteX139" fmla="*/ 487370 w 588712"/>
                <a:gd name="connsiteY139" fmla="*/ 113427 h 568825"/>
                <a:gd name="connsiteX140" fmla="*/ 279524 w 588712"/>
                <a:gd name="connsiteY140" fmla="*/ 71955 h 568825"/>
                <a:gd name="connsiteX141" fmla="*/ 144630 w 588712"/>
                <a:gd name="connsiteY141" fmla="*/ 135996 h 568825"/>
                <a:gd name="connsiteX142" fmla="*/ 87091 w 588712"/>
                <a:gd name="connsiteY142" fmla="*/ 282542 h 568825"/>
                <a:gd name="connsiteX143" fmla="*/ 105879 w 588712"/>
                <a:gd name="connsiteY143" fmla="*/ 302473 h 568825"/>
                <a:gd name="connsiteX144" fmla="*/ 175161 w 588712"/>
                <a:gd name="connsiteY144" fmla="*/ 257923 h 568825"/>
                <a:gd name="connsiteX145" fmla="*/ 177509 w 588712"/>
                <a:gd name="connsiteY145" fmla="*/ 246199 h 568825"/>
                <a:gd name="connsiteX146" fmla="*/ 182206 w 588712"/>
                <a:gd name="connsiteY146" fmla="*/ 219234 h 568825"/>
                <a:gd name="connsiteX147" fmla="*/ 181032 w 588712"/>
                <a:gd name="connsiteY147" fmla="*/ 141857 h 568825"/>
                <a:gd name="connsiteX148" fmla="*/ 186903 w 588712"/>
                <a:gd name="connsiteY148" fmla="*/ 120755 h 568825"/>
                <a:gd name="connsiteX149" fmla="*/ 193949 w 588712"/>
                <a:gd name="connsiteY149" fmla="*/ 118410 h 568825"/>
                <a:gd name="connsiteX150" fmla="*/ 205692 w 588712"/>
                <a:gd name="connsiteY150" fmla="*/ 116065 h 568825"/>
                <a:gd name="connsiteX151" fmla="*/ 210389 w 588712"/>
                <a:gd name="connsiteY151" fmla="*/ 116065 h 568825"/>
                <a:gd name="connsiteX152" fmla="*/ 405318 w 588712"/>
                <a:gd name="connsiteY152" fmla="*/ 268474 h 568825"/>
                <a:gd name="connsiteX153" fmla="*/ 452288 w 588712"/>
                <a:gd name="connsiteY153" fmla="*/ 323576 h 568825"/>
                <a:gd name="connsiteX154" fmla="*/ 496911 w 588712"/>
                <a:gd name="connsiteY154" fmla="*/ 260267 h 568825"/>
                <a:gd name="connsiteX155" fmla="*/ 420583 w 588712"/>
                <a:gd name="connsiteY155" fmla="*/ 119582 h 568825"/>
                <a:gd name="connsiteX156" fmla="*/ 279524 w 588712"/>
                <a:gd name="connsiteY156" fmla="*/ 71955 h 568825"/>
                <a:gd name="connsiteX157" fmla="*/ 186903 w 588712"/>
                <a:gd name="connsiteY157" fmla="*/ 41033 h 568825"/>
                <a:gd name="connsiteX158" fmla="*/ 179858 w 588712"/>
                <a:gd name="connsiteY158" fmla="*/ 42206 h 568825"/>
                <a:gd name="connsiteX159" fmla="*/ 56560 w 588712"/>
                <a:gd name="connsiteY159" fmla="*/ 166477 h 568825"/>
                <a:gd name="connsiteX160" fmla="*/ 61257 w 588712"/>
                <a:gd name="connsiteY160" fmla="*/ 169994 h 568825"/>
                <a:gd name="connsiteX161" fmla="*/ 183381 w 588712"/>
                <a:gd name="connsiteY161" fmla="*/ 46895 h 568825"/>
                <a:gd name="connsiteX162" fmla="*/ 186903 w 588712"/>
                <a:gd name="connsiteY162" fmla="*/ 41033 h 568825"/>
                <a:gd name="connsiteX163" fmla="*/ 266754 w 588712"/>
                <a:gd name="connsiteY163" fmla="*/ 16413 h 568825"/>
                <a:gd name="connsiteX164" fmla="*/ 231526 w 588712"/>
                <a:gd name="connsiteY164" fmla="*/ 23448 h 568825"/>
                <a:gd name="connsiteX165" fmla="*/ 204517 w 588712"/>
                <a:gd name="connsiteY165" fmla="*/ 38688 h 568825"/>
                <a:gd name="connsiteX166" fmla="*/ 104705 w 588712"/>
                <a:gd name="connsiteY166" fmla="*/ 139513 h 568825"/>
                <a:gd name="connsiteX167" fmla="*/ 55385 w 588712"/>
                <a:gd name="connsiteY167" fmla="*/ 187580 h 568825"/>
                <a:gd name="connsiteX168" fmla="*/ 38945 w 588712"/>
                <a:gd name="connsiteY168" fmla="*/ 213372 h 568825"/>
                <a:gd name="connsiteX169" fmla="*/ 33074 w 588712"/>
                <a:gd name="connsiteY169" fmla="*/ 243854 h 568825"/>
                <a:gd name="connsiteX170" fmla="*/ 42468 w 588712"/>
                <a:gd name="connsiteY170" fmla="*/ 248544 h 568825"/>
                <a:gd name="connsiteX171" fmla="*/ 57734 w 588712"/>
                <a:gd name="connsiteY171" fmla="*/ 233303 h 568825"/>
                <a:gd name="connsiteX172" fmla="*/ 70651 w 588712"/>
                <a:gd name="connsiteY172" fmla="*/ 218062 h 568825"/>
                <a:gd name="connsiteX173" fmla="*/ 71825 w 588712"/>
                <a:gd name="connsiteY173" fmla="*/ 214545 h 568825"/>
                <a:gd name="connsiteX174" fmla="*/ 132887 w 588712"/>
                <a:gd name="connsiteY174" fmla="*/ 121927 h 568825"/>
                <a:gd name="connsiteX175" fmla="*/ 276148 w 588712"/>
                <a:gd name="connsiteY175" fmla="*/ 57446 h 568825"/>
                <a:gd name="connsiteX176" fmla="*/ 361870 w 588712"/>
                <a:gd name="connsiteY176" fmla="*/ 65653 h 568825"/>
                <a:gd name="connsiteX177" fmla="*/ 379484 w 588712"/>
                <a:gd name="connsiteY177" fmla="*/ 69170 h 568825"/>
                <a:gd name="connsiteX178" fmla="*/ 380658 w 588712"/>
                <a:gd name="connsiteY178" fmla="*/ 69170 h 568825"/>
                <a:gd name="connsiteX179" fmla="*/ 381832 w 588712"/>
                <a:gd name="connsiteY179" fmla="*/ 69170 h 568825"/>
                <a:gd name="connsiteX180" fmla="*/ 383007 w 588712"/>
                <a:gd name="connsiteY180" fmla="*/ 70343 h 568825"/>
                <a:gd name="connsiteX181" fmla="*/ 392401 w 588712"/>
                <a:gd name="connsiteY181" fmla="*/ 75032 h 568825"/>
                <a:gd name="connsiteX182" fmla="*/ 405318 w 588712"/>
                <a:gd name="connsiteY182" fmla="*/ 75032 h 568825"/>
                <a:gd name="connsiteX183" fmla="*/ 412363 w 588712"/>
                <a:gd name="connsiteY183" fmla="*/ 72687 h 568825"/>
                <a:gd name="connsiteX184" fmla="*/ 411189 w 588712"/>
                <a:gd name="connsiteY184" fmla="*/ 77377 h 568825"/>
                <a:gd name="connsiteX185" fmla="*/ 417060 w 588712"/>
                <a:gd name="connsiteY185" fmla="*/ 86756 h 568825"/>
                <a:gd name="connsiteX186" fmla="*/ 433500 w 588712"/>
                <a:gd name="connsiteY186" fmla="*/ 85583 h 568825"/>
                <a:gd name="connsiteX187" fmla="*/ 447591 w 588712"/>
                <a:gd name="connsiteY187" fmla="*/ 80894 h 568825"/>
                <a:gd name="connsiteX188" fmla="*/ 445243 w 588712"/>
                <a:gd name="connsiteY188" fmla="*/ 90273 h 568825"/>
                <a:gd name="connsiteX189" fmla="*/ 445243 w 588712"/>
                <a:gd name="connsiteY189" fmla="*/ 104341 h 568825"/>
                <a:gd name="connsiteX190" fmla="*/ 462857 w 588712"/>
                <a:gd name="connsiteY190" fmla="*/ 101997 h 568825"/>
                <a:gd name="connsiteX191" fmla="*/ 461683 w 588712"/>
                <a:gd name="connsiteY191" fmla="*/ 82066 h 568825"/>
                <a:gd name="connsiteX192" fmla="*/ 323119 w 588712"/>
                <a:gd name="connsiteY192" fmla="*/ 17586 h 568825"/>
                <a:gd name="connsiteX193" fmla="*/ 303156 w 588712"/>
                <a:gd name="connsiteY193" fmla="*/ 21103 h 568825"/>
                <a:gd name="connsiteX194" fmla="*/ 284368 w 588712"/>
                <a:gd name="connsiteY194" fmla="*/ 30482 h 568825"/>
                <a:gd name="connsiteX195" fmla="*/ 260883 w 588712"/>
                <a:gd name="connsiteY195" fmla="*/ 39861 h 568825"/>
                <a:gd name="connsiteX196" fmla="*/ 258534 w 588712"/>
                <a:gd name="connsiteY196" fmla="*/ 36344 h 568825"/>
                <a:gd name="connsiteX197" fmla="*/ 271451 w 588712"/>
                <a:gd name="connsiteY197" fmla="*/ 25792 h 568825"/>
                <a:gd name="connsiteX198" fmla="*/ 266754 w 588712"/>
                <a:gd name="connsiteY198" fmla="*/ 16413 h 568825"/>
                <a:gd name="connsiteX199" fmla="*/ 300808 w 588712"/>
                <a:gd name="connsiteY199" fmla="*/ 0 h 568825"/>
                <a:gd name="connsiteX200" fmla="*/ 303156 w 588712"/>
                <a:gd name="connsiteY200" fmla="*/ 0 h 568825"/>
                <a:gd name="connsiteX201" fmla="*/ 320770 w 588712"/>
                <a:gd name="connsiteY201" fmla="*/ 1172 h 568825"/>
                <a:gd name="connsiteX202" fmla="*/ 583807 w 588712"/>
                <a:gd name="connsiteY202" fmla="*/ 324748 h 568825"/>
                <a:gd name="connsiteX203" fmla="*/ 284368 w 588712"/>
                <a:gd name="connsiteY203" fmla="*/ 568602 h 568825"/>
                <a:gd name="connsiteX204" fmla="*/ 4892 w 588712"/>
                <a:gd name="connsiteY204" fmla="*/ 243854 h 568825"/>
                <a:gd name="connsiteX205" fmla="*/ 300808 w 588712"/>
                <a:gd name="connsiteY205" fmla="*/ 0 h 56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588712" h="568825">
                  <a:moveTo>
                    <a:pt x="72559" y="332808"/>
                  </a:moveTo>
                  <a:cubicBezTo>
                    <a:pt x="68009" y="333247"/>
                    <a:pt x="63605" y="334713"/>
                    <a:pt x="60082" y="337644"/>
                  </a:cubicBezTo>
                  <a:cubicBezTo>
                    <a:pt x="58908" y="339989"/>
                    <a:pt x="56560" y="342334"/>
                    <a:pt x="54211" y="344678"/>
                  </a:cubicBezTo>
                  <a:cubicBezTo>
                    <a:pt x="48340" y="350540"/>
                    <a:pt x="44817" y="362264"/>
                    <a:pt x="48340" y="370471"/>
                  </a:cubicBezTo>
                  <a:cubicBezTo>
                    <a:pt x="50688" y="377505"/>
                    <a:pt x="58908" y="379850"/>
                    <a:pt x="64779" y="372815"/>
                  </a:cubicBezTo>
                  <a:cubicBezTo>
                    <a:pt x="72999" y="364609"/>
                    <a:pt x="81219" y="356402"/>
                    <a:pt x="89439" y="348196"/>
                  </a:cubicBezTo>
                  <a:cubicBezTo>
                    <a:pt x="96485" y="342334"/>
                    <a:pt x="94136" y="337644"/>
                    <a:pt x="85916" y="334127"/>
                  </a:cubicBezTo>
                  <a:cubicBezTo>
                    <a:pt x="81806" y="332954"/>
                    <a:pt x="77109" y="332368"/>
                    <a:pt x="72559" y="332808"/>
                  </a:cubicBezTo>
                  <a:close/>
                  <a:moveTo>
                    <a:pt x="63605" y="320058"/>
                  </a:moveTo>
                  <a:cubicBezTo>
                    <a:pt x="61257" y="317714"/>
                    <a:pt x="55385" y="320058"/>
                    <a:pt x="49514" y="325920"/>
                  </a:cubicBezTo>
                  <a:cubicBezTo>
                    <a:pt x="49514" y="325920"/>
                    <a:pt x="49514" y="325920"/>
                    <a:pt x="48340" y="325920"/>
                  </a:cubicBezTo>
                  <a:cubicBezTo>
                    <a:pt x="42468" y="332955"/>
                    <a:pt x="37771" y="338817"/>
                    <a:pt x="38945" y="341161"/>
                  </a:cubicBezTo>
                  <a:cubicBezTo>
                    <a:pt x="38945" y="341161"/>
                    <a:pt x="38945" y="342334"/>
                    <a:pt x="38945" y="343506"/>
                  </a:cubicBezTo>
                  <a:cubicBezTo>
                    <a:pt x="40120" y="345851"/>
                    <a:pt x="40120" y="347023"/>
                    <a:pt x="41294" y="348196"/>
                  </a:cubicBezTo>
                  <a:cubicBezTo>
                    <a:pt x="41294" y="351713"/>
                    <a:pt x="47165" y="349368"/>
                    <a:pt x="54211" y="342334"/>
                  </a:cubicBezTo>
                  <a:cubicBezTo>
                    <a:pt x="55385" y="341161"/>
                    <a:pt x="57734" y="338817"/>
                    <a:pt x="58908" y="337644"/>
                  </a:cubicBezTo>
                  <a:cubicBezTo>
                    <a:pt x="65954" y="331782"/>
                    <a:pt x="69476" y="325920"/>
                    <a:pt x="69476" y="325920"/>
                  </a:cubicBezTo>
                  <a:cubicBezTo>
                    <a:pt x="68302" y="324748"/>
                    <a:pt x="68302" y="324748"/>
                    <a:pt x="67128" y="324748"/>
                  </a:cubicBezTo>
                  <a:cubicBezTo>
                    <a:pt x="65954" y="323576"/>
                    <a:pt x="64779" y="321231"/>
                    <a:pt x="63605" y="320058"/>
                  </a:cubicBezTo>
                  <a:close/>
                  <a:moveTo>
                    <a:pt x="259391" y="293003"/>
                  </a:moveTo>
                  <a:cubicBezTo>
                    <a:pt x="259976" y="293441"/>
                    <a:pt x="259098" y="295486"/>
                    <a:pt x="256171" y="298993"/>
                  </a:cubicBezTo>
                  <a:cubicBezTo>
                    <a:pt x="252659" y="304838"/>
                    <a:pt x="247975" y="309513"/>
                    <a:pt x="242121" y="314189"/>
                  </a:cubicBezTo>
                  <a:cubicBezTo>
                    <a:pt x="237438" y="318864"/>
                    <a:pt x="232755" y="322371"/>
                    <a:pt x="228072" y="325877"/>
                  </a:cubicBezTo>
                  <a:cubicBezTo>
                    <a:pt x="221047" y="330553"/>
                    <a:pt x="218705" y="328215"/>
                    <a:pt x="225730" y="322371"/>
                  </a:cubicBezTo>
                  <a:cubicBezTo>
                    <a:pt x="235096" y="314189"/>
                    <a:pt x="244463" y="304838"/>
                    <a:pt x="253829" y="296655"/>
                  </a:cubicBezTo>
                  <a:cubicBezTo>
                    <a:pt x="256757" y="293733"/>
                    <a:pt x="258805" y="292564"/>
                    <a:pt x="259391" y="293003"/>
                  </a:cubicBezTo>
                  <a:close/>
                  <a:moveTo>
                    <a:pt x="55238" y="274336"/>
                  </a:moveTo>
                  <a:cubicBezTo>
                    <a:pt x="53624" y="273750"/>
                    <a:pt x="51275" y="274922"/>
                    <a:pt x="48340" y="277853"/>
                  </a:cubicBezTo>
                  <a:cubicBezTo>
                    <a:pt x="45991" y="280198"/>
                    <a:pt x="43643" y="282542"/>
                    <a:pt x="42468" y="283715"/>
                  </a:cubicBezTo>
                  <a:cubicBezTo>
                    <a:pt x="35423" y="290749"/>
                    <a:pt x="31900" y="301300"/>
                    <a:pt x="31900" y="308335"/>
                  </a:cubicBezTo>
                  <a:cubicBezTo>
                    <a:pt x="33074" y="314197"/>
                    <a:pt x="38945" y="315369"/>
                    <a:pt x="44817" y="309507"/>
                  </a:cubicBezTo>
                  <a:cubicBezTo>
                    <a:pt x="45991" y="308335"/>
                    <a:pt x="45991" y="308335"/>
                    <a:pt x="45991" y="307162"/>
                  </a:cubicBezTo>
                  <a:cubicBezTo>
                    <a:pt x="51862" y="301300"/>
                    <a:pt x="56560" y="289577"/>
                    <a:pt x="57734" y="281370"/>
                  </a:cubicBezTo>
                  <a:cubicBezTo>
                    <a:pt x="57734" y="277267"/>
                    <a:pt x="56853" y="274922"/>
                    <a:pt x="55238" y="274336"/>
                  </a:cubicBezTo>
                  <a:close/>
                  <a:moveTo>
                    <a:pt x="550927" y="251475"/>
                  </a:moveTo>
                  <a:cubicBezTo>
                    <a:pt x="548579" y="250595"/>
                    <a:pt x="545643" y="251475"/>
                    <a:pt x="542707" y="254405"/>
                  </a:cubicBezTo>
                  <a:cubicBezTo>
                    <a:pt x="538010" y="261440"/>
                    <a:pt x="534487" y="273164"/>
                    <a:pt x="534487" y="281370"/>
                  </a:cubicBezTo>
                  <a:cubicBezTo>
                    <a:pt x="534487" y="283715"/>
                    <a:pt x="534487" y="286060"/>
                    <a:pt x="534487" y="287232"/>
                  </a:cubicBezTo>
                  <a:cubicBezTo>
                    <a:pt x="533313" y="296611"/>
                    <a:pt x="535662" y="300128"/>
                    <a:pt x="539184" y="295439"/>
                  </a:cubicBezTo>
                  <a:cubicBezTo>
                    <a:pt x="541533" y="293094"/>
                    <a:pt x="543881" y="289577"/>
                    <a:pt x="547404" y="287232"/>
                  </a:cubicBezTo>
                  <a:cubicBezTo>
                    <a:pt x="548579" y="284887"/>
                    <a:pt x="550927" y="283715"/>
                    <a:pt x="552101" y="281370"/>
                  </a:cubicBezTo>
                  <a:cubicBezTo>
                    <a:pt x="555624" y="277853"/>
                    <a:pt x="556798" y="268474"/>
                    <a:pt x="555624" y="260267"/>
                  </a:cubicBezTo>
                  <a:cubicBezTo>
                    <a:pt x="555624" y="260267"/>
                    <a:pt x="555624" y="259095"/>
                    <a:pt x="555624" y="259095"/>
                  </a:cubicBezTo>
                  <a:cubicBezTo>
                    <a:pt x="555037" y="254992"/>
                    <a:pt x="553276" y="252354"/>
                    <a:pt x="550927" y="251475"/>
                  </a:cubicBezTo>
                  <a:close/>
                  <a:moveTo>
                    <a:pt x="279896" y="233952"/>
                  </a:moveTo>
                  <a:cubicBezTo>
                    <a:pt x="281655" y="233219"/>
                    <a:pt x="282534" y="233806"/>
                    <a:pt x="281948" y="235565"/>
                  </a:cubicBezTo>
                  <a:cubicBezTo>
                    <a:pt x="281948" y="237910"/>
                    <a:pt x="276086" y="246121"/>
                    <a:pt x="270224" y="251985"/>
                  </a:cubicBezTo>
                  <a:cubicBezTo>
                    <a:pt x="244430" y="275443"/>
                    <a:pt x="217465" y="300074"/>
                    <a:pt x="191671" y="324705"/>
                  </a:cubicBezTo>
                  <a:cubicBezTo>
                    <a:pt x="185809" y="330569"/>
                    <a:pt x="179947" y="335261"/>
                    <a:pt x="179947" y="334088"/>
                  </a:cubicBezTo>
                  <a:cubicBezTo>
                    <a:pt x="178775" y="334088"/>
                    <a:pt x="183465" y="329397"/>
                    <a:pt x="189327" y="322359"/>
                  </a:cubicBezTo>
                  <a:cubicBezTo>
                    <a:pt x="224499" y="287172"/>
                    <a:pt x="251465" y="260196"/>
                    <a:pt x="272568" y="240256"/>
                  </a:cubicBezTo>
                  <a:cubicBezTo>
                    <a:pt x="275499" y="236738"/>
                    <a:pt x="278137" y="234685"/>
                    <a:pt x="279896" y="233952"/>
                  </a:cubicBezTo>
                  <a:close/>
                  <a:moveTo>
                    <a:pt x="279084" y="183770"/>
                  </a:moveTo>
                  <a:cubicBezTo>
                    <a:pt x="274974" y="184063"/>
                    <a:pt x="270864" y="185822"/>
                    <a:pt x="267928" y="188752"/>
                  </a:cubicBezTo>
                  <a:cubicBezTo>
                    <a:pt x="250314" y="206338"/>
                    <a:pt x="232700" y="225096"/>
                    <a:pt x="215086" y="242682"/>
                  </a:cubicBezTo>
                  <a:cubicBezTo>
                    <a:pt x="209214" y="248544"/>
                    <a:pt x="202169" y="260267"/>
                    <a:pt x="198646" y="268474"/>
                  </a:cubicBezTo>
                  <a:cubicBezTo>
                    <a:pt x="191600" y="284887"/>
                    <a:pt x="182206" y="298956"/>
                    <a:pt x="168115" y="309507"/>
                  </a:cubicBezTo>
                  <a:cubicBezTo>
                    <a:pt x="154024" y="321231"/>
                    <a:pt x="138758" y="330610"/>
                    <a:pt x="122319" y="335299"/>
                  </a:cubicBezTo>
                  <a:cubicBezTo>
                    <a:pt x="114099" y="337644"/>
                    <a:pt x="108227" y="341161"/>
                    <a:pt x="108227" y="344678"/>
                  </a:cubicBezTo>
                  <a:cubicBezTo>
                    <a:pt x="109402" y="348196"/>
                    <a:pt x="104705" y="356402"/>
                    <a:pt x="98833" y="362264"/>
                  </a:cubicBezTo>
                  <a:cubicBezTo>
                    <a:pt x="90613" y="371643"/>
                    <a:pt x="81219" y="379850"/>
                    <a:pt x="72999" y="389229"/>
                  </a:cubicBezTo>
                  <a:cubicBezTo>
                    <a:pt x="65954" y="395091"/>
                    <a:pt x="64779" y="406814"/>
                    <a:pt x="69476" y="413849"/>
                  </a:cubicBezTo>
                  <a:cubicBezTo>
                    <a:pt x="72999" y="420883"/>
                    <a:pt x="77696" y="427917"/>
                    <a:pt x="82393" y="434951"/>
                  </a:cubicBezTo>
                  <a:cubicBezTo>
                    <a:pt x="87091" y="441986"/>
                    <a:pt x="96485" y="441986"/>
                    <a:pt x="102356" y="436124"/>
                  </a:cubicBezTo>
                  <a:cubicBezTo>
                    <a:pt x="108227" y="431434"/>
                    <a:pt x="114099" y="426745"/>
                    <a:pt x="118796" y="420883"/>
                  </a:cubicBezTo>
                  <a:cubicBezTo>
                    <a:pt x="125841" y="415021"/>
                    <a:pt x="132887" y="415021"/>
                    <a:pt x="135236" y="419710"/>
                  </a:cubicBezTo>
                  <a:cubicBezTo>
                    <a:pt x="137584" y="424400"/>
                    <a:pt x="135236" y="432607"/>
                    <a:pt x="128190" y="438468"/>
                  </a:cubicBezTo>
                  <a:cubicBezTo>
                    <a:pt x="123493" y="443158"/>
                    <a:pt x="118796" y="446675"/>
                    <a:pt x="114099" y="451365"/>
                  </a:cubicBezTo>
                  <a:cubicBezTo>
                    <a:pt x="108227" y="457226"/>
                    <a:pt x="105879" y="465433"/>
                    <a:pt x="110576" y="470123"/>
                  </a:cubicBezTo>
                  <a:cubicBezTo>
                    <a:pt x="114099" y="474812"/>
                    <a:pt x="123493" y="473640"/>
                    <a:pt x="129364" y="467778"/>
                  </a:cubicBezTo>
                  <a:cubicBezTo>
                    <a:pt x="132887" y="464261"/>
                    <a:pt x="136410" y="460744"/>
                    <a:pt x="139933" y="457226"/>
                  </a:cubicBezTo>
                  <a:cubicBezTo>
                    <a:pt x="146978" y="451365"/>
                    <a:pt x="151675" y="447847"/>
                    <a:pt x="152850" y="447847"/>
                  </a:cubicBezTo>
                  <a:cubicBezTo>
                    <a:pt x="152850" y="449020"/>
                    <a:pt x="149327" y="454882"/>
                    <a:pt x="142281" y="460744"/>
                  </a:cubicBezTo>
                  <a:cubicBezTo>
                    <a:pt x="139933" y="464261"/>
                    <a:pt x="136410" y="467778"/>
                    <a:pt x="132887" y="470123"/>
                  </a:cubicBezTo>
                  <a:cubicBezTo>
                    <a:pt x="127016" y="477157"/>
                    <a:pt x="127016" y="486536"/>
                    <a:pt x="134061" y="492398"/>
                  </a:cubicBezTo>
                  <a:cubicBezTo>
                    <a:pt x="139933" y="497087"/>
                    <a:pt x="145804" y="501777"/>
                    <a:pt x="151675" y="506466"/>
                  </a:cubicBezTo>
                  <a:cubicBezTo>
                    <a:pt x="158721" y="512328"/>
                    <a:pt x="170464" y="511156"/>
                    <a:pt x="176335" y="505294"/>
                  </a:cubicBezTo>
                  <a:cubicBezTo>
                    <a:pt x="177509" y="504121"/>
                    <a:pt x="178683" y="502949"/>
                    <a:pt x="178683" y="502949"/>
                  </a:cubicBezTo>
                  <a:cubicBezTo>
                    <a:pt x="185729" y="497087"/>
                    <a:pt x="192775" y="494742"/>
                    <a:pt x="196298" y="497087"/>
                  </a:cubicBezTo>
                  <a:cubicBezTo>
                    <a:pt x="199820" y="500604"/>
                    <a:pt x="197472" y="507639"/>
                    <a:pt x="191600" y="513500"/>
                  </a:cubicBezTo>
                  <a:cubicBezTo>
                    <a:pt x="185729" y="520535"/>
                    <a:pt x="186903" y="528741"/>
                    <a:pt x="195123" y="532258"/>
                  </a:cubicBezTo>
                  <a:cubicBezTo>
                    <a:pt x="200995" y="534603"/>
                    <a:pt x="206866" y="536948"/>
                    <a:pt x="212737" y="539293"/>
                  </a:cubicBezTo>
                  <a:cubicBezTo>
                    <a:pt x="220957" y="542810"/>
                    <a:pt x="230352" y="541638"/>
                    <a:pt x="235049" y="536948"/>
                  </a:cubicBezTo>
                  <a:cubicBezTo>
                    <a:pt x="238571" y="533431"/>
                    <a:pt x="247966" y="533431"/>
                    <a:pt x="256186" y="538120"/>
                  </a:cubicBezTo>
                  <a:cubicBezTo>
                    <a:pt x="256186" y="538120"/>
                    <a:pt x="257360" y="538120"/>
                    <a:pt x="257360" y="538120"/>
                  </a:cubicBezTo>
                  <a:cubicBezTo>
                    <a:pt x="265580" y="542810"/>
                    <a:pt x="270277" y="547499"/>
                    <a:pt x="267928" y="548672"/>
                  </a:cubicBezTo>
                  <a:cubicBezTo>
                    <a:pt x="265580" y="551016"/>
                    <a:pt x="271451" y="554534"/>
                    <a:pt x="279671" y="554534"/>
                  </a:cubicBezTo>
                  <a:cubicBezTo>
                    <a:pt x="299633" y="556878"/>
                    <a:pt x="319596" y="555706"/>
                    <a:pt x="339559" y="551016"/>
                  </a:cubicBezTo>
                  <a:cubicBezTo>
                    <a:pt x="438197" y="532258"/>
                    <a:pt x="518048" y="456054"/>
                    <a:pt x="546230" y="363436"/>
                  </a:cubicBezTo>
                  <a:cubicBezTo>
                    <a:pt x="548579" y="355230"/>
                    <a:pt x="548579" y="348196"/>
                    <a:pt x="547404" y="347023"/>
                  </a:cubicBezTo>
                  <a:cubicBezTo>
                    <a:pt x="546230" y="347023"/>
                    <a:pt x="545056" y="347023"/>
                    <a:pt x="543881" y="345851"/>
                  </a:cubicBezTo>
                  <a:cubicBezTo>
                    <a:pt x="541533" y="344678"/>
                    <a:pt x="539184" y="343506"/>
                    <a:pt x="536836" y="342334"/>
                  </a:cubicBezTo>
                  <a:cubicBezTo>
                    <a:pt x="533313" y="339989"/>
                    <a:pt x="535662" y="334127"/>
                    <a:pt x="541533" y="327093"/>
                  </a:cubicBezTo>
                  <a:cubicBezTo>
                    <a:pt x="542707" y="325920"/>
                    <a:pt x="543881" y="324748"/>
                    <a:pt x="546230" y="322403"/>
                  </a:cubicBezTo>
                  <a:cubicBezTo>
                    <a:pt x="552101" y="316541"/>
                    <a:pt x="557973" y="305990"/>
                    <a:pt x="557973" y="298956"/>
                  </a:cubicBezTo>
                  <a:cubicBezTo>
                    <a:pt x="557973" y="293094"/>
                    <a:pt x="553276" y="291922"/>
                    <a:pt x="547404" y="297783"/>
                  </a:cubicBezTo>
                  <a:cubicBezTo>
                    <a:pt x="542707" y="302473"/>
                    <a:pt x="539184" y="305990"/>
                    <a:pt x="535662" y="309507"/>
                  </a:cubicBezTo>
                  <a:cubicBezTo>
                    <a:pt x="529790" y="315369"/>
                    <a:pt x="522745" y="323576"/>
                    <a:pt x="520396" y="328265"/>
                  </a:cubicBezTo>
                  <a:cubicBezTo>
                    <a:pt x="518048" y="329438"/>
                    <a:pt x="516873" y="331782"/>
                    <a:pt x="514525" y="334127"/>
                  </a:cubicBezTo>
                  <a:cubicBezTo>
                    <a:pt x="480471" y="363436"/>
                    <a:pt x="434674" y="352885"/>
                    <a:pt x="406492" y="318886"/>
                  </a:cubicBezTo>
                  <a:cubicBezTo>
                    <a:pt x="367741" y="270819"/>
                    <a:pt x="333687" y="223924"/>
                    <a:pt x="290239" y="187580"/>
                  </a:cubicBezTo>
                  <a:cubicBezTo>
                    <a:pt x="287304" y="184649"/>
                    <a:pt x="283194" y="183477"/>
                    <a:pt x="279084" y="183770"/>
                  </a:cubicBezTo>
                  <a:close/>
                  <a:moveTo>
                    <a:pt x="522598" y="165891"/>
                  </a:moveTo>
                  <a:cubicBezTo>
                    <a:pt x="519515" y="165012"/>
                    <a:pt x="516286" y="165891"/>
                    <a:pt x="513350" y="168822"/>
                  </a:cubicBezTo>
                  <a:cubicBezTo>
                    <a:pt x="507479" y="173512"/>
                    <a:pt x="506305" y="184063"/>
                    <a:pt x="509828" y="192270"/>
                  </a:cubicBezTo>
                  <a:cubicBezTo>
                    <a:pt x="515699" y="203993"/>
                    <a:pt x="520396" y="216889"/>
                    <a:pt x="525093" y="229786"/>
                  </a:cubicBezTo>
                  <a:cubicBezTo>
                    <a:pt x="527442" y="237992"/>
                    <a:pt x="533313" y="240337"/>
                    <a:pt x="539184" y="234475"/>
                  </a:cubicBezTo>
                  <a:cubicBezTo>
                    <a:pt x="545056" y="228613"/>
                    <a:pt x="547404" y="218062"/>
                    <a:pt x="545056" y="209855"/>
                  </a:cubicBezTo>
                  <a:cubicBezTo>
                    <a:pt x="540359" y="196959"/>
                    <a:pt x="535662" y="185235"/>
                    <a:pt x="530965" y="173512"/>
                  </a:cubicBezTo>
                  <a:cubicBezTo>
                    <a:pt x="528616" y="169409"/>
                    <a:pt x="525680" y="166771"/>
                    <a:pt x="522598" y="165891"/>
                  </a:cubicBezTo>
                  <a:close/>
                  <a:moveTo>
                    <a:pt x="231673" y="152556"/>
                  </a:moveTo>
                  <a:cubicBezTo>
                    <a:pt x="227122" y="153288"/>
                    <a:pt x="222719" y="155340"/>
                    <a:pt x="219783" y="158271"/>
                  </a:cubicBezTo>
                  <a:cubicBezTo>
                    <a:pt x="213912" y="164133"/>
                    <a:pt x="209214" y="175856"/>
                    <a:pt x="210389" y="184063"/>
                  </a:cubicBezTo>
                  <a:cubicBezTo>
                    <a:pt x="210389" y="194614"/>
                    <a:pt x="211563" y="203993"/>
                    <a:pt x="211563" y="212200"/>
                  </a:cubicBezTo>
                  <a:cubicBezTo>
                    <a:pt x="211563" y="221579"/>
                    <a:pt x="212737" y="226268"/>
                    <a:pt x="213912" y="225096"/>
                  </a:cubicBezTo>
                  <a:cubicBezTo>
                    <a:pt x="215086" y="223924"/>
                    <a:pt x="216260" y="222751"/>
                    <a:pt x="217434" y="221579"/>
                  </a:cubicBezTo>
                  <a:cubicBezTo>
                    <a:pt x="233874" y="206338"/>
                    <a:pt x="246791" y="193442"/>
                    <a:pt x="258534" y="181718"/>
                  </a:cubicBezTo>
                  <a:cubicBezTo>
                    <a:pt x="265580" y="175856"/>
                    <a:pt x="264405" y="167650"/>
                    <a:pt x="257360" y="162960"/>
                  </a:cubicBezTo>
                  <a:cubicBezTo>
                    <a:pt x="252663" y="159443"/>
                    <a:pt x="249140" y="157098"/>
                    <a:pt x="244443" y="154754"/>
                  </a:cubicBezTo>
                  <a:cubicBezTo>
                    <a:pt x="240920" y="152409"/>
                    <a:pt x="236223" y="151823"/>
                    <a:pt x="231673" y="152556"/>
                  </a:cubicBezTo>
                  <a:close/>
                  <a:moveTo>
                    <a:pt x="501608" y="147719"/>
                  </a:moveTo>
                  <a:cubicBezTo>
                    <a:pt x="495736" y="153581"/>
                    <a:pt x="493388" y="161788"/>
                    <a:pt x="496911" y="166477"/>
                  </a:cubicBezTo>
                  <a:cubicBezTo>
                    <a:pt x="499259" y="171167"/>
                    <a:pt x="505131" y="171167"/>
                    <a:pt x="511002" y="165305"/>
                  </a:cubicBezTo>
                  <a:cubicBezTo>
                    <a:pt x="516873" y="160615"/>
                    <a:pt x="519222" y="152409"/>
                    <a:pt x="515699" y="147719"/>
                  </a:cubicBezTo>
                  <a:cubicBezTo>
                    <a:pt x="513350" y="143030"/>
                    <a:pt x="506305" y="143030"/>
                    <a:pt x="501608" y="147719"/>
                  </a:cubicBezTo>
                  <a:close/>
                  <a:moveTo>
                    <a:pt x="212737" y="138340"/>
                  </a:moveTo>
                  <a:cubicBezTo>
                    <a:pt x="210389" y="137168"/>
                    <a:pt x="206866" y="140685"/>
                    <a:pt x="206866" y="145375"/>
                  </a:cubicBezTo>
                  <a:cubicBezTo>
                    <a:pt x="206866" y="151236"/>
                    <a:pt x="210389" y="151236"/>
                    <a:pt x="212737" y="147719"/>
                  </a:cubicBezTo>
                  <a:cubicBezTo>
                    <a:pt x="216260" y="144202"/>
                    <a:pt x="216260" y="140685"/>
                    <a:pt x="212737" y="138340"/>
                  </a:cubicBezTo>
                  <a:close/>
                  <a:moveTo>
                    <a:pt x="487370" y="113427"/>
                  </a:moveTo>
                  <a:cubicBezTo>
                    <a:pt x="483700" y="112841"/>
                    <a:pt x="479884" y="113721"/>
                    <a:pt x="476948" y="116065"/>
                  </a:cubicBezTo>
                  <a:cubicBezTo>
                    <a:pt x="472251" y="121927"/>
                    <a:pt x="469903" y="128961"/>
                    <a:pt x="473425" y="132478"/>
                  </a:cubicBezTo>
                  <a:cubicBezTo>
                    <a:pt x="475774" y="134823"/>
                    <a:pt x="476948" y="137168"/>
                    <a:pt x="479297" y="139513"/>
                  </a:cubicBezTo>
                  <a:cubicBezTo>
                    <a:pt x="480471" y="141857"/>
                    <a:pt x="481645" y="144202"/>
                    <a:pt x="483994" y="146547"/>
                  </a:cubicBezTo>
                  <a:cubicBezTo>
                    <a:pt x="486342" y="150064"/>
                    <a:pt x="492214" y="148892"/>
                    <a:pt x="498085" y="144202"/>
                  </a:cubicBezTo>
                  <a:cubicBezTo>
                    <a:pt x="493388" y="150064"/>
                    <a:pt x="493388" y="150064"/>
                    <a:pt x="499259" y="144202"/>
                  </a:cubicBezTo>
                  <a:cubicBezTo>
                    <a:pt x="503956" y="139513"/>
                    <a:pt x="503956" y="139513"/>
                    <a:pt x="498085" y="144202"/>
                  </a:cubicBezTo>
                  <a:cubicBezTo>
                    <a:pt x="503956" y="138340"/>
                    <a:pt x="503956" y="128961"/>
                    <a:pt x="499259" y="121927"/>
                  </a:cubicBezTo>
                  <a:cubicBezTo>
                    <a:pt x="498085" y="120755"/>
                    <a:pt x="498085" y="119582"/>
                    <a:pt x="496911" y="119582"/>
                  </a:cubicBezTo>
                  <a:cubicBezTo>
                    <a:pt x="494562" y="116065"/>
                    <a:pt x="491039" y="114014"/>
                    <a:pt x="487370" y="113427"/>
                  </a:cubicBezTo>
                  <a:close/>
                  <a:moveTo>
                    <a:pt x="279524" y="71955"/>
                  </a:moveTo>
                  <a:cubicBezTo>
                    <a:pt x="229764" y="72394"/>
                    <a:pt x="181032" y="91446"/>
                    <a:pt x="144630" y="135996"/>
                  </a:cubicBezTo>
                  <a:cubicBezTo>
                    <a:pt x="116447" y="171167"/>
                    <a:pt x="81219" y="233303"/>
                    <a:pt x="87091" y="282542"/>
                  </a:cubicBezTo>
                  <a:cubicBezTo>
                    <a:pt x="88265" y="291922"/>
                    <a:pt x="97659" y="300128"/>
                    <a:pt x="105879" y="302473"/>
                  </a:cubicBezTo>
                  <a:cubicBezTo>
                    <a:pt x="144630" y="309507"/>
                    <a:pt x="166941" y="295439"/>
                    <a:pt x="175161" y="257923"/>
                  </a:cubicBezTo>
                  <a:cubicBezTo>
                    <a:pt x="176335" y="254405"/>
                    <a:pt x="177509" y="249716"/>
                    <a:pt x="177509" y="246199"/>
                  </a:cubicBezTo>
                  <a:cubicBezTo>
                    <a:pt x="179858" y="240337"/>
                    <a:pt x="182206" y="227441"/>
                    <a:pt x="182206" y="219234"/>
                  </a:cubicBezTo>
                  <a:cubicBezTo>
                    <a:pt x="184555" y="193442"/>
                    <a:pt x="183381" y="168822"/>
                    <a:pt x="181032" y="141857"/>
                  </a:cubicBezTo>
                  <a:cubicBezTo>
                    <a:pt x="178683" y="131306"/>
                    <a:pt x="178683" y="128961"/>
                    <a:pt x="186903" y="120755"/>
                  </a:cubicBezTo>
                  <a:cubicBezTo>
                    <a:pt x="188078" y="119582"/>
                    <a:pt x="190426" y="118410"/>
                    <a:pt x="193949" y="118410"/>
                  </a:cubicBezTo>
                  <a:cubicBezTo>
                    <a:pt x="198646" y="117238"/>
                    <a:pt x="203343" y="116065"/>
                    <a:pt x="205692" y="116065"/>
                  </a:cubicBezTo>
                  <a:cubicBezTo>
                    <a:pt x="208040" y="116065"/>
                    <a:pt x="209214" y="116065"/>
                    <a:pt x="210389" y="116065"/>
                  </a:cubicBezTo>
                  <a:cubicBezTo>
                    <a:pt x="293762" y="141857"/>
                    <a:pt x="354824" y="199304"/>
                    <a:pt x="405318" y="268474"/>
                  </a:cubicBezTo>
                  <a:cubicBezTo>
                    <a:pt x="418235" y="286060"/>
                    <a:pt x="432326" y="311852"/>
                    <a:pt x="452288" y="323576"/>
                  </a:cubicBezTo>
                  <a:cubicBezTo>
                    <a:pt x="507479" y="355230"/>
                    <a:pt x="501608" y="286060"/>
                    <a:pt x="496911" y="260267"/>
                  </a:cubicBezTo>
                  <a:cubicBezTo>
                    <a:pt x="487517" y="206338"/>
                    <a:pt x="465205" y="153581"/>
                    <a:pt x="420583" y="119582"/>
                  </a:cubicBezTo>
                  <a:cubicBezTo>
                    <a:pt x="380071" y="89687"/>
                    <a:pt x="329284" y="71515"/>
                    <a:pt x="279524" y="71955"/>
                  </a:cubicBezTo>
                  <a:close/>
                  <a:moveTo>
                    <a:pt x="186903" y="41033"/>
                  </a:moveTo>
                  <a:cubicBezTo>
                    <a:pt x="186316" y="40154"/>
                    <a:pt x="183968" y="40447"/>
                    <a:pt x="179858" y="42206"/>
                  </a:cubicBezTo>
                  <a:cubicBezTo>
                    <a:pt x="127016" y="69170"/>
                    <a:pt x="82393" y="113720"/>
                    <a:pt x="56560" y="166477"/>
                  </a:cubicBezTo>
                  <a:cubicBezTo>
                    <a:pt x="53037" y="174684"/>
                    <a:pt x="55385" y="175856"/>
                    <a:pt x="61257" y="169994"/>
                  </a:cubicBezTo>
                  <a:cubicBezTo>
                    <a:pt x="102356" y="128961"/>
                    <a:pt x="142281" y="87928"/>
                    <a:pt x="183381" y="46895"/>
                  </a:cubicBezTo>
                  <a:cubicBezTo>
                    <a:pt x="186316" y="43964"/>
                    <a:pt x="187491" y="41912"/>
                    <a:pt x="186903" y="41033"/>
                  </a:cubicBezTo>
                  <a:close/>
                  <a:moveTo>
                    <a:pt x="266754" y="16413"/>
                  </a:moveTo>
                  <a:cubicBezTo>
                    <a:pt x="255011" y="17586"/>
                    <a:pt x="243269" y="19930"/>
                    <a:pt x="231526" y="23448"/>
                  </a:cubicBezTo>
                  <a:cubicBezTo>
                    <a:pt x="223306" y="25792"/>
                    <a:pt x="211563" y="32827"/>
                    <a:pt x="204517" y="38688"/>
                  </a:cubicBezTo>
                  <a:cubicBezTo>
                    <a:pt x="171638" y="72687"/>
                    <a:pt x="137584" y="105514"/>
                    <a:pt x="104705" y="139513"/>
                  </a:cubicBezTo>
                  <a:cubicBezTo>
                    <a:pt x="88265" y="155926"/>
                    <a:pt x="71825" y="171167"/>
                    <a:pt x="55385" y="187580"/>
                  </a:cubicBezTo>
                  <a:cubicBezTo>
                    <a:pt x="48340" y="193442"/>
                    <a:pt x="41294" y="205166"/>
                    <a:pt x="38945" y="213372"/>
                  </a:cubicBezTo>
                  <a:cubicBezTo>
                    <a:pt x="36597" y="222751"/>
                    <a:pt x="34248" y="233303"/>
                    <a:pt x="33074" y="243854"/>
                  </a:cubicBezTo>
                  <a:cubicBezTo>
                    <a:pt x="31900" y="252061"/>
                    <a:pt x="36597" y="254405"/>
                    <a:pt x="42468" y="248544"/>
                  </a:cubicBezTo>
                  <a:cubicBezTo>
                    <a:pt x="47165" y="242682"/>
                    <a:pt x="53037" y="237992"/>
                    <a:pt x="57734" y="233303"/>
                  </a:cubicBezTo>
                  <a:cubicBezTo>
                    <a:pt x="63605" y="227441"/>
                    <a:pt x="69476" y="220407"/>
                    <a:pt x="70651" y="218062"/>
                  </a:cubicBezTo>
                  <a:cubicBezTo>
                    <a:pt x="70651" y="216889"/>
                    <a:pt x="71825" y="215717"/>
                    <a:pt x="71825" y="214545"/>
                  </a:cubicBezTo>
                  <a:cubicBezTo>
                    <a:pt x="85916" y="178201"/>
                    <a:pt x="104705" y="150064"/>
                    <a:pt x="132887" y="121927"/>
                  </a:cubicBezTo>
                  <a:cubicBezTo>
                    <a:pt x="168115" y="85583"/>
                    <a:pt x="225655" y="60964"/>
                    <a:pt x="276148" y="57446"/>
                  </a:cubicBezTo>
                  <a:cubicBezTo>
                    <a:pt x="304331" y="56274"/>
                    <a:pt x="333687" y="58619"/>
                    <a:pt x="361870" y="65653"/>
                  </a:cubicBezTo>
                  <a:cubicBezTo>
                    <a:pt x="371264" y="67998"/>
                    <a:pt x="378310" y="69170"/>
                    <a:pt x="379484" y="69170"/>
                  </a:cubicBezTo>
                  <a:cubicBezTo>
                    <a:pt x="379484" y="69170"/>
                    <a:pt x="379484" y="69170"/>
                    <a:pt x="380658" y="69170"/>
                  </a:cubicBezTo>
                  <a:cubicBezTo>
                    <a:pt x="380658" y="69170"/>
                    <a:pt x="381832" y="69170"/>
                    <a:pt x="381832" y="69170"/>
                  </a:cubicBezTo>
                  <a:cubicBezTo>
                    <a:pt x="383007" y="69170"/>
                    <a:pt x="383007" y="70343"/>
                    <a:pt x="383007" y="70343"/>
                  </a:cubicBezTo>
                  <a:cubicBezTo>
                    <a:pt x="383007" y="71515"/>
                    <a:pt x="386529" y="72687"/>
                    <a:pt x="392401" y="75032"/>
                  </a:cubicBezTo>
                  <a:cubicBezTo>
                    <a:pt x="398272" y="77377"/>
                    <a:pt x="404143" y="77377"/>
                    <a:pt x="405318" y="75032"/>
                  </a:cubicBezTo>
                  <a:cubicBezTo>
                    <a:pt x="407666" y="72687"/>
                    <a:pt x="411189" y="71515"/>
                    <a:pt x="412363" y="72687"/>
                  </a:cubicBezTo>
                  <a:cubicBezTo>
                    <a:pt x="414712" y="72687"/>
                    <a:pt x="413538" y="75032"/>
                    <a:pt x="411189" y="77377"/>
                  </a:cubicBezTo>
                  <a:cubicBezTo>
                    <a:pt x="408841" y="79722"/>
                    <a:pt x="412363" y="83239"/>
                    <a:pt x="417060" y="86756"/>
                  </a:cubicBezTo>
                  <a:cubicBezTo>
                    <a:pt x="422932" y="89101"/>
                    <a:pt x="429977" y="89101"/>
                    <a:pt x="433500" y="85583"/>
                  </a:cubicBezTo>
                  <a:cubicBezTo>
                    <a:pt x="437023" y="80894"/>
                    <a:pt x="444069" y="79722"/>
                    <a:pt x="447591" y="80894"/>
                  </a:cubicBezTo>
                  <a:cubicBezTo>
                    <a:pt x="451114" y="82066"/>
                    <a:pt x="449940" y="85583"/>
                    <a:pt x="445243" y="90273"/>
                  </a:cubicBezTo>
                  <a:cubicBezTo>
                    <a:pt x="440546" y="94962"/>
                    <a:pt x="440546" y="100824"/>
                    <a:pt x="445243" y="104341"/>
                  </a:cubicBezTo>
                  <a:cubicBezTo>
                    <a:pt x="449940" y="107859"/>
                    <a:pt x="458160" y="106686"/>
                    <a:pt x="462857" y="101997"/>
                  </a:cubicBezTo>
                  <a:cubicBezTo>
                    <a:pt x="468728" y="97307"/>
                    <a:pt x="468728" y="87928"/>
                    <a:pt x="461683" y="82066"/>
                  </a:cubicBezTo>
                  <a:cubicBezTo>
                    <a:pt x="424106" y="49240"/>
                    <a:pt x="377135" y="26965"/>
                    <a:pt x="323119" y="17586"/>
                  </a:cubicBezTo>
                  <a:cubicBezTo>
                    <a:pt x="314899" y="16413"/>
                    <a:pt x="305505" y="17586"/>
                    <a:pt x="303156" y="21103"/>
                  </a:cubicBezTo>
                  <a:cubicBezTo>
                    <a:pt x="300808" y="23448"/>
                    <a:pt x="292588" y="26965"/>
                    <a:pt x="284368" y="30482"/>
                  </a:cubicBezTo>
                  <a:cubicBezTo>
                    <a:pt x="276148" y="32827"/>
                    <a:pt x="269102" y="36344"/>
                    <a:pt x="260883" y="39861"/>
                  </a:cubicBezTo>
                  <a:cubicBezTo>
                    <a:pt x="253837" y="43378"/>
                    <a:pt x="252663" y="42206"/>
                    <a:pt x="258534" y="36344"/>
                  </a:cubicBezTo>
                  <a:cubicBezTo>
                    <a:pt x="263231" y="32827"/>
                    <a:pt x="266754" y="29309"/>
                    <a:pt x="271451" y="25792"/>
                  </a:cubicBezTo>
                  <a:cubicBezTo>
                    <a:pt x="277322" y="19930"/>
                    <a:pt x="274974" y="15241"/>
                    <a:pt x="266754" y="16413"/>
                  </a:cubicBezTo>
                  <a:close/>
                  <a:moveTo>
                    <a:pt x="300808" y="0"/>
                  </a:moveTo>
                  <a:cubicBezTo>
                    <a:pt x="301982" y="0"/>
                    <a:pt x="301982" y="0"/>
                    <a:pt x="303156" y="0"/>
                  </a:cubicBezTo>
                  <a:cubicBezTo>
                    <a:pt x="304331" y="0"/>
                    <a:pt x="312550" y="0"/>
                    <a:pt x="320770" y="1172"/>
                  </a:cubicBezTo>
                  <a:cubicBezTo>
                    <a:pt x="479297" y="16413"/>
                    <a:pt x="616686" y="157098"/>
                    <a:pt x="583807" y="324748"/>
                  </a:cubicBezTo>
                  <a:cubicBezTo>
                    <a:pt x="556798" y="464261"/>
                    <a:pt x="431152" y="574464"/>
                    <a:pt x="284368" y="568602"/>
                  </a:cubicBezTo>
                  <a:cubicBezTo>
                    <a:pt x="119970" y="561568"/>
                    <a:pt x="-29162" y="417366"/>
                    <a:pt x="4892" y="243854"/>
                  </a:cubicBezTo>
                  <a:cubicBezTo>
                    <a:pt x="33074" y="97307"/>
                    <a:pt x="154024" y="5862"/>
                    <a:pt x="300808" y="0"/>
                  </a:cubicBezTo>
                  <a:close/>
                </a:path>
              </a:pathLst>
            </a:custGeom>
            <a:solidFill>
              <a:schemeClr val="accent1"/>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dirty="0"/>
            </a:p>
          </p:txBody>
        </p:sp>
        <p:sp>
          <p:nvSpPr>
            <p:cNvPr id="76" name="íṡ1ïdê">
              <a:extLst>
                <a:ext uri="{FF2B5EF4-FFF2-40B4-BE49-F238E27FC236}">
                  <a16:creationId xmlns:a16="http://schemas.microsoft.com/office/drawing/2014/main" id="{0CD67C01-C78C-41C3-978B-5797E7BA1011}"/>
                </a:ext>
              </a:extLst>
            </p:cNvPr>
            <p:cNvSpPr txBox="1"/>
            <p:nvPr/>
          </p:nvSpPr>
          <p:spPr bwMode="auto">
            <a:xfrm>
              <a:off x="1094758" y="4289768"/>
              <a:ext cx="2213143" cy="400118"/>
            </a:xfrm>
            <a:prstGeom prst="rect">
              <a:avLst/>
            </a:prstGeom>
            <a:noFill/>
            <a:ln w="9525">
              <a:noFill/>
              <a:miter lim="800000"/>
              <a:headEnd/>
              <a:tailEnd/>
            </a:ln>
          </p:spPr>
          <p:txBody>
            <a:bodyPr wrap="none" lIns="90000" tIns="46800" rIns="90000" bIns="46800" anchor="ctr" anchorCtr="1">
              <a:normAutofit/>
              <a:scene3d>
                <a:camera prst="orthographicFront"/>
                <a:lightRig rig="threePt" dir="t"/>
              </a:scene3d>
              <a:sp3d>
                <a:bevelT w="0" h="0"/>
              </a:sp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a:r>
                <a:rPr lang="en-US" altLang="zh-CN" b="1" dirty="0"/>
                <a:t>01</a:t>
              </a:r>
              <a:endParaRPr lang="zh-CN" altLang="en-US" b="1" dirty="0"/>
            </a:p>
          </p:txBody>
        </p:sp>
        <p:sp>
          <p:nvSpPr>
            <p:cNvPr id="77" name="işļîḍè">
              <a:extLst>
                <a:ext uri="{FF2B5EF4-FFF2-40B4-BE49-F238E27FC236}">
                  <a16:creationId xmlns:a16="http://schemas.microsoft.com/office/drawing/2014/main" id="{976BBD18-5859-410F-B416-F995A428BB8E}"/>
                </a:ext>
              </a:extLst>
            </p:cNvPr>
            <p:cNvSpPr txBox="1"/>
            <p:nvPr/>
          </p:nvSpPr>
          <p:spPr bwMode="auto">
            <a:xfrm>
              <a:off x="1094758" y="5128192"/>
              <a:ext cx="2213143" cy="574230"/>
            </a:xfrm>
            <a:prstGeom prst="rect">
              <a:avLst/>
            </a:prstGeom>
            <a:noFill/>
            <a:ln w="9525">
              <a:noFill/>
              <a:miter lim="800000"/>
              <a:headEnd/>
              <a:tailEnd/>
            </a:ln>
          </p:spPr>
          <p:txBody>
            <a:bodyPr wrap="square" lIns="90000" tIns="46800" rIns="90000" bIns="46800" anchor="ctr" anchorCtr="1">
              <a:normAutofit/>
              <a:scene3d>
                <a:camera prst="orthographicFront"/>
                <a:lightRig rig="threePt" dir="t"/>
              </a:scene3d>
              <a:sp3d>
                <a:bevelT w="0" h="0"/>
              </a:sp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altLang="zh-CN" sz="800" dirty="0"/>
                <a:t>A design pattern recovery method that deals with variant retrieval of design patterns</a:t>
              </a:r>
            </a:p>
          </p:txBody>
        </p:sp>
        <p:sp>
          <p:nvSpPr>
            <p:cNvPr id="19" name="işļîḍè">
              <a:extLst>
                <a:ext uri="{FF2B5EF4-FFF2-40B4-BE49-F238E27FC236}">
                  <a16:creationId xmlns:a16="http://schemas.microsoft.com/office/drawing/2014/main" id="{43B20ADF-B8DE-4290-A84F-999191E6ACA8}"/>
                </a:ext>
              </a:extLst>
            </p:cNvPr>
            <p:cNvSpPr txBox="1"/>
            <p:nvPr/>
          </p:nvSpPr>
          <p:spPr bwMode="auto">
            <a:xfrm>
              <a:off x="1094758" y="4654070"/>
              <a:ext cx="2213143" cy="574230"/>
            </a:xfrm>
            <a:prstGeom prst="rect">
              <a:avLst/>
            </a:prstGeom>
            <a:noFill/>
            <a:ln w="9525">
              <a:noFill/>
              <a:miter lim="800000"/>
              <a:headEnd/>
              <a:tailEnd/>
            </a:ln>
          </p:spPr>
          <p:txBody>
            <a:bodyPr wrap="square" lIns="90000" tIns="46800" rIns="90000" bIns="46800" anchor="ctr" anchorCtr="1">
              <a:normAutofit/>
              <a:scene3d>
                <a:camera prst="orthographicFront"/>
                <a:lightRig rig="threePt" dir="t"/>
              </a:scene3d>
              <a:sp3d>
                <a:bevelT w="0" h="0"/>
              </a:sp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200" dirty="0"/>
                <a:t>处理设计模式变体检索的设计模式恢复方法</a:t>
              </a:r>
              <a:endParaRPr lang="en-US" altLang="zh-CN" sz="1200" dirty="0"/>
            </a:p>
          </p:txBody>
        </p:sp>
      </p:grpSp>
      <p:grpSp>
        <p:nvGrpSpPr>
          <p:cNvPr id="3" name="组合 2">
            <a:extLst>
              <a:ext uri="{FF2B5EF4-FFF2-40B4-BE49-F238E27FC236}">
                <a16:creationId xmlns:a16="http://schemas.microsoft.com/office/drawing/2014/main" id="{9BD672CE-EF5D-4A76-B72D-EDA8A3587F1B}"/>
              </a:ext>
            </a:extLst>
          </p:cNvPr>
          <p:cNvGrpSpPr/>
          <p:nvPr/>
        </p:nvGrpSpPr>
        <p:grpSpPr>
          <a:xfrm>
            <a:off x="3702781" y="3024713"/>
            <a:ext cx="2213143" cy="2677709"/>
            <a:chOff x="3702781" y="3024713"/>
            <a:chExt cx="2213143" cy="2677709"/>
          </a:xfrm>
        </p:grpSpPr>
        <p:sp>
          <p:nvSpPr>
            <p:cNvPr id="78" name="ïṥ1iḓe">
              <a:extLst>
                <a:ext uri="{FF2B5EF4-FFF2-40B4-BE49-F238E27FC236}">
                  <a16:creationId xmlns:a16="http://schemas.microsoft.com/office/drawing/2014/main" id="{CF7963BF-357F-4ADE-A9B3-49696235208C}"/>
                </a:ext>
              </a:extLst>
            </p:cNvPr>
            <p:cNvSpPr/>
            <p:nvPr/>
          </p:nvSpPr>
          <p:spPr bwMode="auto">
            <a:xfrm>
              <a:off x="4337310" y="3024713"/>
              <a:ext cx="944084" cy="942658"/>
            </a:xfrm>
            <a:custGeom>
              <a:avLst/>
              <a:gdLst>
                <a:gd name="T0" fmla="*/ 5980 w 6635"/>
                <a:gd name="T1" fmla="*/ 2663 h 6635"/>
                <a:gd name="T2" fmla="*/ 5420 w 6635"/>
                <a:gd name="T3" fmla="*/ 2986 h 6635"/>
                <a:gd name="T4" fmla="*/ 4403 w 6635"/>
                <a:gd name="T5" fmla="*/ 2986 h 6635"/>
                <a:gd name="T6" fmla="*/ 4229 w 6635"/>
                <a:gd name="T7" fmla="*/ 2640 h 6635"/>
                <a:gd name="T8" fmla="*/ 5219 w 6635"/>
                <a:gd name="T9" fmla="*/ 1650 h 6635"/>
                <a:gd name="T10" fmla="*/ 5663 w 6635"/>
                <a:gd name="T11" fmla="*/ 1558 h 6635"/>
                <a:gd name="T12" fmla="*/ 5663 w 6635"/>
                <a:gd name="T13" fmla="*/ 972 h 6635"/>
                <a:gd name="T14" fmla="*/ 5077 w 6635"/>
                <a:gd name="T15" fmla="*/ 972 h 6635"/>
                <a:gd name="T16" fmla="*/ 4984 w 6635"/>
                <a:gd name="T17" fmla="*/ 1416 h 6635"/>
                <a:gd name="T18" fmla="*/ 3995 w 6635"/>
                <a:gd name="T19" fmla="*/ 2405 h 6635"/>
                <a:gd name="T20" fmla="*/ 3649 w 6635"/>
                <a:gd name="T21" fmla="*/ 2232 h 6635"/>
                <a:gd name="T22" fmla="*/ 3649 w 6635"/>
                <a:gd name="T23" fmla="*/ 1215 h 6635"/>
                <a:gd name="T24" fmla="*/ 3972 w 6635"/>
                <a:gd name="T25" fmla="*/ 654 h 6635"/>
                <a:gd name="T26" fmla="*/ 3317 w 6635"/>
                <a:gd name="T27" fmla="*/ 0 h 6635"/>
                <a:gd name="T28" fmla="*/ 2663 w 6635"/>
                <a:gd name="T29" fmla="*/ 654 h 6635"/>
                <a:gd name="T30" fmla="*/ 2986 w 6635"/>
                <a:gd name="T31" fmla="*/ 1215 h 6635"/>
                <a:gd name="T32" fmla="*/ 2986 w 6635"/>
                <a:gd name="T33" fmla="*/ 2232 h 6635"/>
                <a:gd name="T34" fmla="*/ 2640 w 6635"/>
                <a:gd name="T35" fmla="*/ 2405 h 6635"/>
                <a:gd name="T36" fmla="*/ 1650 w 6635"/>
                <a:gd name="T37" fmla="*/ 1416 h 6635"/>
                <a:gd name="T38" fmla="*/ 1558 w 6635"/>
                <a:gd name="T39" fmla="*/ 972 h 6635"/>
                <a:gd name="T40" fmla="*/ 972 w 6635"/>
                <a:gd name="T41" fmla="*/ 972 h 6635"/>
                <a:gd name="T42" fmla="*/ 972 w 6635"/>
                <a:gd name="T43" fmla="*/ 1558 h 6635"/>
                <a:gd name="T44" fmla="*/ 1416 w 6635"/>
                <a:gd name="T45" fmla="*/ 1651 h 6635"/>
                <a:gd name="T46" fmla="*/ 2405 w 6635"/>
                <a:gd name="T47" fmla="*/ 2640 h 6635"/>
                <a:gd name="T48" fmla="*/ 2232 w 6635"/>
                <a:gd name="T49" fmla="*/ 2986 h 6635"/>
                <a:gd name="T50" fmla="*/ 1215 w 6635"/>
                <a:gd name="T51" fmla="*/ 2986 h 6635"/>
                <a:gd name="T52" fmla="*/ 654 w 6635"/>
                <a:gd name="T53" fmla="*/ 2663 h 6635"/>
                <a:gd name="T54" fmla="*/ 0 w 6635"/>
                <a:gd name="T55" fmla="*/ 3317 h 6635"/>
                <a:gd name="T56" fmla="*/ 654 w 6635"/>
                <a:gd name="T57" fmla="*/ 3972 h 6635"/>
                <a:gd name="T58" fmla="*/ 1215 w 6635"/>
                <a:gd name="T59" fmla="*/ 3649 h 6635"/>
                <a:gd name="T60" fmla="*/ 2232 w 6635"/>
                <a:gd name="T61" fmla="*/ 3649 h 6635"/>
                <a:gd name="T62" fmla="*/ 2405 w 6635"/>
                <a:gd name="T63" fmla="*/ 3995 h 6635"/>
                <a:gd name="T64" fmla="*/ 1416 w 6635"/>
                <a:gd name="T65" fmla="*/ 4984 h 6635"/>
                <a:gd name="T66" fmla="*/ 972 w 6635"/>
                <a:gd name="T67" fmla="*/ 5077 h 6635"/>
                <a:gd name="T68" fmla="*/ 972 w 6635"/>
                <a:gd name="T69" fmla="*/ 5663 h 6635"/>
                <a:gd name="T70" fmla="*/ 1558 w 6635"/>
                <a:gd name="T71" fmla="*/ 5663 h 6635"/>
                <a:gd name="T72" fmla="*/ 1651 w 6635"/>
                <a:gd name="T73" fmla="*/ 5219 h 6635"/>
                <a:gd name="T74" fmla="*/ 2640 w 6635"/>
                <a:gd name="T75" fmla="*/ 4230 h 6635"/>
                <a:gd name="T76" fmla="*/ 2986 w 6635"/>
                <a:gd name="T77" fmla="*/ 4403 h 6635"/>
                <a:gd name="T78" fmla="*/ 2986 w 6635"/>
                <a:gd name="T79" fmla="*/ 5419 h 6635"/>
                <a:gd name="T80" fmla="*/ 2663 w 6635"/>
                <a:gd name="T81" fmla="*/ 5980 h 6635"/>
                <a:gd name="T82" fmla="*/ 3317 w 6635"/>
                <a:gd name="T83" fmla="*/ 6635 h 6635"/>
                <a:gd name="T84" fmla="*/ 3972 w 6635"/>
                <a:gd name="T85" fmla="*/ 5980 h 6635"/>
                <a:gd name="T86" fmla="*/ 3649 w 6635"/>
                <a:gd name="T87" fmla="*/ 5420 h 6635"/>
                <a:gd name="T88" fmla="*/ 3649 w 6635"/>
                <a:gd name="T89" fmla="*/ 4403 h 6635"/>
                <a:gd name="T90" fmla="*/ 3995 w 6635"/>
                <a:gd name="T91" fmla="*/ 4229 h 6635"/>
                <a:gd name="T92" fmla="*/ 4984 w 6635"/>
                <a:gd name="T93" fmla="*/ 5219 h 6635"/>
                <a:gd name="T94" fmla="*/ 5077 w 6635"/>
                <a:gd name="T95" fmla="*/ 5663 h 6635"/>
                <a:gd name="T96" fmla="*/ 5663 w 6635"/>
                <a:gd name="T97" fmla="*/ 5663 h 6635"/>
                <a:gd name="T98" fmla="*/ 5663 w 6635"/>
                <a:gd name="T99" fmla="*/ 5077 h 6635"/>
                <a:gd name="T100" fmla="*/ 5219 w 6635"/>
                <a:gd name="T101" fmla="*/ 4984 h 6635"/>
                <a:gd name="T102" fmla="*/ 4229 w 6635"/>
                <a:gd name="T103" fmla="*/ 3995 h 6635"/>
                <a:gd name="T104" fmla="*/ 4403 w 6635"/>
                <a:gd name="T105" fmla="*/ 3649 h 6635"/>
                <a:gd name="T106" fmla="*/ 5420 w 6635"/>
                <a:gd name="T107" fmla="*/ 3649 h 6635"/>
                <a:gd name="T108" fmla="*/ 5981 w 6635"/>
                <a:gd name="T109" fmla="*/ 3972 h 6635"/>
                <a:gd name="T110" fmla="*/ 6635 w 6635"/>
                <a:gd name="T111" fmla="*/ 3317 h 6635"/>
                <a:gd name="T112" fmla="*/ 5980 w 6635"/>
                <a:gd name="T113" fmla="*/ 2663 h 6635"/>
                <a:gd name="T114" fmla="*/ 3317 w 6635"/>
                <a:gd name="T115" fmla="*/ 4016 h 6635"/>
                <a:gd name="T116" fmla="*/ 2619 w 6635"/>
                <a:gd name="T117" fmla="*/ 3317 h 6635"/>
                <a:gd name="T118" fmla="*/ 3317 w 6635"/>
                <a:gd name="T119" fmla="*/ 2619 h 6635"/>
                <a:gd name="T120" fmla="*/ 4015 w 6635"/>
                <a:gd name="T121" fmla="*/ 3317 h 6635"/>
                <a:gd name="T122" fmla="*/ 3317 w 6635"/>
                <a:gd name="T123" fmla="*/ 4016 h 6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35" h="6635">
                  <a:moveTo>
                    <a:pt x="5980" y="2663"/>
                  </a:moveTo>
                  <a:cubicBezTo>
                    <a:pt x="5741" y="2663"/>
                    <a:pt x="5533" y="2793"/>
                    <a:pt x="5420" y="2986"/>
                  </a:cubicBezTo>
                  <a:lnTo>
                    <a:pt x="4403" y="2986"/>
                  </a:lnTo>
                  <a:cubicBezTo>
                    <a:pt x="4364" y="2860"/>
                    <a:pt x="4306" y="2743"/>
                    <a:pt x="4229" y="2640"/>
                  </a:cubicBezTo>
                  <a:lnTo>
                    <a:pt x="5219" y="1650"/>
                  </a:lnTo>
                  <a:cubicBezTo>
                    <a:pt x="5368" y="1709"/>
                    <a:pt x="5543" y="1678"/>
                    <a:pt x="5663" y="1558"/>
                  </a:cubicBezTo>
                  <a:cubicBezTo>
                    <a:pt x="5825" y="1396"/>
                    <a:pt x="5825" y="1134"/>
                    <a:pt x="5663" y="972"/>
                  </a:cubicBezTo>
                  <a:cubicBezTo>
                    <a:pt x="5501" y="810"/>
                    <a:pt x="5239" y="810"/>
                    <a:pt x="5077" y="972"/>
                  </a:cubicBezTo>
                  <a:cubicBezTo>
                    <a:pt x="4957" y="1092"/>
                    <a:pt x="4926" y="1267"/>
                    <a:pt x="4984" y="1416"/>
                  </a:cubicBezTo>
                  <a:lnTo>
                    <a:pt x="3995" y="2405"/>
                  </a:lnTo>
                  <a:cubicBezTo>
                    <a:pt x="3892" y="2328"/>
                    <a:pt x="3775" y="2271"/>
                    <a:pt x="3649" y="2232"/>
                  </a:cubicBezTo>
                  <a:lnTo>
                    <a:pt x="3649" y="1215"/>
                  </a:lnTo>
                  <a:cubicBezTo>
                    <a:pt x="3841" y="1101"/>
                    <a:pt x="3972" y="894"/>
                    <a:pt x="3972" y="654"/>
                  </a:cubicBezTo>
                  <a:cubicBezTo>
                    <a:pt x="3972" y="293"/>
                    <a:pt x="3679" y="0"/>
                    <a:pt x="3317" y="0"/>
                  </a:cubicBezTo>
                  <a:cubicBezTo>
                    <a:pt x="2956" y="0"/>
                    <a:pt x="2663" y="293"/>
                    <a:pt x="2663" y="654"/>
                  </a:cubicBezTo>
                  <a:cubicBezTo>
                    <a:pt x="2663" y="894"/>
                    <a:pt x="2793" y="1101"/>
                    <a:pt x="2986" y="1215"/>
                  </a:cubicBezTo>
                  <a:lnTo>
                    <a:pt x="2986" y="2232"/>
                  </a:lnTo>
                  <a:cubicBezTo>
                    <a:pt x="2860" y="2271"/>
                    <a:pt x="2743" y="2328"/>
                    <a:pt x="2640" y="2405"/>
                  </a:cubicBezTo>
                  <a:lnTo>
                    <a:pt x="1650" y="1416"/>
                  </a:lnTo>
                  <a:cubicBezTo>
                    <a:pt x="1709" y="1267"/>
                    <a:pt x="1678" y="1092"/>
                    <a:pt x="1558" y="972"/>
                  </a:cubicBezTo>
                  <a:cubicBezTo>
                    <a:pt x="1396" y="810"/>
                    <a:pt x="1133" y="810"/>
                    <a:pt x="972" y="972"/>
                  </a:cubicBezTo>
                  <a:cubicBezTo>
                    <a:pt x="810" y="1134"/>
                    <a:pt x="810" y="1396"/>
                    <a:pt x="972" y="1558"/>
                  </a:cubicBezTo>
                  <a:cubicBezTo>
                    <a:pt x="1092" y="1678"/>
                    <a:pt x="1267" y="1709"/>
                    <a:pt x="1416" y="1651"/>
                  </a:cubicBezTo>
                  <a:lnTo>
                    <a:pt x="2405" y="2640"/>
                  </a:lnTo>
                  <a:cubicBezTo>
                    <a:pt x="2328" y="2743"/>
                    <a:pt x="2271" y="2860"/>
                    <a:pt x="2232" y="2986"/>
                  </a:cubicBezTo>
                  <a:lnTo>
                    <a:pt x="1215" y="2986"/>
                  </a:lnTo>
                  <a:cubicBezTo>
                    <a:pt x="1101" y="2793"/>
                    <a:pt x="894" y="2663"/>
                    <a:pt x="654" y="2663"/>
                  </a:cubicBezTo>
                  <a:cubicBezTo>
                    <a:pt x="293" y="2663"/>
                    <a:pt x="0" y="2956"/>
                    <a:pt x="0" y="3317"/>
                  </a:cubicBezTo>
                  <a:cubicBezTo>
                    <a:pt x="0" y="3679"/>
                    <a:pt x="293" y="3972"/>
                    <a:pt x="654" y="3972"/>
                  </a:cubicBezTo>
                  <a:cubicBezTo>
                    <a:pt x="894" y="3972"/>
                    <a:pt x="1101" y="3842"/>
                    <a:pt x="1215" y="3649"/>
                  </a:cubicBezTo>
                  <a:lnTo>
                    <a:pt x="2232" y="3649"/>
                  </a:lnTo>
                  <a:cubicBezTo>
                    <a:pt x="2271" y="3775"/>
                    <a:pt x="2328" y="3892"/>
                    <a:pt x="2405" y="3995"/>
                  </a:cubicBezTo>
                  <a:lnTo>
                    <a:pt x="1416" y="4984"/>
                  </a:lnTo>
                  <a:cubicBezTo>
                    <a:pt x="1267" y="4926"/>
                    <a:pt x="1092" y="4956"/>
                    <a:pt x="972" y="5077"/>
                  </a:cubicBezTo>
                  <a:cubicBezTo>
                    <a:pt x="810" y="5238"/>
                    <a:pt x="810" y="5501"/>
                    <a:pt x="972" y="5663"/>
                  </a:cubicBezTo>
                  <a:cubicBezTo>
                    <a:pt x="1134" y="5825"/>
                    <a:pt x="1396" y="5825"/>
                    <a:pt x="1558" y="5663"/>
                  </a:cubicBezTo>
                  <a:cubicBezTo>
                    <a:pt x="1678" y="5543"/>
                    <a:pt x="1709" y="5367"/>
                    <a:pt x="1651" y="5219"/>
                  </a:cubicBezTo>
                  <a:lnTo>
                    <a:pt x="2640" y="4230"/>
                  </a:lnTo>
                  <a:cubicBezTo>
                    <a:pt x="2743" y="4307"/>
                    <a:pt x="2860" y="4364"/>
                    <a:pt x="2986" y="4403"/>
                  </a:cubicBezTo>
                  <a:lnTo>
                    <a:pt x="2986" y="5419"/>
                  </a:lnTo>
                  <a:cubicBezTo>
                    <a:pt x="2793" y="5533"/>
                    <a:pt x="2663" y="5741"/>
                    <a:pt x="2663" y="5980"/>
                  </a:cubicBezTo>
                  <a:cubicBezTo>
                    <a:pt x="2663" y="6342"/>
                    <a:pt x="2956" y="6635"/>
                    <a:pt x="3317" y="6635"/>
                  </a:cubicBezTo>
                  <a:cubicBezTo>
                    <a:pt x="3679" y="6635"/>
                    <a:pt x="3972" y="6342"/>
                    <a:pt x="3972" y="5980"/>
                  </a:cubicBezTo>
                  <a:cubicBezTo>
                    <a:pt x="3972" y="5741"/>
                    <a:pt x="3841" y="5533"/>
                    <a:pt x="3649" y="5420"/>
                  </a:cubicBezTo>
                  <a:lnTo>
                    <a:pt x="3649" y="4403"/>
                  </a:lnTo>
                  <a:cubicBezTo>
                    <a:pt x="3775" y="4364"/>
                    <a:pt x="3892" y="4307"/>
                    <a:pt x="3995" y="4229"/>
                  </a:cubicBezTo>
                  <a:lnTo>
                    <a:pt x="4984" y="5219"/>
                  </a:lnTo>
                  <a:cubicBezTo>
                    <a:pt x="4926" y="5367"/>
                    <a:pt x="4957" y="5543"/>
                    <a:pt x="5077" y="5663"/>
                  </a:cubicBezTo>
                  <a:cubicBezTo>
                    <a:pt x="5239" y="5825"/>
                    <a:pt x="5501" y="5825"/>
                    <a:pt x="5663" y="5663"/>
                  </a:cubicBezTo>
                  <a:cubicBezTo>
                    <a:pt x="5825" y="5501"/>
                    <a:pt x="5825" y="5238"/>
                    <a:pt x="5663" y="5077"/>
                  </a:cubicBezTo>
                  <a:cubicBezTo>
                    <a:pt x="5543" y="4956"/>
                    <a:pt x="5367" y="4926"/>
                    <a:pt x="5219" y="4984"/>
                  </a:cubicBezTo>
                  <a:lnTo>
                    <a:pt x="4229" y="3995"/>
                  </a:lnTo>
                  <a:cubicBezTo>
                    <a:pt x="4307" y="3892"/>
                    <a:pt x="4364" y="3775"/>
                    <a:pt x="4403" y="3649"/>
                  </a:cubicBezTo>
                  <a:lnTo>
                    <a:pt x="5420" y="3649"/>
                  </a:lnTo>
                  <a:cubicBezTo>
                    <a:pt x="5534" y="3842"/>
                    <a:pt x="5741" y="3972"/>
                    <a:pt x="5981" y="3972"/>
                  </a:cubicBezTo>
                  <a:cubicBezTo>
                    <a:pt x="6342" y="3972"/>
                    <a:pt x="6635" y="3679"/>
                    <a:pt x="6635" y="3317"/>
                  </a:cubicBezTo>
                  <a:cubicBezTo>
                    <a:pt x="6635" y="2956"/>
                    <a:pt x="6342" y="2663"/>
                    <a:pt x="5980" y="2663"/>
                  </a:cubicBezTo>
                  <a:close/>
                  <a:moveTo>
                    <a:pt x="3317" y="4016"/>
                  </a:moveTo>
                  <a:cubicBezTo>
                    <a:pt x="2932" y="4016"/>
                    <a:pt x="2619" y="3702"/>
                    <a:pt x="2619" y="3317"/>
                  </a:cubicBezTo>
                  <a:cubicBezTo>
                    <a:pt x="2619" y="2932"/>
                    <a:pt x="2932" y="2619"/>
                    <a:pt x="3317" y="2619"/>
                  </a:cubicBezTo>
                  <a:cubicBezTo>
                    <a:pt x="3702" y="2619"/>
                    <a:pt x="4015" y="2932"/>
                    <a:pt x="4015" y="3317"/>
                  </a:cubicBezTo>
                  <a:cubicBezTo>
                    <a:pt x="4015" y="3702"/>
                    <a:pt x="3702" y="4016"/>
                    <a:pt x="3317" y="4016"/>
                  </a:cubicBezTo>
                  <a:close/>
                </a:path>
              </a:pathLst>
            </a:custGeom>
            <a:solidFill>
              <a:schemeClr val="accent5">
                <a:lumMod val="60000"/>
                <a:lumOff val="40000"/>
              </a:schemeClr>
            </a:solidFill>
            <a:ln>
              <a:noFill/>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dirty="0"/>
            </a:p>
          </p:txBody>
        </p:sp>
        <p:sp>
          <p:nvSpPr>
            <p:cNvPr id="79" name="ïSļïdê">
              <a:extLst>
                <a:ext uri="{FF2B5EF4-FFF2-40B4-BE49-F238E27FC236}">
                  <a16:creationId xmlns:a16="http://schemas.microsoft.com/office/drawing/2014/main" id="{E9A426F9-4E8F-4743-BF96-A6F7E94C9B7F}"/>
                </a:ext>
              </a:extLst>
            </p:cNvPr>
            <p:cNvSpPr txBox="1"/>
            <p:nvPr/>
          </p:nvSpPr>
          <p:spPr bwMode="auto">
            <a:xfrm>
              <a:off x="3702781" y="4289768"/>
              <a:ext cx="2213143" cy="400118"/>
            </a:xfrm>
            <a:prstGeom prst="rect">
              <a:avLst/>
            </a:prstGeom>
            <a:noFill/>
            <a:ln w="9525">
              <a:noFill/>
              <a:miter lim="800000"/>
              <a:headEnd/>
              <a:tailEnd/>
            </a:ln>
          </p:spPr>
          <p:txBody>
            <a:bodyPr wrap="none" lIns="90000" tIns="46800" rIns="90000" bIns="46800" anchor="ctr" anchorCtr="1">
              <a:normAutofit/>
              <a:scene3d>
                <a:camera prst="orthographicFront"/>
                <a:lightRig rig="threePt" dir="t"/>
              </a:scene3d>
              <a:sp3d>
                <a:bevelT w="0" h="0"/>
              </a:sp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a:r>
                <a:rPr lang="en-US" altLang="zh-CN" b="1" dirty="0"/>
                <a:t>02</a:t>
              </a:r>
              <a:endParaRPr lang="zh-CN" altLang="en-US" b="1" dirty="0"/>
            </a:p>
          </p:txBody>
        </p:sp>
        <p:sp>
          <p:nvSpPr>
            <p:cNvPr id="80" name="îṥ1ídè">
              <a:extLst>
                <a:ext uri="{FF2B5EF4-FFF2-40B4-BE49-F238E27FC236}">
                  <a16:creationId xmlns:a16="http://schemas.microsoft.com/office/drawing/2014/main" id="{C726D0AF-ABCC-48C6-9F94-25DCD250F21C}"/>
                </a:ext>
              </a:extLst>
            </p:cNvPr>
            <p:cNvSpPr txBox="1"/>
            <p:nvPr/>
          </p:nvSpPr>
          <p:spPr bwMode="auto">
            <a:xfrm>
              <a:off x="3702781" y="5128192"/>
              <a:ext cx="2213143" cy="574230"/>
            </a:xfrm>
            <a:prstGeom prst="rect">
              <a:avLst/>
            </a:prstGeom>
            <a:noFill/>
            <a:ln w="9525">
              <a:noFill/>
              <a:miter lim="800000"/>
              <a:headEnd/>
              <a:tailEnd/>
            </a:ln>
          </p:spPr>
          <p:txBody>
            <a:bodyPr wrap="square" lIns="90000" tIns="46800" rIns="90000" bIns="46800" anchor="ctr" anchorCtr="1">
              <a:normAutofit/>
              <a:scene3d>
                <a:camera prst="orthographicFront"/>
                <a:lightRig rig="threePt" dir="t"/>
              </a:scene3d>
              <a:sp3d>
                <a:bevelT w="0" h="0"/>
              </a:sp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altLang="zh-CN" sz="800" dirty="0"/>
                <a:t>Specification For Implementation Variants Of The Adapter And Observer</a:t>
              </a:r>
            </a:p>
          </p:txBody>
        </p:sp>
        <p:sp>
          <p:nvSpPr>
            <p:cNvPr id="20" name="îṥ1ídè">
              <a:extLst>
                <a:ext uri="{FF2B5EF4-FFF2-40B4-BE49-F238E27FC236}">
                  <a16:creationId xmlns:a16="http://schemas.microsoft.com/office/drawing/2014/main" id="{2BD83FE2-5932-48DC-B389-50E460EC8B80}"/>
                </a:ext>
              </a:extLst>
            </p:cNvPr>
            <p:cNvSpPr txBox="1"/>
            <p:nvPr/>
          </p:nvSpPr>
          <p:spPr bwMode="auto">
            <a:xfrm>
              <a:off x="3702781" y="4654070"/>
              <a:ext cx="2213143" cy="574230"/>
            </a:xfrm>
            <a:prstGeom prst="rect">
              <a:avLst/>
            </a:prstGeom>
            <a:noFill/>
            <a:ln w="9525">
              <a:noFill/>
              <a:miter lim="800000"/>
              <a:headEnd/>
              <a:tailEnd/>
            </a:ln>
          </p:spPr>
          <p:txBody>
            <a:bodyPr wrap="square" lIns="90000" tIns="46800" rIns="90000" bIns="46800" anchor="ctr" anchorCtr="1">
              <a:normAutofit/>
              <a:scene3d>
                <a:camera prst="orthographicFront"/>
                <a:lightRig rig="threePt" dir="t"/>
              </a:scene3d>
              <a:sp3d>
                <a:bevelT w="0" h="0"/>
              </a:sp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200" dirty="0"/>
                <a:t>适配器和观察者设计模式的实现变体的规范 </a:t>
              </a:r>
            </a:p>
          </p:txBody>
        </p:sp>
      </p:grpSp>
      <p:grpSp>
        <p:nvGrpSpPr>
          <p:cNvPr id="4" name="组合 3">
            <a:extLst>
              <a:ext uri="{FF2B5EF4-FFF2-40B4-BE49-F238E27FC236}">
                <a16:creationId xmlns:a16="http://schemas.microsoft.com/office/drawing/2014/main" id="{32F8705C-E5E3-40AE-9081-4F6B743F4ECB}"/>
              </a:ext>
            </a:extLst>
          </p:cNvPr>
          <p:cNvGrpSpPr/>
          <p:nvPr/>
        </p:nvGrpSpPr>
        <p:grpSpPr>
          <a:xfrm>
            <a:off x="6310804" y="3002878"/>
            <a:ext cx="2213143" cy="2691546"/>
            <a:chOff x="6310804" y="3002878"/>
            <a:chExt cx="2213143" cy="2691546"/>
          </a:xfrm>
        </p:grpSpPr>
        <p:sp>
          <p:nvSpPr>
            <p:cNvPr id="81" name="ïṧ1ïḓè">
              <a:extLst>
                <a:ext uri="{FF2B5EF4-FFF2-40B4-BE49-F238E27FC236}">
                  <a16:creationId xmlns:a16="http://schemas.microsoft.com/office/drawing/2014/main" id="{FE82B421-D4AB-4107-AAB4-694791B1F59F}"/>
                </a:ext>
              </a:extLst>
            </p:cNvPr>
            <p:cNvSpPr/>
            <p:nvPr/>
          </p:nvSpPr>
          <p:spPr bwMode="auto">
            <a:xfrm>
              <a:off x="6923485" y="3002878"/>
              <a:ext cx="987780" cy="986328"/>
            </a:xfrm>
            <a:custGeom>
              <a:avLst/>
              <a:gdLst>
                <a:gd name="T0" fmla="*/ 5325 w 5608"/>
                <a:gd name="T1" fmla="*/ 2335 h 5608"/>
                <a:gd name="T2" fmla="*/ 4864 w 5608"/>
                <a:gd name="T3" fmla="*/ 1873 h 5608"/>
                <a:gd name="T4" fmla="*/ 5001 w 5608"/>
                <a:gd name="T5" fmla="*/ 1736 h 5608"/>
                <a:gd name="T6" fmla="*/ 5001 w 5608"/>
                <a:gd name="T7" fmla="*/ 710 h 5608"/>
                <a:gd name="T8" fmla="*/ 4899 w 5608"/>
                <a:gd name="T9" fmla="*/ 607 h 5608"/>
                <a:gd name="T10" fmla="*/ 3873 w 5608"/>
                <a:gd name="T11" fmla="*/ 607 h 5608"/>
                <a:gd name="T12" fmla="*/ 3735 w 5608"/>
                <a:gd name="T13" fmla="*/ 745 h 5608"/>
                <a:gd name="T14" fmla="*/ 3274 w 5608"/>
                <a:gd name="T15" fmla="*/ 283 h 5608"/>
                <a:gd name="T16" fmla="*/ 2248 w 5608"/>
                <a:gd name="T17" fmla="*/ 283 h 5608"/>
                <a:gd name="T18" fmla="*/ 1830 w 5608"/>
                <a:gd name="T19" fmla="*/ 702 h 5608"/>
                <a:gd name="T20" fmla="*/ 2144 w 5608"/>
                <a:gd name="T21" fmla="*/ 1015 h 5608"/>
                <a:gd name="T22" fmla="*/ 2144 w 5608"/>
                <a:gd name="T23" fmla="*/ 2041 h 5608"/>
                <a:gd name="T24" fmla="*/ 2041 w 5608"/>
                <a:gd name="T25" fmla="*/ 2144 h 5608"/>
                <a:gd name="T26" fmla="*/ 1015 w 5608"/>
                <a:gd name="T27" fmla="*/ 2144 h 5608"/>
                <a:gd name="T28" fmla="*/ 702 w 5608"/>
                <a:gd name="T29" fmla="*/ 1830 h 5608"/>
                <a:gd name="T30" fmla="*/ 283 w 5608"/>
                <a:gd name="T31" fmla="*/ 2248 h 5608"/>
                <a:gd name="T32" fmla="*/ 283 w 5608"/>
                <a:gd name="T33" fmla="*/ 3274 h 5608"/>
                <a:gd name="T34" fmla="*/ 745 w 5608"/>
                <a:gd name="T35" fmla="*/ 3735 h 5608"/>
                <a:gd name="T36" fmla="*/ 1042 w 5608"/>
                <a:gd name="T37" fmla="*/ 3439 h 5608"/>
                <a:gd name="T38" fmla="*/ 2068 w 5608"/>
                <a:gd name="T39" fmla="*/ 3439 h 5608"/>
                <a:gd name="T40" fmla="*/ 2170 w 5608"/>
                <a:gd name="T41" fmla="*/ 3541 h 5608"/>
                <a:gd name="T42" fmla="*/ 2170 w 5608"/>
                <a:gd name="T43" fmla="*/ 4567 h 5608"/>
                <a:gd name="T44" fmla="*/ 1873 w 5608"/>
                <a:gd name="T45" fmla="*/ 4864 h 5608"/>
                <a:gd name="T46" fmla="*/ 2335 w 5608"/>
                <a:gd name="T47" fmla="*/ 5325 h 5608"/>
                <a:gd name="T48" fmla="*/ 3361 w 5608"/>
                <a:gd name="T49" fmla="*/ 5325 h 5608"/>
                <a:gd name="T50" fmla="*/ 3779 w 5608"/>
                <a:gd name="T51" fmla="*/ 4907 h 5608"/>
                <a:gd name="T52" fmla="*/ 3956 w 5608"/>
                <a:gd name="T53" fmla="*/ 5084 h 5608"/>
                <a:gd name="T54" fmla="*/ 4982 w 5608"/>
                <a:gd name="T55" fmla="*/ 5084 h 5608"/>
                <a:gd name="T56" fmla="*/ 5084 w 5608"/>
                <a:gd name="T57" fmla="*/ 4982 h 5608"/>
                <a:gd name="T58" fmla="*/ 5084 w 5608"/>
                <a:gd name="T59" fmla="*/ 3956 h 5608"/>
                <a:gd name="T60" fmla="*/ 4907 w 5608"/>
                <a:gd name="T61" fmla="*/ 3779 h 5608"/>
                <a:gd name="T62" fmla="*/ 5325 w 5608"/>
                <a:gd name="T63" fmla="*/ 3361 h 5608"/>
                <a:gd name="T64" fmla="*/ 5325 w 5608"/>
                <a:gd name="T65" fmla="*/ 2335 h 5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08" h="5608">
                  <a:moveTo>
                    <a:pt x="5325" y="2335"/>
                  </a:moveTo>
                  <a:lnTo>
                    <a:pt x="4864" y="1873"/>
                  </a:lnTo>
                  <a:lnTo>
                    <a:pt x="5001" y="1736"/>
                  </a:lnTo>
                  <a:cubicBezTo>
                    <a:pt x="5285" y="1452"/>
                    <a:pt x="5285" y="993"/>
                    <a:pt x="5001" y="710"/>
                  </a:cubicBezTo>
                  <a:lnTo>
                    <a:pt x="4899" y="607"/>
                  </a:lnTo>
                  <a:cubicBezTo>
                    <a:pt x="4616" y="324"/>
                    <a:pt x="4156" y="324"/>
                    <a:pt x="3873" y="607"/>
                  </a:cubicBezTo>
                  <a:lnTo>
                    <a:pt x="3735" y="745"/>
                  </a:lnTo>
                  <a:lnTo>
                    <a:pt x="3274" y="283"/>
                  </a:lnTo>
                  <a:cubicBezTo>
                    <a:pt x="2991" y="0"/>
                    <a:pt x="2531" y="0"/>
                    <a:pt x="2248" y="283"/>
                  </a:cubicBezTo>
                  <a:lnTo>
                    <a:pt x="1830" y="702"/>
                  </a:lnTo>
                  <a:lnTo>
                    <a:pt x="2144" y="1015"/>
                  </a:lnTo>
                  <a:cubicBezTo>
                    <a:pt x="2427" y="1299"/>
                    <a:pt x="2427" y="1758"/>
                    <a:pt x="2144" y="2041"/>
                  </a:cubicBezTo>
                  <a:lnTo>
                    <a:pt x="2041" y="2144"/>
                  </a:lnTo>
                  <a:cubicBezTo>
                    <a:pt x="1758" y="2427"/>
                    <a:pt x="1299" y="2427"/>
                    <a:pt x="1015" y="2144"/>
                  </a:cubicBezTo>
                  <a:lnTo>
                    <a:pt x="702" y="1830"/>
                  </a:lnTo>
                  <a:lnTo>
                    <a:pt x="283" y="2248"/>
                  </a:lnTo>
                  <a:cubicBezTo>
                    <a:pt x="0" y="2531"/>
                    <a:pt x="0" y="2991"/>
                    <a:pt x="283" y="3274"/>
                  </a:cubicBezTo>
                  <a:lnTo>
                    <a:pt x="745" y="3735"/>
                  </a:lnTo>
                  <a:lnTo>
                    <a:pt x="1042" y="3439"/>
                  </a:lnTo>
                  <a:cubicBezTo>
                    <a:pt x="1325" y="3155"/>
                    <a:pt x="1784" y="3155"/>
                    <a:pt x="2068" y="3439"/>
                  </a:cubicBezTo>
                  <a:lnTo>
                    <a:pt x="2170" y="3541"/>
                  </a:lnTo>
                  <a:cubicBezTo>
                    <a:pt x="2453" y="3824"/>
                    <a:pt x="2453" y="4284"/>
                    <a:pt x="2170" y="4567"/>
                  </a:cubicBezTo>
                  <a:lnTo>
                    <a:pt x="1873" y="4864"/>
                  </a:lnTo>
                  <a:lnTo>
                    <a:pt x="2335" y="5325"/>
                  </a:lnTo>
                  <a:cubicBezTo>
                    <a:pt x="2618" y="5608"/>
                    <a:pt x="3077" y="5608"/>
                    <a:pt x="3361" y="5325"/>
                  </a:cubicBezTo>
                  <a:lnTo>
                    <a:pt x="3779" y="4907"/>
                  </a:lnTo>
                  <a:lnTo>
                    <a:pt x="3956" y="5084"/>
                  </a:lnTo>
                  <a:cubicBezTo>
                    <a:pt x="4239" y="5367"/>
                    <a:pt x="4698" y="5367"/>
                    <a:pt x="4982" y="5084"/>
                  </a:cubicBezTo>
                  <a:lnTo>
                    <a:pt x="5084" y="4982"/>
                  </a:lnTo>
                  <a:cubicBezTo>
                    <a:pt x="5367" y="4698"/>
                    <a:pt x="5367" y="4239"/>
                    <a:pt x="5084" y="3956"/>
                  </a:cubicBezTo>
                  <a:lnTo>
                    <a:pt x="4907" y="3779"/>
                  </a:lnTo>
                  <a:lnTo>
                    <a:pt x="5325" y="3361"/>
                  </a:lnTo>
                  <a:cubicBezTo>
                    <a:pt x="5608" y="3077"/>
                    <a:pt x="5608" y="2618"/>
                    <a:pt x="5325" y="2335"/>
                  </a:cubicBezTo>
                  <a:close/>
                </a:path>
              </a:pathLst>
            </a:custGeom>
            <a:solidFill>
              <a:schemeClr val="accent1">
                <a:lumMod val="40000"/>
                <a:lumOff val="60000"/>
              </a:schemeClr>
            </a:solidFill>
            <a:ln>
              <a:noFill/>
            </a:ln>
            <a:ex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dirty="0"/>
            </a:p>
          </p:txBody>
        </p:sp>
        <p:sp>
          <p:nvSpPr>
            <p:cNvPr id="82" name="î$líḓé">
              <a:extLst>
                <a:ext uri="{FF2B5EF4-FFF2-40B4-BE49-F238E27FC236}">
                  <a16:creationId xmlns:a16="http://schemas.microsoft.com/office/drawing/2014/main" id="{08422158-26BC-4279-99A6-16C71EF1E21B}"/>
                </a:ext>
              </a:extLst>
            </p:cNvPr>
            <p:cNvSpPr txBox="1"/>
            <p:nvPr/>
          </p:nvSpPr>
          <p:spPr bwMode="auto">
            <a:xfrm>
              <a:off x="6310804" y="4289768"/>
              <a:ext cx="2213143" cy="400118"/>
            </a:xfrm>
            <a:prstGeom prst="rect">
              <a:avLst/>
            </a:prstGeom>
            <a:noFill/>
            <a:ln w="9525">
              <a:noFill/>
              <a:miter lim="800000"/>
              <a:headEnd/>
              <a:tailEnd/>
            </a:ln>
          </p:spPr>
          <p:txBody>
            <a:bodyPr wrap="none" lIns="90000" tIns="46800" rIns="90000" bIns="46800" anchor="ctr" anchorCtr="1">
              <a:normAutofit/>
              <a:scene3d>
                <a:camera prst="orthographicFront"/>
                <a:lightRig rig="threePt" dir="t"/>
              </a:scene3d>
              <a:sp3d>
                <a:bevelT w="0" h="0"/>
              </a:sp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a:r>
                <a:rPr lang="en-US" altLang="zh-CN" b="1" dirty="0"/>
                <a:t>03</a:t>
              </a:r>
              <a:endParaRPr lang="zh-CN" altLang="en-US" b="1" dirty="0"/>
            </a:p>
          </p:txBody>
        </p:sp>
        <p:sp>
          <p:nvSpPr>
            <p:cNvPr id="83" name="iśļíḍé">
              <a:extLst>
                <a:ext uri="{FF2B5EF4-FFF2-40B4-BE49-F238E27FC236}">
                  <a16:creationId xmlns:a16="http://schemas.microsoft.com/office/drawing/2014/main" id="{D1602681-EF38-47C4-9733-0B372B24E36A}"/>
                </a:ext>
              </a:extLst>
            </p:cNvPr>
            <p:cNvSpPr txBox="1"/>
            <p:nvPr/>
          </p:nvSpPr>
          <p:spPr bwMode="auto">
            <a:xfrm>
              <a:off x="6310804" y="5120194"/>
              <a:ext cx="2213143" cy="574230"/>
            </a:xfrm>
            <a:prstGeom prst="rect">
              <a:avLst/>
            </a:prstGeom>
            <a:noFill/>
            <a:ln w="9525">
              <a:noFill/>
              <a:miter lim="800000"/>
              <a:headEnd/>
              <a:tailEnd/>
            </a:ln>
          </p:spPr>
          <p:txBody>
            <a:bodyPr wrap="square" lIns="90000" tIns="46800" rIns="90000" bIns="46800" anchor="ctr" anchorCtr="1">
              <a:normAutofit/>
              <a:scene3d>
                <a:camera prst="orthographicFront"/>
                <a:lightRig rig="threePt" dir="t"/>
              </a:scene3d>
              <a:sp3d>
                <a:bevelT w="0" h="0"/>
              </a:sp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altLang="zh-CN" sz="800" dirty="0"/>
                <a:t>How </a:t>
              </a:r>
              <a:r>
                <a:rPr lang="en-US" altLang="zh-CN" sz="800" dirty="0" err="1"/>
                <a:t>ePAD</a:t>
              </a:r>
              <a:r>
                <a:rPr lang="en-US" altLang="zh-CN" sz="800" dirty="0"/>
                <a:t> Recovers Design Pattern Instances</a:t>
              </a:r>
            </a:p>
          </p:txBody>
        </p:sp>
        <p:sp>
          <p:nvSpPr>
            <p:cNvPr id="21" name="iśļíḍé">
              <a:extLst>
                <a:ext uri="{FF2B5EF4-FFF2-40B4-BE49-F238E27FC236}">
                  <a16:creationId xmlns:a16="http://schemas.microsoft.com/office/drawing/2014/main" id="{B870ACBA-5366-456C-91F5-1BF18E4BD50B}"/>
                </a:ext>
              </a:extLst>
            </p:cNvPr>
            <p:cNvSpPr txBox="1"/>
            <p:nvPr/>
          </p:nvSpPr>
          <p:spPr bwMode="auto">
            <a:xfrm>
              <a:off x="6310804" y="4600730"/>
              <a:ext cx="2213143" cy="574230"/>
            </a:xfrm>
            <a:prstGeom prst="rect">
              <a:avLst/>
            </a:prstGeom>
            <a:noFill/>
            <a:ln w="9525">
              <a:noFill/>
              <a:miter lim="800000"/>
              <a:headEnd/>
              <a:tailEnd/>
            </a:ln>
          </p:spPr>
          <p:txBody>
            <a:bodyPr wrap="square" lIns="90000" tIns="46800" rIns="90000" bIns="46800" anchor="ctr" anchorCtr="1">
              <a:normAutofit/>
              <a:scene3d>
                <a:camera prst="orthographicFront"/>
                <a:lightRig rig="threePt" dir="t"/>
              </a:scene3d>
              <a:sp3d>
                <a:bevelT w="0" h="0"/>
              </a:sp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200" dirty="0"/>
                <a:t>简要描述</a:t>
              </a:r>
              <a:r>
                <a:rPr lang="en-US" altLang="zh-CN" sz="1200" dirty="0" err="1"/>
                <a:t>ePAD</a:t>
              </a:r>
              <a:r>
                <a:rPr lang="zh-CN" altLang="en-US" sz="1200" dirty="0"/>
                <a:t>如何恢复设计模式实例 </a:t>
              </a:r>
            </a:p>
          </p:txBody>
        </p:sp>
      </p:grpSp>
      <p:grpSp>
        <p:nvGrpSpPr>
          <p:cNvPr id="5" name="组合 4">
            <a:extLst>
              <a:ext uri="{FF2B5EF4-FFF2-40B4-BE49-F238E27FC236}">
                <a16:creationId xmlns:a16="http://schemas.microsoft.com/office/drawing/2014/main" id="{4BAF770D-3B9F-4B54-BF8C-9CA7EBD208E6}"/>
              </a:ext>
            </a:extLst>
          </p:cNvPr>
          <p:cNvGrpSpPr/>
          <p:nvPr/>
        </p:nvGrpSpPr>
        <p:grpSpPr>
          <a:xfrm>
            <a:off x="8918827" y="3024218"/>
            <a:ext cx="2213143" cy="2678204"/>
            <a:chOff x="8918827" y="3024218"/>
            <a:chExt cx="2213143" cy="2678204"/>
          </a:xfrm>
        </p:grpSpPr>
        <p:sp>
          <p:nvSpPr>
            <p:cNvPr id="84" name="ïšḷîdè">
              <a:extLst>
                <a:ext uri="{FF2B5EF4-FFF2-40B4-BE49-F238E27FC236}">
                  <a16:creationId xmlns:a16="http://schemas.microsoft.com/office/drawing/2014/main" id="{810546C9-709D-4D2E-A7D2-76EE08584C69}"/>
                </a:ext>
              </a:extLst>
            </p:cNvPr>
            <p:cNvSpPr/>
            <p:nvPr/>
          </p:nvSpPr>
          <p:spPr>
            <a:xfrm>
              <a:off x="9595162" y="3024218"/>
              <a:ext cx="860471" cy="943650"/>
            </a:xfrm>
            <a:custGeom>
              <a:avLst/>
              <a:gdLst>
                <a:gd name="connsiteX0" fmla="*/ 333504 w 555138"/>
                <a:gd name="connsiteY0" fmla="*/ 231047 h 608801"/>
                <a:gd name="connsiteX1" fmla="*/ 254856 w 555138"/>
                <a:gd name="connsiteY1" fmla="*/ 309304 h 608801"/>
                <a:gd name="connsiteX2" fmla="*/ 221937 w 555138"/>
                <a:gd name="connsiteY2" fmla="*/ 276152 h 608801"/>
                <a:gd name="connsiteX3" fmla="*/ 187523 w 555138"/>
                <a:gd name="connsiteY3" fmla="*/ 310238 h 608801"/>
                <a:gd name="connsiteX4" fmla="*/ 220441 w 555138"/>
                <a:gd name="connsiteY4" fmla="*/ 343389 h 608801"/>
                <a:gd name="connsiteX5" fmla="*/ 254575 w 555138"/>
                <a:gd name="connsiteY5" fmla="*/ 377755 h 608801"/>
                <a:gd name="connsiteX6" fmla="*/ 288989 w 555138"/>
                <a:gd name="connsiteY6" fmla="*/ 343669 h 608801"/>
                <a:gd name="connsiteX7" fmla="*/ 367731 w 555138"/>
                <a:gd name="connsiteY7" fmla="*/ 265413 h 608801"/>
                <a:gd name="connsiteX8" fmla="*/ 277580 w 555138"/>
                <a:gd name="connsiteY8" fmla="*/ 130845 h 608801"/>
                <a:gd name="connsiteX9" fmla="*/ 451336 w 555138"/>
                <a:gd name="connsiteY9" fmla="*/ 304448 h 608801"/>
                <a:gd name="connsiteX10" fmla="*/ 277580 w 555138"/>
                <a:gd name="connsiteY10" fmla="*/ 477957 h 608801"/>
                <a:gd name="connsiteX11" fmla="*/ 103731 w 555138"/>
                <a:gd name="connsiteY11" fmla="*/ 304448 h 608801"/>
                <a:gd name="connsiteX12" fmla="*/ 277580 w 555138"/>
                <a:gd name="connsiteY12" fmla="*/ 130845 h 608801"/>
                <a:gd name="connsiteX13" fmla="*/ 440395 w 555138"/>
                <a:gd name="connsiteY13" fmla="*/ 80038 h 608801"/>
                <a:gd name="connsiteX14" fmla="*/ 555138 w 555138"/>
                <a:gd name="connsiteY14" fmla="*/ 304436 h 608801"/>
                <a:gd name="connsiteX15" fmla="*/ 277586 w 555138"/>
                <a:gd name="connsiteY15" fmla="*/ 581594 h 608801"/>
                <a:gd name="connsiteX16" fmla="*/ 277586 w 555138"/>
                <a:gd name="connsiteY16" fmla="*/ 605593 h 608801"/>
                <a:gd name="connsiteX17" fmla="*/ 272536 w 555138"/>
                <a:gd name="connsiteY17" fmla="*/ 608208 h 608801"/>
                <a:gd name="connsiteX18" fmla="*/ 207356 w 555138"/>
                <a:gd name="connsiteY18" fmla="*/ 563478 h 608801"/>
                <a:gd name="connsiteX19" fmla="*/ 207356 w 555138"/>
                <a:gd name="connsiteY19" fmla="*/ 558155 h 608801"/>
                <a:gd name="connsiteX20" fmla="*/ 272536 w 555138"/>
                <a:gd name="connsiteY20" fmla="*/ 513425 h 608801"/>
                <a:gd name="connsiteX21" fmla="*/ 277586 w 555138"/>
                <a:gd name="connsiteY21" fmla="*/ 516040 h 608801"/>
                <a:gd name="connsiteX22" fmla="*/ 277586 w 555138"/>
                <a:gd name="connsiteY22" fmla="*/ 540319 h 608801"/>
                <a:gd name="connsiteX23" fmla="*/ 513711 w 555138"/>
                <a:gd name="connsiteY23" fmla="*/ 304529 h 608801"/>
                <a:gd name="connsiteX24" fmla="*/ 416081 w 555138"/>
                <a:gd name="connsiteY24" fmla="*/ 113562 h 608801"/>
                <a:gd name="connsiteX25" fmla="*/ 282527 w 555138"/>
                <a:gd name="connsiteY25" fmla="*/ 593 h 608801"/>
                <a:gd name="connsiteX26" fmla="*/ 347711 w 555138"/>
                <a:gd name="connsiteY26" fmla="*/ 45323 h 608801"/>
                <a:gd name="connsiteX27" fmla="*/ 347711 w 555138"/>
                <a:gd name="connsiteY27" fmla="*/ 50646 h 608801"/>
                <a:gd name="connsiteX28" fmla="*/ 282527 w 555138"/>
                <a:gd name="connsiteY28" fmla="*/ 95376 h 608801"/>
                <a:gd name="connsiteX29" fmla="*/ 277570 w 555138"/>
                <a:gd name="connsiteY29" fmla="*/ 92761 h 608801"/>
                <a:gd name="connsiteX30" fmla="*/ 277570 w 555138"/>
                <a:gd name="connsiteY30" fmla="*/ 68575 h 608801"/>
                <a:gd name="connsiteX31" fmla="*/ 41336 w 555138"/>
                <a:gd name="connsiteY31" fmla="*/ 304459 h 608801"/>
                <a:gd name="connsiteX32" fmla="*/ 138878 w 555138"/>
                <a:gd name="connsiteY32" fmla="*/ 495332 h 608801"/>
                <a:gd name="connsiteX33" fmla="*/ 114563 w 555138"/>
                <a:gd name="connsiteY33" fmla="*/ 528763 h 608801"/>
                <a:gd name="connsiteX34" fmla="*/ 0 w 555138"/>
                <a:gd name="connsiteY34" fmla="*/ 304459 h 608801"/>
                <a:gd name="connsiteX35" fmla="*/ 277570 w 555138"/>
                <a:gd name="connsiteY35" fmla="*/ 27300 h 608801"/>
                <a:gd name="connsiteX36" fmla="*/ 277570 w 555138"/>
                <a:gd name="connsiteY36" fmla="*/ 3208 h 608801"/>
                <a:gd name="connsiteX37" fmla="*/ 282527 w 555138"/>
                <a:gd name="connsiteY37" fmla="*/ 593 h 60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55138" h="608801">
                  <a:moveTo>
                    <a:pt x="333504" y="231047"/>
                  </a:moveTo>
                  <a:lnTo>
                    <a:pt x="254856" y="309304"/>
                  </a:lnTo>
                  <a:lnTo>
                    <a:pt x="221937" y="276152"/>
                  </a:lnTo>
                  <a:lnTo>
                    <a:pt x="187523" y="310238"/>
                  </a:lnTo>
                  <a:lnTo>
                    <a:pt x="220441" y="343389"/>
                  </a:lnTo>
                  <a:lnTo>
                    <a:pt x="254575" y="377755"/>
                  </a:lnTo>
                  <a:lnTo>
                    <a:pt x="288989" y="343669"/>
                  </a:lnTo>
                  <a:lnTo>
                    <a:pt x="367731" y="265413"/>
                  </a:lnTo>
                  <a:close/>
                  <a:moveTo>
                    <a:pt x="277580" y="130845"/>
                  </a:moveTo>
                  <a:cubicBezTo>
                    <a:pt x="373529" y="130845"/>
                    <a:pt x="451336" y="208541"/>
                    <a:pt x="451336" y="304448"/>
                  </a:cubicBezTo>
                  <a:cubicBezTo>
                    <a:pt x="451336" y="400261"/>
                    <a:pt x="373529" y="477957"/>
                    <a:pt x="277580" y="477957"/>
                  </a:cubicBezTo>
                  <a:cubicBezTo>
                    <a:pt x="181538" y="477957"/>
                    <a:pt x="103731" y="400261"/>
                    <a:pt x="103731" y="304448"/>
                  </a:cubicBezTo>
                  <a:cubicBezTo>
                    <a:pt x="103731" y="208541"/>
                    <a:pt x="181538" y="130845"/>
                    <a:pt x="277580" y="130845"/>
                  </a:cubicBezTo>
                  <a:close/>
                  <a:moveTo>
                    <a:pt x="440395" y="80038"/>
                  </a:moveTo>
                  <a:cubicBezTo>
                    <a:pt x="512215" y="132052"/>
                    <a:pt x="555138" y="215909"/>
                    <a:pt x="555138" y="304436"/>
                  </a:cubicBezTo>
                  <a:cubicBezTo>
                    <a:pt x="555138" y="457302"/>
                    <a:pt x="430576" y="581594"/>
                    <a:pt x="277586" y="581594"/>
                  </a:cubicBezTo>
                  <a:lnTo>
                    <a:pt x="277586" y="605593"/>
                  </a:lnTo>
                  <a:cubicBezTo>
                    <a:pt x="277586" y="608208"/>
                    <a:pt x="274687" y="609702"/>
                    <a:pt x="272536" y="608208"/>
                  </a:cubicBezTo>
                  <a:lnTo>
                    <a:pt x="207356" y="563478"/>
                  </a:lnTo>
                  <a:cubicBezTo>
                    <a:pt x="205486" y="562170"/>
                    <a:pt x="205486" y="559369"/>
                    <a:pt x="207356" y="558155"/>
                  </a:cubicBezTo>
                  <a:lnTo>
                    <a:pt x="272536" y="513425"/>
                  </a:lnTo>
                  <a:cubicBezTo>
                    <a:pt x="274687" y="511931"/>
                    <a:pt x="277586" y="513425"/>
                    <a:pt x="277586" y="516040"/>
                  </a:cubicBezTo>
                  <a:lnTo>
                    <a:pt x="277586" y="540319"/>
                  </a:lnTo>
                  <a:cubicBezTo>
                    <a:pt x="407759" y="540319"/>
                    <a:pt x="513711" y="434517"/>
                    <a:pt x="513711" y="304529"/>
                  </a:cubicBezTo>
                  <a:cubicBezTo>
                    <a:pt x="513711" y="229169"/>
                    <a:pt x="477147" y="157825"/>
                    <a:pt x="416081" y="113562"/>
                  </a:cubicBezTo>
                  <a:close/>
                  <a:moveTo>
                    <a:pt x="282527" y="593"/>
                  </a:moveTo>
                  <a:lnTo>
                    <a:pt x="347711" y="45323"/>
                  </a:lnTo>
                  <a:cubicBezTo>
                    <a:pt x="349581" y="46724"/>
                    <a:pt x="349581" y="49432"/>
                    <a:pt x="347711" y="50646"/>
                  </a:cubicBezTo>
                  <a:lnTo>
                    <a:pt x="282527" y="95376"/>
                  </a:lnTo>
                  <a:cubicBezTo>
                    <a:pt x="280376" y="96870"/>
                    <a:pt x="277570" y="95376"/>
                    <a:pt x="277570" y="92761"/>
                  </a:cubicBezTo>
                  <a:lnTo>
                    <a:pt x="277570" y="68575"/>
                  </a:lnTo>
                  <a:cubicBezTo>
                    <a:pt x="147389" y="68575"/>
                    <a:pt x="41336" y="174471"/>
                    <a:pt x="41336" y="304459"/>
                  </a:cubicBezTo>
                  <a:cubicBezTo>
                    <a:pt x="41336" y="379725"/>
                    <a:pt x="77903" y="451069"/>
                    <a:pt x="138878" y="495332"/>
                  </a:cubicBezTo>
                  <a:lnTo>
                    <a:pt x="114563" y="528763"/>
                  </a:lnTo>
                  <a:cubicBezTo>
                    <a:pt x="42832" y="476749"/>
                    <a:pt x="0" y="392985"/>
                    <a:pt x="0" y="304459"/>
                  </a:cubicBezTo>
                  <a:cubicBezTo>
                    <a:pt x="0" y="151686"/>
                    <a:pt x="124570" y="27300"/>
                    <a:pt x="277570" y="27300"/>
                  </a:cubicBezTo>
                  <a:lnTo>
                    <a:pt x="277570" y="3208"/>
                  </a:lnTo>
                  <a:cubicBezTo>
                    <a:pt x="277570" y="593"/>
                    <a:pt x="280376" y="-901"/>
                    <a:pt x="282527" y="593"/>
                  </a:cubicBezTo>
                  <a:close/>
                </a:path>
              </a:pathLst>
            </a:custGeom>
            <a:solidFill>
              <a:schemeClr val="tx2">
                <a:lumMod val="60000"/>
                <a:lumOff val="40000"/>
              </a:schemeClr>
            </a:solidFill>
            <a:ln w="12700">
              <a:miter lim="400000"/>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dirty="0"/>
            </a:p>
          </p:txBody>
        </p:sp>
        <p:sp>
          <p:nvSpPr>
            <p:cNvPr id="85" name="íṥliḋé">
              <a:extLst>
                <a:ext uri="{FF2B5EF4-FFF2-40B4-BE49-F238E27FC236}">
                  <a16:creationId xmlns:a16="http://schemas.microsoft.com/office/drawing/2014/main" id="{5537F5A7-733F-44F5-93CB-E7BD1F2EB541}"/>
                </a:ext>
              </a:extLst>
            </p:cNvPr>
            <p:cNvSpPr txBox="1"/>
            <p:nvPr/>
          </p:nvSpPr>
          <p:spPr bwMode="auto">
            <a:xfrm>
              <a:off x="8918827" y="4289768"/>
              <a:ext cx="2213143" cy="400118"/>
            </a:xfrm>
            <a:prstGeom prst="rect">
              <a:avLst/>
            </a:prstGeom>
            <a:noFill/>
            <a:ln w="9525">
              <a:noFill/>
              <a:miter lim="800000"/>
              <a:headEnd/>
              <a:tailEnd/>
            </a:ln>
          </p:spPr>
          <p:txBody>
            <a:bodyPr wrap="none" lIns="90000" tIns="46800" rIns="90000" bIns="46800" anchor="ctr" anchorCtr="1">
              <a:normAutofit/>
              <a:scene3d>
                <a:camera prst="orthographicFront"/>
                <a:lightRig rig="threePt" dir="t"/>
              </a:scene3d>
              <a:sp3d>
                <a:bevelT w="0" h="0"/>
              </a:sp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a:r>
                <a:rPr lang="en-US" altLang="zh-CN" b="1" dirty="0"/>
                <a:t>04</a:t>
              </a:r>
              <a:endParaRPr lang="zh-CN" altLang="en-US" b="1" dirty="0"/>
            </a:p>
          </p:txBody>
        </p:sp>
        <p:sp>
          <p:nvSpPr>
            <p:cNvPr id="86" name="îṣḷíḓé">
              <a:extLst>
                <a:ext uri="{FF2B5EF4-FFF2-40B4-BE49-F238E27FC236}">
                  <a16:creationId xmlns:a16="http://schemas.microsoft.com/office/drawing/2014/main" id="{A09FD77A-7B69-4379-833A-DAB284C64A1C}"/>
                </a:ext>
              </a:extLst>
            </p:cNvPr>
            <p:cNvSpPr txBox="1"/>
            <p:nvPr/>
          </p:nvSpPr>
          <p:spPr bwMode="auto">
            <a:xfrm>
              <a:off x="8918827" y="5128192"/>
              <a:ext cx="2213143" cy="574230"/>
            </a:xfrm>
            <a:prstGeom prst="rect">
              <a:avLst/>
            </a:prstGeom>
            <a:noFill/>
            <a:ln w="9525">
              <a:noFill/>
              <a:miter lim="800000"/>
              <a:headEnd/>
              <a:tailEnd/>
            </a:ln>
          </p:spPr>
          <p:txBody>
            <a:bodyPr wrap="square" lIns="90000" tIns="46800" rIns="90000" bIns="46800" anchor="ctr" anchorCtr="1">
              <a:normAutofit/>
              <a:scene3d>
                <a:camera prst="orthographicFront"/>
                <a:lightRig rig="threePt" dir="t"/>
              </a:scene3d>
              <a:sp3d>
                <a:bevelT w="0" h="0"/>
              </a:sp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altLang="zh-CN" sz="800" dirty="0"/>
                <a:t>Reports And Discusses The Results Of The Performed Exploratory Study</a:t>
              </a:r>
            </a:p>
          </p:txBody>
        </p:sp>
        <p:sp>
          <p:nvSpPr>
            <p:cNvPr id="22" name="îṣḷíḓé">
              <a:extLst>
                <a:ext uri="{FF2B5EF4-FFF2-40B4-BE49-F238E27FC236}">
                  <a16:creationId xmlns:a16="http://schemas.microsoft.com/office/drawing/2014/main" id="{A6C5E772-C835-4122-92D9-C58BEBA9A947}"/>
                </a:ext>
              </a:extLst>
            </p:cNvPr>
            <p:cNvSpPr txBox="1"/>
            <p:nvPr/>
          </p:nvSpPr>
          <p:spPr bwMode="auto">
            <a:xfrm>
              <a:off x="8918827" y="4654070"/>
              <a:ext cx="2213143" cy="574230"/>
            </a:xfrm>
            <a:prstGeom prst="rect">
              <a:avLst/>
            </a:prstGeom>
            <a:noFill/>
            <a:ln w="9525">
              <a:noFill/>
              <a:miter lim="800000"/>
              <a:headEnd/>
              <a:tailEnd/>
            </a:ln>
          </p:spPr>
          <p:txBody>
            <a:bodyPr wrap="square" lIns="90000" tIns="46800" rIns="90000" bIns="46800" anchor="ctr" anchorCtr="1">
              <a:normAutofit/>
              <a:scene3d>
                <a:camera prst="orthographicFront"/>
                <a:lightRig rig="threePt" dir="t"/>
              </a:scene3d>
              <a:sp3d>
                <a:bevelT w="0" h="0"/>
              </a:sp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zh-CN" altLang="en-US" sz="1200" dirty="0"/>
                <a:t>报告和讨论了探索性研究</a:t>
              </a:r>
              <a:endParaRPr lang="en-US" altLang="zh-CN" sz="1200" dirty="0"/>
            </a:p>
            <a:p>
              <a:pPr algn="ctr">
                <a:lnSpc>
                  <a:spcPct val="120000"/>
                </a:lnSpc>
              </a:pPr>
              <a:r>
                <a:rPr lang="zh-CN" altLang="en-US" sz="1200" dirty="0"/>
                <a:t>的结果</a:t>
              </a:r>
              <a:endParaRPr lang="en-US" altLang="zh-CN" sz="1200" dirty="0"/>
            </a:p>
          </p:txBody>
        </p:sp>
      </p:grpSp>
    </p:spTree>
    <p:extLst>
      <p:ext uri="{BB962C8B-B14F-4D97-AF65-F5344CB8AC3E}">
        <p14:creationId xmlns:p14="http://schemas.microsoft.com/office/powerpoint/2010/main" val="1634152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childTnLst>
                          </p:cTn>
                        </p:par>
                        <p:par>
                          <p:cTn id="8" fill="hold">
                            <p:stCondLst>
                              <p:cond delay="500"/>
                            </p:stCondLst>
                            <p:childTnLst>
                              <p:par>
                                <p:cTn id="9" presetID="47"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300"/>
                                        <p:tgtEl>
                                          <p:spTgt spid="2"/>
                                        </p:tgtEl>
                                      </p:cBhvr>
                                    </p:animEffect>
                                    <p:anim calcmode="lin" valueType="num">
                                      <p:cBhvr>
                                        <p:cTn id="12" dur="300" fill="hold"/>
                                        <p:tgtEl>
                                          <p:spTgt spid="2"/>
                                        </p:tgtEl>
                                        <p:attrNameLst>
                                          <p:attrName>ppt_x</p:attrName>
                                        </p:attrNameLst>
                                      </p:cBhvr>
                                      <p:tavLst>
                                        <p:tav tm="0">
                                          <p:val>
                                            <p:strVal val="#ppt_x"/>
                                          </p:val>
                                        </p:tav>
                                        <p:tav tm="100000">
                                          <p:val>
                                            <p:strVal val="#ppt_x"/>
                                          </p:val>
                                        </p:tav>
                                      </p:tavLst>
                                    </p:anim>
                                    <p:anim calcmode="lin" valueType="num">
                                      <p:cBhvr>
                                        <p:cTn id="13" dur="300" fill="hold"/>
                                        <p:tgtEl>
                                          <p:spTgt spid="2"/>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10" presetClass="entr" presetSubtype="0" fill="hold" nodeType="afterEffect">
                                  <p:stCondLst>
                                    <p:cond delay="0"/>
                                  </p:stCondLst>
                                  <p:childTnLst>
                                    <p:set>
                                      <p:cBhvr>
                                        <p:cTn id="16" dur="1" fill="hold">
                                          <p:stCondLst>
                                            <p:cond delay="0"/>
                                          </p:stCondLst>
                                        </p:cTn>
                                        <p:tgtEl>
                                          <p:spTgt spid="87"/>
                                        </p:tgtEl>
                                        <p:attrNameLst>
                                          <p:attrName>style.visibility</p:attrName>
                                        </p:attrNameLst>
                                      </p:cBhvr>
                                      <p:to>
                                        <p:strVal val="visible"/>
                                      </p:to>
                                    </p:set>
                                    <p:animEffect transition="in" filter="fade">
                                      <p:cBhvr>
                                        <p:cTn id="17" dur="200"/>
                                        <p:tgtEl>
                                          <p:spTgt spid="87"/>
                                        </p:tgtEl>
                                      </p:cBhvr>
                                    </p:animEffect>
                                  </p:childTnLst>
                                </p:cTn>
                              </p:par>
                            </p:childTnLst>
                          </p:cTn>
                        </p:par>
                        <p:par>
                          <p:cTn id="18" fill="hold">
                            <p:stCondLst>
                              <p:cond delay="1000"/>
                            </p:stCondLst>
                            <p:childTnLst>
                              <p:par>
                                <p:cTn id="19" presetID="47" presetClass="entr" presetSubtype="0" fill="hold"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300"/>
                                        <p:tgtEl>
                                          <p:spTgt spid="3"/>
                                        </p:tgtEl>
                                      </p:cBhvr>
                                    </p:animEffect>
                                    <p:anim calcmode="lin" valueType="num">
                                      <p:cBhvr>
                                        <p:cTn id="22" dur="300" fill="hold"/>
                                        <p:tgtEl>
                                          <p:spTgt spid="3"/>
                                        </p:tgtEl>
                                        <p:attrNameLst>
                                          <p:attrName>ppt_x</p:attrName>
                                        </p:attrNameLst>
                                      </p:cBhvr>
                                      <p:tavLst>
                                        <p:tav tm="0">
                                          <p:val>
                                            <p:strVal val="#ppt_x"/>
                                          </p:val>
                                        </p:tav>
                                        <p:tav tm="100000">
                                          <p:val>
                                            <p:strVal val="#ppt_x"/>
                                          </p:val>
                                        </p:tav>
                                      </p:tavLst>
                                    </p:anim>
                                    <p:anim calcmode="lin" valueType="num">
                                      <p:cBhvr>
                                        <p:cTn id="23" dur="300" fill="hold"/>
                                        <p:tgtEl>
                                          <p:spTgt spid="3"/>
                                        </p:tgtEl>
                                        <p:attrNameLst>
                                          <p:attrName>ppt_y</p:attrName>
                                        </p:attrNameLst>
                                      </p:cBhvr>
                                      <p:tavLst>
                                        <p:tav tm="0">
                                          <p:val>
                                            <p:strVal val="#ppt_y-.1"/>
                                          </p:val>
                                        </p:tav>
                                        <p:tav tm="100000">
                                          <p:val>
                                            <p:strVal val="#ppt_y"/>
                                          </p:val>
                                        </p:tav>
                                      </p:tavLst>
                                    </p:anim>
                                  </p:childTnLst>
                                </p:cTn>
                              </p:par>
                            </p:childTnLst>
                          </p:cTn>
                        </p:par>
                        <p:par>
                          <p:cTn id="24" fill="hold">
                            <p:stCondLst>
                              <p:cond delay="1300"/>
                            </p:stCondLst>
                            <p:childTnLst>
                              <p:par>
                                <p:cTn id="25" presetID="10" presetClass="entr" presetSubtype="0" fill="hold" nodeType="afterEffect">
                                  <p:stCondLst>
                                    <p:cond delay="0"/>
                                  </p:stCondLst>
                                  <p:childTnLst>
                                    <p:set>
                                      <p:cBhvr>
                                        <p:cTn id="26" dur="1" fill="hold">
                                          <p:stCondLst>
                                            <p:cond delay="0"/>
                                          </p:stCondLst>
                                        </p:cTn>
                                        <p:tgtEl>
                                          <p:spTgt spid="88"/>
                                        </p:tgtEl>
                                        <p:attrNameLst>
                                          <p:attrName>style.visibility</p:attrName>
                                        </p:attrNameLst>
                                      </p:cBhvr>
                                      <p:to>
                                        <p:strVal val="visible"/>
                                      </p:to>
                                    </p:set>
                                    <p:animEffect transition="in" filter="fade">
                                      <p:cBhvr>
                                        <p:cTn id="27" dur="200"/>
                                        <p:tgtEl>
                                          <p:spTgt spid="88"/>
                                        </p:tgtEl>
                                      </p:cBhvr>
                                    </p:animEffect>
                                  </p:childTnLst>
                                </p:cTn>
                              </p:par>
                            </p:childTnLst>
                          </p:cTn>
                        </p:par>
                        <p:par>
                          <p:cTn id="28" fill="hold">
                            <p:stCondLst>
                              <p:cond delay="1500"/>
                            </p:stCondLst>
                            <p:childTnLst>
                              <p:par>
                                <p:cTn id="29" presetID="47" presetClass="entr" presetSubtype="0" fill="hold"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300"/>
                                        <p:tgtEl>
                                          <p:spTgt spid="4"/>
                                        </p:tgtEl>
                                      </p:cBhvr>
                                    </p:animEffect>
                                    <p:anim calcmode="lin" valueType="num">
                                      <p:cBhvr>
                                        <p:cTn id="32" dur="300" fill="hold"/>
                                        <p:tgtEl>
                                          <p:spTgt spid="4"/>
                                        </p:tgtEl>
                                        <p:attrNameLst>
                                          <p:attrName>ppt_x</p:attrName>
                                        </p:attrNameLst>
                                      </p:cBhvr>
                                      <p:tavLst>
                                        <p:tav tm="0">
                                          <p:val>
                                            <p:strVal val="#ppt_x"/>
                                          </p:val>
                                        </p:tav>
                                        <p:tav tm="100000">
                                          <p:val>
                                            <p:strVal val="#ppt_x"/>
                                          </p:val>
                                        </p:tav>
                                      </p:tavLst>
                                    </p:anim>
                                    <p:anim calcmode="lin" valueType="num">
                                      <p:cBhvr>
                                        <p:cTn id="33" dur="300" fill="hold"/>
                                        <p:tgtEl>
                                          <p:spTgt spid="4"/>
                                        </p:tgtEl>
                                        <p:attrNameLst>
                                          <p:attrName>ppt_y</p:attrName>
                                        </p:attrNameLst>
                                      </p:cBhvr>
                                      <p:tavLst>
                                        <p:tav tm="0">
                                          <p:val>
                                            <p:strVal val="#ppt_y-.1"/>
                                          </p:val>
                                        </p:tav>
                                        <p:tav tm="100000">
                                          <p:val>
                                            <p:strVal val="#ppt_y"/>
                                          </p:val>
                                        </p:tav>
                                      </p:tavLst>
                                    </p:anim>
                                  </p:childTnLst>
                                </p:cTn>
                              </p:par>
                            </p:childTnLst>
                          </p:cTn>
                        </p:par>
                        <p:par>
                          <p:cTn id="34" fill="hold">
                            <p:stCondLst>
                              <p:cond delay="1800"/>
                            </p:stCondLst>
                            <p:childTnLst>
                              <p:par>
                                <p:cTn id="35" presetID="10" presetClass="entr" presetSubtype="0" fill="hold" nodeType="afterEffect">
                                  <p:stCondLst>
                                    <p:cond delay="0"/>
                                  </p:stCondLst>
                                  <p:childTnLst>
                                    <p:set>
                                      <p:cBhvr>
                                        <p:cTn id="36" dur="1" fill="hold">
                                          <p:stCondLst>
                                            <p:cond delay="0"/>
                                          </p:stCondLst>
                                        </p:cTn>
                                        <p:tgtEl>
                                          <p:spTgt spid="89"/>
                                        </p:tgtEl>
                                        <p:attrNameLst>
                                          <p:attrName>style.visibility</p:attrName>
                                        </p:attrNameLst>
                                      </p:cBhvr>
                                      <p:to>
                                        <p:strVal val="visible"/>
                                      </p:to>
                                    </p:set>
                                    <p:animEffect transition="in" filter="fade">
                                      <p:cBhvr>
                                        <p:cTn id="37" dur="200"/>
                                        <p:tgtEl>
                                          <p:spTgt spid="89"/>
                                        </p:tgtEl>
                                      </p:cBhvr>
                                    </p:animEffect>
                                  </p:childTnLst>
                                </p:cTn>
                              </p:par>
                            </p:childTnLst>
                          </p:cTn>
                        </p:par>
                        <p:par>
                          <p:cTn id="38" fill="hold">
                            <p:stCondLst>
                              <p:cond delay="2000"/>
                            </p:stCondLst>
                            <p:childTnLst>
                              <p:par>
                                <p:cTn id="39" presetID="47" presetClass="entr" presetSubtype="0" fill="hold" nodeType="after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300"/>
                                        <p:tgtEl>
                                          <p:spTgt spid="5"/>
                                        </p:tgtEl>
                                      </p:cBhvr>
                                    </p:animEffect>
                                    <p:anim calcmode="lin" valueType="num">
                                      <p:cBhvr>
                                        <p:cTn id="42" dur="300" fill="hold"/>
                                        <p:tgtEl>
                                          <p:spTgt spid="5"/>
                                        </p:tgtEl>
                                        <p:attrNameLst>
                                          <p:attrName>ppt_x</p:attrName>
                                        </p:attrNameLst>
                                      </p:cBhvr>
                                      <p:tavLst>
                                        <p:tav tm="0">
                                          <p:val>
                                            <p:strVal val="#ppt_x"/>
                                          </p:val>
                                        </p:tav>
                                        <p:tav tm="100000">
                                          <p:val>
                                            <p:strVal val="#ppt_x"/>
                                          </p:val>
                                        </p:tav>
                                      </p:tavLst>
                                    </p:anim>
                                    <p:anim calcmode="lin" valueType="num">
                                      <p:cBhvr>
                                        <p:cTn id="43" dur="3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9AD81192-8577-466A-851D-07CEB381863A}"/>
              </a:ext>
            </a:extLst>
          </p:cNvPr>
          <p:cNvGrpSpPr/>
          <p:nvPr/>
        </p:nvGrpSpPr>
        <p:grpSpPr>
          <a:xfrm flipH="1" flipV="1">
            <a:off x="0" y="506412"/>
            <a:ext cx="5189538" cy="6351588"/>
            <a:chOff x="7002463" y="0"/>
            <a:chExt cx="5189538" cy="6351588"/>
          </a:xfrm>
        </p:grpSpPr>
        <p:sp>
          <p:nvSpPr>
            <p:cNvPr id="6" name="Freeform 8">
              <a:extLst>
                <a:ext uri="{FF2B5EF4-FFF2-40B4-BE49-F238E27FC236}">
                  <a16:creationId xmlns:a16="http://schemas.microsoft.com/office/drawing/2014/main" id="{D294170D-9208-4629-B6E7-5BDB1C209B24}"/>
                </a:ext>
              </a:extLst>
            </p:cNvPr>
            <p:cNvSpPr>
              <a:spLocks/>
            </p:cNvSpPr>
            <p:nvPr userDrawn="1"/>
          </p:nvSpPr>
          <p:spPr bwMode="auto">
            <a:xfrm>
              <a:off x="7237413" y="0"/>
              <a:ext cx="4954588" cy="4941888"/>
            </a:xfrm>
            <a:custGeom>
              <a:avLst/>
              <a:gdLst>
                <a:gd name="T0" fmla="*/ 1501 w 1501"/>
                <a:gd name="T1" fmla="*/ 0 h 1500"/>
                <a:gd name="T2" fmla="*/ 267 w 1501"/>
                <a:gd name="T3" fmla="*/ 0 h 1500"/>
                <a:gd name="T4" fmla="*/ 517 w 1501"/>
                <a:gd name="T5" fmla="*/ 960 h 1500"/>
                <a:gd name="T6" fmla="*/ 1501 w 1501"/>
                <a:gd name="T7" fmla="*/ 1500 h 1500"/>
                <a:gd name="T8" fmla="*/ 1501 w 1501"/>
                <a:gd name="T9" fmla="*/ 0 h 1500"/>
              </a:gdLst>
              <a:ahLst/>
              <a:cxnLst>
                <a:cxn ang="0">
                  <a:pos x="T0" y="T1"/>
                </a:cxn>
                <a:cxn ang="0">
                  <a:pos x="T2" y="T3"/>
                </a:cxn>
                <a:cxn ang="0">
                  <a:pos x="T4" y="T5"/>
                </a:cxn>
                <a:cxn ang="0">
                  <a:pos x="T6" y="T7"/>
                </a:cxn>
                <a:cxn ang="0">
                  <a:pos x="T8" y="T9"/>
                </a:cxn>
              </a:cxnLst>
              <a:rect l="0" t="0" r="r" b="b"/>
              <a:pathLst>
                <a:path w="1501" h="1500">
                  <a:moveTo>
                    <a:pt x="1501" y="0"/>
                  </a:moveTo>
                  <a:cubicBezTo>
                    <a:pt x="267" y="0"/>
                    <a:pt x="267" y="0"/>
                    <a:pt x="267" y="0"/>
                  </a:cubicBezTo>
                  <a:cubicBezTo>
                    <a:pt x="102" y="234"/>
                    <a:pt x="0" y="599"/>
                    <a:pt x="517" y="960"/>
                  </a:cubicBezTo>
                  <a:cubicBezTo>
                    <a:pt x="894" y="1224"/>
                    <a:pt x="1236" y="1393"/>
                    <a:pt x="1501" y="1500"/>
                  </a:cubicBezTo>
                  <a:lnTo>
                    <a:pt x="1501" y="0"/>
                  </a:lnTo>
                  <a:close/>
                </a:path>
              </a:pathLst>
            </a:custGeom>
            <a:solidFill>
              <a:srgbClr val="113583">
                <a:alpha val="30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7" name="Freeform 7">
              <a:extLst>
                <a:ext uri="{FF2B5EF4-FFF2-40B4-BE49-F238E27FC236}">
                  <a16:creationId xmlns:a16="http://schemas.microsoft.com/office/drawing/2014/main" id="{6C73C419-FD7C-4460-95FA-136BC575F219}"/>
                </a:ext>
              </a:extLst>
            </p:cNvPr>
            <p:cNvSpPr>
              <a:spLocks/>
            </p:cNvSpPr>
            <p:nvPr userDrawn="1"/>
          </p:nvSpPr>
          <p:spPr bwMode="auto">
            <a:xfrm>
              <a:off x="7332663" y="0"/>
              <a:ext cx="4859338" cy="6351588"/>
            </a:xfrm>
            <a:custGeom>
              <a:avLst/>
              <a:gdLst>
                <a:gd name="T0" fmla="*/ 1472 w 1472"/>
                <a:gd name="T1" fmla="*/ 0 h 1928"/>
                <a:gd name="T2" fmla="*/ 372 w 1472"/>
                <a:gd name="T3" fmla="*/ 0 h 1928"/>
                <a:gd name="T4" fmla="*/ 284 w 1472"/>
                <a:gd name="T5" fmla="*/ 296 h 1928"/>
                <a:gd name="T6" fmla="*/ 404 w 1472"/>
                <a:gd name="T7" fmla="*/ 1260 h 1928"/>
                <a:gd name="T8" fmla="*/ 1140 w 1472"/>
                <a:gd name="T9" fmla="*/ 1900 h 1928"/>
                <a:gd name="T10" fmla="*/ 1472 w 1472"/>
                <a:gd name="T11" fmla="*/ 1796 h 1928"/>
                <a:gd name="T12" fmla="*/ 1472 w 1472"/>
                <a:gd name="T13" fmla="*/ 0 h 1928"/>
              </a:gdLst>
              <a:ahLst/>
              <a:cxnLst>
                <a:cxn ang="0">
                  <a:pos x="T0" y="T1"/>
                </a:cxn>
                <a:cxn ang="0">
                  <a:pos x="T2" y="T3"/>
                </a:cxn>
                <a:cxn ang="0">
                  <a:pos x="T4" y="T5"/>
                </a:cxn>
                <a:cxn ang="0">
                  <a:pos x="T6" y="T7"/>
                </a:cxn>
                <a:cxn ang="0">
                  <a:pos x="T8" y="T9"/>
                </a:cxn>
                <a:cxn ang="0">
                  <a:pos x="T10" y="T11"/>
                </a:cxn>
                <a:cxn ang="0">
                  <a:pos x="T12" y="T13"/>
                </a:cxn>
              </a:cxnLst>
              <a:rect l="0" t="0" r="r" b="b"/>
              <a:pathLst>
                <a:path w="1472" h="1928">
                  <a:moveTo>
                    <a:pt x="1472" y="0"/>
                  </a:moveTo>
                  <a:cubicBezTo>
                    <a:pt x="372" y="0"/>
                    <a:pt x="372" y="0"/>
                    <a:pt x="372" y="0"/>
                  </a:cubicBezTo>
                  <a:cubicBezTo>
                    <a:pt x="409" y="90"/>
                    <a:pt x="410" y="200"/>
                    <a:pt x="284" y="296"/>
                  </a:cubicBezTo>
                  <a:cubicBezTo>
                    <a:pt x="16" y="500"/>
                    <a:pt x="0" y="1068"/>
                    <a:pt x="404" y="1260"/>
                  </a:cubicBezTo>
                  <a:cubicBezTo>
                    <a:pt x="808" y="1452"/>
                    <a:pt x="760" y="1928"/>
                    <a:pt x="1140" y="1900"/>
                  </a:cubicBezTo>
                  <a:cubicBezTo>
                    <a:pt x="1246" y="1892"/>
                    <a:pt x="1361" y="1851"/>
                    <a:pt x="1472" y="1796"/>
                  </a:cubicBezTo>
                  <a:lnTo>
                    <a:pt x="1472" y="0"/>
                  </a:lnTo>
                  <a:close/>
                </a:path>
              </a:pathLst>
            </a:custGeom>
            <a:solidFill>
              <a:srgbClr val="113583">
                <a:alpha val="75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8" name="Freeform 6">
              <a:extLst>
                <a:ext uri="{FF2B5EF4-FFF2-40B4-BE49-F238E27FC236}">
                  <a16:creationId xmlns:a16="http://schemas.microsoft.com/office/drawing/2014/main" id="{ECD7F23E-934C-4D69-9DA4-39AE21B2C0BF}"/>
                </a:ext>
              </a:extLst>
            </p:cNvPr>
            <p:cNvSpPr>
              <a:spLocks/>
            </p:cNvSpPr>
            <p:nvPr userDrawn="1"/>
          </p:nvSpPr>
          <p:spPr bwMode="auto">
            <a:xfrm>
              <a:off x="7094538" y="0"/>
              <a:ext cx="5097463" cy="6064250"/>
            </a:xfrm>
            <a:custGeom>
              <a:avLst/>
              <a:gdLst>
                <a:gd name="T0" fmla="*/ 888 w 1544"/>
                <a:gd name="T1" fmla="*/ 112 h 1841"/>
                <a:gd name="T2" fmla="*/ 280 w 1544"/>
                <a:gd name="T3" fmla="*/ 972 h 1841"/>
                <a:gd name="T4" fmla="*/ 624 w 1544"/>
                <a:gd name="T5" fmla="*/ 1784 h 1841"/>
                <a:gd name="T6" fmla="*/ 1544 w 1544"/>
                <a:gd name="T7" fmla="*/ 1554 h 1841"/>
                <a:gd name="T8" fmla="*/ 1544 w 1544"/>
                <a:gd name="T9" fmla="*/ 0 h 1841"/>
                <a:gd name="T10" fmla="*/ 1248 w 1544"/>
                <a:gd name="T11" fmla="*/ 0 h 1841"/>
                <a:gd name="T12" fmla="*/ 888 w 1544"/>
                <a:gd name="T13" fmla="*/ 112 h 1841"/>
              </a:gdLst>
              <a:ahLst/>
              <a:cxnLst>
                <a:cxn ang="0">
                  <a:pos x="T0" y="T1"/>
                </a:cxn>
                <a:cxn ang="0">
                  <a:pos x="T2" y="T3"/>
                </a:cxn>
                <a:cxn ang="0">
                  <a:pos x="T4" y="T5"/>
                </a:cxn>
                <a:cxn ang="0">
                  <a:pos x="T6" y="T7"/>
                </a:cxn>
                <a:cxn ang="0">
                  <a:pos x="T8" y="T9"/>
                </a:cxn>
                <a:cxn ang="0">
                  <a:pos x="T10" y="T11"/>
                </a:cxn>
                <a:cxn ang="0">
                  <a:pos x="T12" y="T13"/>
                </a:cxn>
              </a:cxnLst>
              <a:rect l="0" t="0" r="r" b="b"/>
              <a:pathLst>
                <a:path w="1544" h="1841">
                  <a:moveTo>
                    <a:pt x="888" y="112"/>
                  </a:moveTo>
                  <a:cubicBezTo>
                    <a:pt x="360" y="164"/>
                    <a:pt x="256" y="764"/>
                    <a:pt x="280" y="972"/>
                  </a:cubicBezTo>
                  <a:cubicBezTo>
                    <a:pt x="304" y="1180"/>
                    <a:pt x="0" y="1696"/>
                    <a:pt x="624" y="1784"/>
                  </a:cubicBezTo>
                  <a:cubicBezTo>
                    <a:pt x="1031" y="1841"/>
                    <a:pt x="1322" y="1647"/>
                    <a:pt x="1544" y="1554"/>
                  </a:cubicBezTo>
                  <a:cubicBezTo>
                    <a:pt x="1544" y="0"/>
                    <a:pt x="1544" y="0"/>
                    <a:pt x="1544" y="0"/>
                  </a:cubicBezTo>
                  <a:cubicBezTo>
                    <a:pt x="1248" y="0"/>
                    <a:pt x="1248" y="0"/>
                    <a:pt x="1248" y="0"/>
                  </a:cubicBezTo>
                  <a:cubicBezTo>
                    <a:pt x="1170" y="52"/>
                    <a:pt x="1056" y="95"/>
                    <a:pt x="888" y="112"/>
                  </a:cubicBezTo>
                  <a:close/>
                </a:path>
              </a:pathLst>
            </a:custGeom>
            <a:solidFill>
              <a:srgbClr val="113583">
                <a:alpha val="54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9" name="Freeform 5">
              <a:extLst>
                <a:ext uri="{FF2B5EF4-FFF2-40B4-BE49-F238E27FC236}">
                  <a16:creationId xmlns:a16="http://schemas.microsoft.com/office/drawing/2014/main" id="{76E9A841-7528-46C5-B426-69BA830CFD2A}"/>
                </a:ext>
              </a:extLst>
            </p:cNvPr>
            <p:cNvSpPr>
              <a:spLocks/>
            </p:cNvSpPr>
            <p:nvPr userDrawn="1"/>
          </p:nvSpPr>
          <p:spPr bwMode="auto">
            <a:xfrm>
              <a:off x="7332663" y="231663"/>
              <a:ext cx="4859337" cy="5521325"/>
            </a:xfrm>
            <a:custGeom>
              <a:avLst/>
              <a:gdLst>
                <a:gd name="T0" fmla="*/ 1572 w 1572"/>
                <a:gd name="T1" fmla="*/ 397 h 1676"/>
                <a:gd name="T2" fmla="*/ 748 w 1572"/>
                <a:gd name="T3" fmla="*/ 192 h 1676"/>
                <a:gd name="T4" fmla="*/ 900 w 1572"/>
                <a:gd name="T5" fmla="*/ 1504 h 1676"/>
                <a:gd name="T6" fmla="*/ 1572 w 1572"/>
                <a:gd name="T7" fmla="*/ 1281 h 1676"/>
                <a:gd name="T8" fmla="*/ 1572 w 1572"/>
                <a:gd name="T9" fmla="*/ 397 h 1676"/>
              </a:gdLst>
              <a:ahLst/>
              <a:cxnLst>
                <a:cxn ang="0">
                  <a:pos x="T0" y="T1"/>
                </a:cxn>
                <a:cxn ang="0">
                  <a:pos x="T2" y="T3"/>
                </a:cxn>
                <a:cxn ang="0">
                  <a:pos x="T4" y="T5"/>
                </a:cxn>
                <a:cxn ang="0">
                  <a:pos x="T6" y="T7"/>
                </a:cxn>
                <a:cxn ang="0">
                  <a:pos x="T8" y="T9"/>
                </a:cxn>
              </a:cxnLst>
              <a:rect l="0" t="0" r="r" b="b"/>
              <a:pathLst>
                <a:path w="1572" h="1676">
                  <a:moveTo>
                    <a:pt x="1572" y="397"/>
                  </a:moveTo>
                  <a:cubicBezTo>
                    <a:pt x="1343" y="225"/>
                    <a:pt x="964" y="0"/>
                    <a:pt x="748" y="192"/>
                  </a:cubicBezTo>
                  <a:cubicBezTo>
                    <a:pt x="424" y="480"/>
                    <a:pt x="0" y="1676"/>
                    <a:pt x="900" y="1504"/>
                  </a:cubicBezTo>
                  <a:cubicBezTo>
                    <a:pt x="1201" y="1447"/>
                    <a:pt x="1417" y="1364"/>
                    <a:pt x="1572" y="1281"/>
                  </a:cubicBezTo>
                  <a:lnTo>
                    <a:pt x="1572" y="397"/>
                  </a:lnTo>
                  <a:close/>
                </a:path>
              </a:pathLst>
            </a:custGeom>
            <a:solidFill>
              <a:srgbClr val="263183">
                <a:alpha val="28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 name="Freeform 5">
              <a:extLst>
                <a:ext uri="{FF2B5EF4-FFF2-40B4-BE49-F238E27FC236}">
                  <a16:creationId xmlns:a16="http://schemas.microsoft.com/office/drawing/2014/main" id="{3546EDC0-8B2B-4604-A581-B31898B1DE1A}"/>
                </a:ext>
              </a:extLst>
            </p:cNvPr>
            <p:cNvSpPr>
              <a:spLocks/>
            </p:cNvSpPr>
            <p:nvPr userDrawn="1"/>
          </p:nvSpPr>
          <p:spPr bwMode="auto">
            <a:xfrm>
              <a:off x="7002463" y="487363"/>
              <a:ext cx="5189538" cy="5521325"/>
            </a:xfrm>
            <a:custGeom>
              <a:avLst/>
              <a:gdLst>
                <a:gd name="T0" fmla="*/ 1572 w 1572"/>
                <a:gd name="T1" fmla="*/ 397 h 1676"/>
                <a:gd name="T2" fmla="*/ 748 w 1572"/>
                <a:gd name="T3" fmla="*/ 192 h 1676"/>
                <a:gd name="T4" fmla="*/ 900 w 1572"/>
                <a:gd name="T5" fmla="*/ 1504 h 1676"/>
                <a:gd name="T6" fmla="*/ 1572 w 1572"/>
                <a:gd name="T7" fmla="*/ 1281 h 1676"/>
                <a:gd name="T8" fmla="*/ 1572 w 1572"/>
                <a:gd name="T9" fmla="*/ 397 h 1676"/>
              </a:gdLst>
              <a:ahLst/>
              <a:cxnLst>
                <a:cxn ang="0">
                  <a:pos x="T0" y="T1"/>
                </a:cxn>
                <a:cxn ang="0">
                  <a:pos x="T2" y="T3"/>
                </a:cxn>
                <a:cxn ang="0">
                  <a:pos x="T4" y="T5"/>
                </a:cxn>
                <a:cxn ang="0">
                  <a:pos x="T6" y="T7"/>
                </a:cxn>
                <a:cxn ang="0">
                  <a:pos x="T8" y="T9"/>
                </a:cxn>
              </a:cxnLst>
              <a:rect l="0" t="0" r="r" b="b"/>
              <a:pathLst>
                <a:path w="1572" h="1676">
                  <a:moveTo>
                    <a:pt x="1572" y="397"/>
                  </a:moveTo>
                  <a:cubicBezTo>
                    <a:pt x="1343" y="225"/>
                    <a:pt x="964" y="0"/>
                    <a:pt x="748" y="192"/>
                  </a:cubicBezTo>
                  <a:cubicBezTo>
                    <a:pt x="424" y="480"/>
                    <a:pt x="0" y="1676"/>
                    <a:pt x="900" y="1504"/>
                  </a:cubicBezTo>
                  <a:cubicBezTo>
                    <a:pt x="1201" y="1447"/>
                    <a:pt x="1417" y="1364"/>
                    <a:pt x="1572" y="1281"/>
                  </a:cubicBezTo>
                  <a:lnTo>
                    <a:pt x="1572" y="397"/>
                  </a:lnTo>
                  <a:close/>
                </a:path>
              </a:pathLst>
            </a:custGeom>
            <a:solidFill>
              <a:srgbClr val="113583"/>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1" name="标题 4">
            <a:extLst>
              <a:ext uri="{FF2B5EF4-FFF2-40B4-BE49-F238E27FC236}">
                <a16:creationId xmlns:a16="http://schemas.microsoft.com/office/drawing/2014/main" id="{D2AF9585-2FA9-4606-BD0E-33ECAF4F446F}"/>
              </a:ext>
            </a:extLst>
          </p:cNvPr>
          <p:cNvSpPr txBox="1">
            <a:spLocks/>
          </p:cNvSpPr>
          <p:nvPr/>
        </p:nvSpPr>
        <p:spPr>
          <a:xfrm>
            <a:off x="6098600" y="3061975"/>
            <a:ext cx="5189538" cy="371021"/>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2000" dirty="0"/>
              <a:t>处理设计模式变体检索的设计模式恢复方法</a:t>
            </a:r>
          </a:p>
        </p:txBody>
      </p:sp>
      <p:sp>
        <p:nvSpPr>
          <p:cNvPr id="12" name="文本占位符 5">
            <a:extLst>
              <a:ext uri="{FF2B5EF4-FFF2-40B4-BE49-F238E27FC236}">
                <a16:creationId xmlns:a16="http://schemas.microsoft.com/office/drawing/2014/main" id="{59DA6087-12C3-4996-8811-38F22099E198}"/>
              </a:ext>
            </a:extLst>
          </p:cNvPr>
          <p:cNvSpPr txBox="1">
            <a:spLocks/>
          </p:cNvSpPr>
          <p:nvPr/>
        </p:nvSpPr>
        <p:spPr>
          <a:xfrm>
            <a:off x="6099715" y="3553279"/>
            <a:ext cx="5419185" cy="371021"/>
          </a:xfrm>
          <a:prstGeom prst="rect">
            <a:avLst/>
          </a:prstGeom>
        </p:spPr>
        <p:txBody>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000" dirty="0"/>
              <a:t>A design pattern recovery method that deals with variant retrieval of design patterns</a:t>
            </a:r>
          </a:p>
        </p:txBody>
      </p:sp>
      <p:sp>
        <p:nvSpPr>
          <p:cNvPr id="13" name="文本框 12">
            <a:extLst>
              <a:ext uri="{FF2B5EF4-FFF2-40B4-BE49-F238E27FC236}">
                <a16:creationId xmlns:a16="http://schemas.microsoft.com/office/drawing/2014/main" id="{D7DB50D5-9612-4C1A-839F-3B1FABB41201}"/>
              </a:ext>
            </a:extLst>
          </p:cNvPr>
          <p:cNvSpPr txBox="1"/>
          <p:nvPr/>
        </p:nvSpPr>
        <p:spPr>
          <a:xfrm>
            <a:off x="673100" y="2622086"/>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lumMod val="20000"/>
                    <a:lumOff val="80000"/>
                  </a:schemeClr>
                </a:solidFill>
                <a:latin typeface="Impact" panose="020B0806030902050204" pitchFamily="34" charset="0"/>
                <a:cs typeface="Arial" panose="020B0604020202020204" pitchFamily="34" charset="0"/>
              </a:rPr>
              <a:t>/01</a:t>
            </a:r>
            <a:endParaRPr lang="zh-CN" altLang="en-US" spc="100" dirty="0">
              <a:solidFill>
                <a:schemeClr val="accent1">
                  <a:lumMod val="20000"/>
                  <a:lumOff val="80000"/>
                </a:schemeClr>
              </a:solidFill>
              <a:latin typeface="Impact" panose="020B0806030902050204" pitchFamily="34" charset="0"/>
              <a:cs typeface="Arial" panose="020B0604020202020204" pitchFamily="34" charset="0"/>
            </a:endParaRPr>
          </a:p>
        </p:txBody>
      </p:sp>
      <p:sp>
        <p:nvSpPr>
          <p:cNvPr id="15" name="ïṥḷiḋê">
            <a:extLst>
              <a:ext uri="{FF2B5EF4-FFF2-40B4-BE49-F238E27FC236}">
                <a16:creationId xmlns:a16="http://schemas.microsoft.com/office/drawing/2014/main" id="{CD11E675-279E-4704-BE34-8C9B25FE7A7B}"/>
              </a:ext>
            </a:extLst>
          </p:cNvPr>
          <p:cNvSpPr/>
          <p:nvPr/>
        </p:nvSpPr>
        <p:spPr bwMode="auto">
          <a:xfrm>
            <a:off x="5079951" y="3097182"/>
            <a:ext cx="944086" cy="912194"/>
          </a:xfrm>
          <a:custGeom>
            <a:avLst/>
            <a:gdLst>
              <a:gd name="connsiteX0" fmla="*/ 72559 w 588712"/>
              <a:gd name="connsiteY0" fmla="*/ 332808 h 568825"/>
              <a:gd name="connsiteX1" fmla="*/ 60082 w 588712"/>
              <a:gd name="connsiteY1" fmla="*/ 337644 h 568825"/>
              <a:gd name="connsiteX2" fmla="*/ 54211 w 588712"/>
              <a:gd name="connsiteY2" fmla="*/ 344678 h 568825"/>
              <a:gd name="connsiteX3" fmla="*/ 48340 w 588712"/>
              <a:gd name="connsiteY3" fmla="*/ 370471 h 568825"/>
              <a:gd name="connsiteX4" fmla="*/ 64779 w 588712"/>
              <a:gd name="connsiteY4" fmla="*/ 372815 h 568825"/>
              <a:gd name="connsiteX5" fmla="*/ 89439 w 588712"/>
              <a:gd name="connsiteY5" fmla="*/ 348196 h 568825"/>
              <a:gd name="connsiteX6" fmla="*/ 85916 w 588712"/>
              <a:gd name="connsiteY6" fmla="*/ 334127 h 568825"/>
              <a:gd name="connsiteX7" fmla="*/ 72559 w 588712"/>
              <a:gd name="connsiteY7" fmla="*/ 332808 h 568825"/>
              <a:gd name="connsiteX8" fmla="*/ 63605 w 588712"/>
              <a:gd name="connsiteY8" fmla="*/ 320058 h 568825"/>
              <a:gd name="connsiteX9" fmla="*/ 49514 w 588712"/>
              <a:gd name="connsiteY9" fmla="*/ 325920 h 568825"/>
              <a:gd name="connsiteX10" fmla="*/ 48340 w 588712"/>
              <a:gd name="connsiteY10" fmla="*/ 325920 h 568825"/>
              <a:gd name="connsiteX11" fmla="*/ 38945 w 588712"/>
              <a:gd name="connsiteY11" fmla="*/ 341161 h 568825"/>
              <a:gd name="connsiteX12" fmla="*/ 38945 w 588712"/>
              <a:gd name="connsiteY12" fmla="*/ 343506 h 568825"/>
              <a:gd name="connsiteX13" fmla="*/ 41294 w 588712"/>
              <a:gd name="connsiteY13" fmla="*/ 348196 h 568825"/>
              <a:gd name="connsiteX14" fmla="*/ 54211 w 588712"/>
              <a:gd name="connsiteY14" fmla="*/ 342334 h 568825"/>
              <a:gd name="connsiteX15" fmla="*/ 58908 w 588712"/>
              <a:gd name="connsiteY15" fmla="*/ 337644 h 568825"/>
              <a:gd name="connsiteX16" fmla="*/ 69476 w 588712"/>
              <a:gd name="connsiteY16" fmla="*/ 325920 h 568825"/>
              <a:gd name="connsiteX17" fmla="*/ 67128 w 588712"/>
              <a:gd name="connsiteY17" fmla="*/ 324748 h 568825"/>
              <a:gd name="connsiteX18" fmla="*/ 63605 w 588712"/>
              <a:gd name="connsiteY18" fmla="*/ 320058 h 568825"/>
              <a:gd name="connsiteX19" fmla="*/ 259391 w 588712"/>
              <a:gd name="connsiteY19" fmla="*/ 293003 h 568825"/>
              <a:gd name="connsiteX20" fmla="*/ 256171 w 588712"/>
              <a:gd name="connsiteY20" fmla="*/ 298993 h 568825"/>
              <a:gd name="connsiteX21" fmla="*/ 242121 w 588712"/>
              <a:gd name="connsiteY21" fmla="*/ 314189 h 568825"/>
              <a:gd name="connsiteX22" fmla="*/ 228072 w 588712"/>
              <a:gd name="connsiteY22" fmla="*/ 325877 h 568825"/>
              <a:gd name="connsiteX23" fmla="*/ 225730 w 588712"/>
              <a:gd name="connsiteY23" fmla="*/ 322371 h 568825"/>
              <a:gd name="connsiteX24" fmla="*/ 253829 w 588712"/>
              <a:gd name="connsiteY24" fmla="*/ 296655 h 568825"/>
              <a:gd name="connsiteX25" fmla="*/ 259391 w 588712"/>
              <a:gd name="connsiteY25" fmla="*/ 293003 h 568825"/>
              <a:gd name="connsiteX26" fmla="*/ 55238 w 588712"/>
              <a:gd name="connsiteY26" fmla="*/ 274336 h 568825"/>
              <a:gd name="connsiteX27" fmla="*/ 48340 w 588712"/>
              <a:gd name="connsiteY27" fmla="*/ 277853 h 568825"/>
              <a:gd name="connsiteX28" fmla="*/ 42468 w 588712"/>
              <a:gd name="connsiteY28" fmla="*/ 283715 h 568825"/>
              <a:gd name="connsiteX29" fmla="*/ 31900 w 588712"/>
              <a:gd name="connsiteY29" fmla="*/ 308335 h 568825"/>
              <a:gd name="connsiteX30" fmla="*/ 44817 w 588712"/>
              <a:gd name="connsiteY30" fmla="*/ 309507 h 568825"/>
              <a:gd name="connsiteX31" fmla="*/ 45991 w 588712"/>
              <a:gd name="connsiteY31" fmla="*/ 307162 h 568825"/>
              <a:gd name="connsiteX32" fmla="*/ 57734 w 588712"/>
              <a:gd name="connsiteY32" fmla="*/ 281370 h 568825"/>
              <a:gd name="connsiteX33" fmla="*/ 55238 w 588712"/>
              <a:gd name="connsiteY33" fmla="*/ 274336 h 568825"/>
              <a:gd name="connsiteX34" fmla="*/ 550927 w 588712"/>
              <a:gd name="connsiteY34" fmla="*/ 251475 h 568825"/>
              <a:gd name="connsiteX35" fmla="*/ 542707 w 588712"/>
              <a:gd name="connsiteY35" fmla="*/ 254405 h 568825"/>
              <a:gd name="connsiteX36" fmla="*/ 534487 w 588712"/>
              <a:gd name="connsiteY36" fmla="*/ 281370 h 568825"/>
              <a:gd name="connsiteX37" fmla="*/ 534487 w 588712"/>
              <a:gd name="connsiteY37" fmla="*/ 287232 h 568825"/>
              <a:gd name="connsiteX38" fmla="*/ 539184 w 588712"/>
              <a:gd name="connsiteY38" fmla="*/ 295439 h 568825"/>
              <a:gd name="connsiteX39" fmla="*/ 547404 w 588712"/>
              <a:gd name="connsiteY39" fmla="*/ 287232 h 568825"/>
              <a:gd name="connsiteX40" fmla="*/ 552101 w 588712"/>
              <a:gd name="connsiteY40" fmla="*/ 281370 h 568825"/>
              <a:gd name="connsiteX41" fmla="*/ 555624 w 588712"/>
              <a:gd name="connsiteY41" fmla="*/ 260267 h 568825"/>
              <a:gd name="connsiteX42" fmla="*/ 555624 w 588712"/>
              <a:gd name="connsiteY42" fmla="*/ 259095 h 568825"/>
              <a:gd name="connsiteX43" fmla="*/ 550927 w 588712"/>
              <a:gd name="connsiteY43" fmla="*/ 251475 h 568825"/>
              <a:gd name="connsiteX44" fmla="*/ 279896 w 588712"/>
              <a:gd name="connsiteY44" fmla="*/ 233952 h 568825"/>
              <a:gd name="connsiteX45" fmla="*/ 281948 w 588712"/>
              <a:gd name="connsiteY45" fmla="*/ 235565 h 568825"/>
              <a:gd name="connsiteX46" fmla="*/ 270224 w 588712"/>
              <a:gd name="connsiteY46" fmla="*/ 251985 h 568825"/>
              <a:gd name="connsiteX47" fmla="*/ 191671 w 588712"/>
              <a:gd name="connsiteY47" fmla="*/ 324705 h 568825"/>
              <a:gd name="connsiteX48" fmla="*/ 179947 w 588712"/>
              <a:gd name="connsiteY48" fmla="*/ 334088 h 568825"/>
              <a:gd name="connsiteX49" fmla="*/ 189327 w 588712"/>
              <a:gd name="connsiteY49" fmla="*/ 322359 h 568825"/>
              <a:gd name="connsiteX50" fmla="*/ 272568 w 588712"/>
              <a:gd name="connsiteY50" fmla="*/ 240256 h 568825"/>
              <a:gd name="connsiteX51" fmla="*/ 279896 w 588712"/>
              <a:gd name="connsiteY51" fmla="*/ 233952 h 568825"/>
              <a:gd name="connsiteX52" fmla="*/ 279084 w 588712"/>
              <a:gd name="connsiteY52" fmla="*/ 183770 h 568825"/>
              <a:gd name="connsiteX53" fmla="*/ 267928 w 588712"/>
              <a:gd name="connsiteY53" fmla="*/ 188752 h 568825"/>
              <a:gd name="connsiteX54" fmla="*/ 215086 w 588712"/>
              <a:gd name="connsiteY54" fmla="*/ 242682 h 568825"/>
              <a:gd name="connsiteX55" fmla="*/ 198646 w 588712"/>
              <a:gd name="connsiteY55" fmla="*/ 268474 h 568825"/>
              <a:gd name="connsiteX56" fmla="*/ 168115 w 588712"/>
              <a:gd name="connsiteY56" fmla="*/ 309507 h 568825"/>
              <a:gd name="connsiteX57" fmla="*/ 122319 w 588712"/>
              <a:gd name="connsiteY57" fmla="*/ 335299 h 568825"/>
              <a:gd name="connsiteX58" fmla="*/ 108227 w 588712"/>
              <a:gd name="connsiteY58" fmla="*/ 344678 h 568825"/>
              <a:gd name="connsiteX59" fmla="*/ 98833 w 588712"/>
              <a:gd name="connsiteY59" fmla="*/ 362264 h 568825"/>
              <a:gd name="connsiteX60" fmla="*/ 72999 w 588712"/>
              <a:gd name="connsiteY60" fmla="*/ 389229 h 568825"/>
              <a:gd name="connsiteX61" fmla="*/ 69476 w 588712"/>
              <a:gd name="connsiteY61" fmla="*/ 413849 h 568825"/>
              <a:gd name="connsiteX62" fmla="*/ 82393 w 588712"/>
              <a:gd name="connsiteY62" fmla="*/ 434951 h 568825"/>
              <a:gd name="connsiteX63" fmla="*/ 102356 w 588712"/>
              <a:gd name="connsiteY63" fmla="*/ 436124 h 568825"/>
              <a:gd name="connsiteX64" fmla="*/ 118796 w 588712"/>
              <a:gd name="connsiteY64" fmla="*/ 420883 h 568825"/>
              <a:gd name="connsiteX65" fmla="*/ 135236 w 588712"/>
              <a:gd name="connsiteY65" fmla="*/ 419710 h 568825"/>
              <a:gd name="connsiteX66" fmla="*/ 128190 w 588712"/>
              <a:gd name="connsiteY66" fmla="*/ 438468 h 568825"/>
              <a:gd name="connsiteX67" fmla="*/ 114099 w 588712"/>
              <a:gd name="connsiteY67" fmla="*/ 451365 h 568825"/>
              <a:gd name="connsiteX68" fmla="*/ 110576 w 588712"/>
              <a:gd name="connsiteY68" fmla="*/ 470123 h 568825"/>
              <a:gd name="connsiteX69" fmla="*/ 129364 w 588712"/>
              <a:gd name="connsiteY69" fmla="*/ 467778 h 568825"/>
              <a:gd name="connsiteX70" fmla="*/ 139933 w 588712"/>
              <a:gd name="connsiteY70" fmla="*/ 457226 h 568825"/>
              <a:gd name="connsiteX71" fmla="*/ 152850 w 588712"/>
              <a:gd name="connsiteY71" fmla="*/ 447847 h 568825"/>
              <a:gd name="connsiteX72" fmla="*/ 142281 w 588712"/>
              <a:gd name="connsiteY72" fmla="*/ 460744 h 568825"/>
              <a:gd name="connsiteX73" fmla="*/ 132887 w 588712"/>
              <a:gd name="connsiteY73" fmla="*/ 470123 h 568825"/>
              <a:gd name="connsiteX74" fmla="*/ 134061 w 588712"/>
              <a:gd name="connsiteY74" fmla="*/ 492398 h 568825"/>
              <a:gd name="connsiteX75" fmla="*/ 151675 w 588712"/>
              <a:gd name="connsiteY75" fmla="*/ 506466 h 568825"/>
              <a:gd name="connsiteX76" fmla="*/ 176335 w 588712"/>
              <a:gd name="connsiteY76" fmla="*/ 505294 h 568825"/>
              <a:gd name="connsiteX77" fmla="*/ 178683 w 588712"/>
              <a:gd name="connsiteY77" fmla="*/ 502949 h 568825"/>
              <a:gd name="connsiteX78" fmla="*/ 196298 w 588712"/>
              <a:gd name="connsiteY78" fmla="*/ 497087 h 568825"/>
              <a:gd name="connsiteX79" fmla="*/ 191600 w 588712"/>
              <a:gd name="connsiteY79" fmla="*/ 513500 h 568825"/>
              <a:gd name="connsiteX80" fmla="*/ 195123 w 588712"/>
              <a:gd name="connsiteY80" fmla="*/ 532258 h 568825"/>
              <a:gd name="connsiteX81" fmla="*/ 212737 w 588712"/>
              <a:gd name="connsiteY81" fmla="*/ 539293 h 568825"/>
              <a:gd name="connsiteX82" fmla="*/ 235049 w 588712"/>
              <a:gd name="connsiteY82" fmla="*/ 536948 h 568825"/>
              <a:gd name="connsiteX83" fmla="*/ 256186 w 588712"/>
              <a:gd name="connsiteY83" fmla="*/ 538120 h 568825"/>
              <a:gd name="connsiteX84" fmla="*/ 257360 w 588712"/>
              <a:gd name="connsiteY84" fmla="*/ 538120 h 568825"/>
              <a:gd name="connsiteX85" fmla="*/ 267928 w 588712"/>
              <a:gd name="connsiteY85" fmla="*/ 548672 h 568825"/>
              <a:gd name="connsiteX86" fmla="*/ 279671 w 588712"/>
              <a:gd name="connsiteY86" fmla="*/ 554534 h 568825"/>
              <a:gd name="connsiteX87" fmla="*/ 339559 w 588712"/>
              <a:gd name="connsiteY87" fmla="*/ 551016 h 568825"/>
              <a:gd name="connsiteX88" fmla="*/ 546230 w 588712"/>
              <a:gd name="connsiteY88" fmla="*/ 363436 h 568825"/>
              <a:gd name="connsiteX89" fmla="*/ 547404 w 588712"/>
              <a:gd name="connsiteY89" fmla="*/ 347023 h 568825"/>
              <a:gd name="connsiteX90" fmla="*/ 543881 w 588712"/>
              <a:gd name="connsiteY90" fmla="*/ 345851 h 568825"/>
              <a:gd name="connsiteX91" fmla="*/ 536836 w 588712"/>
              <a:gd name="connsiteY91" fmla="*/ 342334 h 568825"/>
              <a:gd name="connsiteX92" fmla="*/ 541533 w 588712"/>
              <a:gd name="connsiteY92" fmla="*/ 327093 h 568825"/>
              <a:gd name="connsiteX93" fmla="*/ 546230 w 588712"/>
              <a:gd name="connsiteY93" fmla="*/ 322403 h 568825"/>
              <a:gd name="connsiteX94" fmla="*/ 557973 w 588712"/>
              <a:gd name="connsiteY94" fmla="*/ 298956 h 568825"/>
              <a:gd name="connsiteX95" fmla="*/ 547404 w 588712"/>
              <a:gd name="connsiteY95" fmla="*/ 297783 h 568825"/>
              <a:gd name="connsiteX96" fmla="*/ 535662 w 588712"/>
              <a:gd name="connsiteY96" fmla="*/ 309507 h 568825"/>
              <a:gd name="connsiteX97" fmla="*/ 520396 w 588712"/>
              <a:gd name="connsiteY97" fmla="*/ 328265 h 568825"/>
              <a:gd name="connsiteX98" fmla="*/ 514525 w 588712"/>
              <a:gd name="connsiteY98" fmla="*/ 334127 h 568825"/>
              <a:gd name="connsiteX99" fmla="*/ 406492 w 588712"/>
              <a:gd name="connsiteY99" fmla="*/ 318886 h 568825"/>
              <a:gd name="connsiteX100" fmla="*/ 290239 w 588712"/>
              <a:gd name="connsiteY100" fmla="*/ 187580 h 568825"/>
              <a:gd name="connsiteX101" fmla="*/ 279084 w 588712"/>
              <a:gd name="connsiteY101" fmla="*/ 183770 h 568825"/>
              <a:gd name="connsiteX102" fmla="*/ 522598 w 588712"/>
              <a:gd name="connsiteY102" fmla="*/ 165891 h 568825"/>
              <a:gd name="connsiteX103" fmla="*/ 513350 w 588712"/>
              <a:gd name="connsiteY103" fmla="*/ 168822 h 568825"/>
              <a:gd name="connsiteX104" fmla="*/ 509828 w 588712"/>
              <a:gd name="connsiteY104" fmla="*/ 192270 h 568825"/>
              <a:gd name="connsiteX105" fmla="*/ 525093 w 588712"/>
              <a:gd name="connsiteY105" fmla="*/ 229786 h 568825"/>
              <a:gd name="connsiteX106" fmla="*/ 539184 w 588712"/>
              <a:gd name="connsiteY106" fmla="*/ 234475 h 568825"/>
              <a:gd name="connsiteX107" fmla="*/ 545056 w 588712"/>
              <a:gd name="connsiteY107" fmla="*/ 209855 h 568825"/>
              <a:gd name="connsiteX108" fmla="*/ 530965 w 588712"/>
              <a:gd name="connsiteY108" fmla="*/ 173512 h 568825"/>
              <a:gd name="connsiteX109" fmla="*/ 522598 w 588712"/>
              <a:gd name="connsiteY109" fmla="*/ 165891 h 568825"/>
              <a:gd name="connsiteX110" fmla="*/ 231673 w 588712"/>
              <a:gd name="connsiteY110" fmla="*/ 152556 h 568825"/>
              <a:gd name="connsiteX111" fmla="*/ 219783 w 588712"/>
              <a:gd name="connsiteY111" fmla="*/ 158271 h 568825"/>
              <a:gd name="connsiteX112" fmla="*/ 210389 w 588712"/>
              <a:gd name="connsiteY112" fmla="*/ 184063 h 568825"/>
              <a:gd name="connsiteX113" fmla="*/ 211563 w 588712"/>
              <a:gd name="connsiteY113" fmla="*/ 212200 h 568825"/>
              <a:gd name="connsiteX114" fmla="*/ 213912 w 588712"/>
              <a:gd name="connsiteY114" fmla="*/ 225096 h 568825"/>
              <a:gd name="connsiteX115" fmla="*/ 217434 w 588712"/>
              <a:gd name="connsiteY115" fmla="*/ 221579 h 568825"/>
              <a:gd name="connsiteX116" fmla="*/ 258534 w 588712"/>
              <a:gd name="connsiteY116" fmla="*/ 181718 h 568825"/>
              <a:gd name="connsiteX117" fmla="*/ 257360 w 588712"/>
              <a:gd name="connsiteY117" fmla="*/ 162960 h 568825"/>
              <a:gd name="connsiteX118" fmla="*/ 244443 w 588712"/>
              <a:gd name="connsiteY118" fmla="*/ 154754 h 568825"/>
              <a:gd name="connsiteX119" fmla="*/ 231673 w 588712"/>
              <a:gd name="connsiteY119" fmla="*/ 152556 h 568825"/>
              <a:gd name="connsiteX120" fmla="*/ 501608 w 588712"/>
              <a:gd name="connsiteY120" fmla="*/ 147719 h 568825"/>
              <a:gd name="connsiteX121" fmla="*/ 496911 w 588712"/>
              <a:gd name="connsiteY121" fmla="*/ 166477 h 568825"/>
              <a:gd name="connsiteX122" fmla="*/ 511002 w 588712"/>
              <a:gd name="connsiteY122" fmla="*/ 165305 h 568825"/>
              <a:gd name="connsiteX123" fmla="*/ 515699 w 588712"/>
              <a:gd name="connsiteY123" fmla="*/ 147719 h 568825"/>
              <a:gd name="connsiteX124" fmla="*/ 501608 w 588712"/>
              <a:gd name="connsiteY124" fmla="*/ 147719 h 568825"/>
              <a:gd name="connsiteX125" fmla="*/ 212737 w 588712"/>
              <a:gd name="connsiteY125" fmla="*/ 138340 h 568825"/>
              <a:gd name="connsiteX126" fmla="*/ 206866 w 588712"/>
              <a:gd name="connsiteY126" fmla="*/ 145375 h 568825"/>
              <a:gd name="connsiteX127" fmla="*/ 212737 w 588712"/>
              <a:gd name="connsiteY127" fmla="*/ 147719 h 568825"/>
              <a:gd name="connsiteX128" fmla="*/ 212737 w 588712"/>
              <a:gd name="connsiteY128" fmla="*/ 138340 h 568825"/>
              <a:gd name="connsiteX129" fmla="*/ 487370 w 588712"/>
              <a:gd name="connsiteY129" fmla="*/ 113427 h 568825"/>
              <a:gd name="connsiteX130" fmla="*/ 476948 w 588712"/>
              <a:gd name="connsiteY130" fmla="*/ 116065 h 568825"/>
              <a:gd name="connsiteX131" fmla="*/ 473425 w 588712"/>
              <a:gd name="connsiteY131" fmla="*/ 132478 h 568825"/>
              <a:gd name="connsiteX132" fmla="*/ 479297 w 588712"/>
              <a:gd name="connsiteY132" fmla="*/ 139513 h 568825"/>
              <a:gd name="connsiteX133" fmla="*/ 483994 w 588712"/>
              <a:gd name="connsiteY133" fmla="*/ 146547 h 568825"/>
              <a:gd name="connsiteX134" fmla="*/ 498085 w 588712"/>
              <a:gd name="connsiteY134" fmla="*/ 144202 h 568825"/>
              <a:gd name="connsiteX135" fmla="*/ 499259 w 588712"/>
              <a:gd name="connsiteY135" fmla="*/ 144202 h 568825"/>
              <a:gd name="connsiteX136" fmla="*/ 498085 w 588712"/>
              <a:gd name="connsiteY136" fmla="*/ 144202 h 568825"/>
              <a:gd name="connsiteX137" fmla="*/ 499259 w 588712"/>
              <a:gd name="connsiteY137" fmla="*/ 121927 h 568825"/>
              <a:gd name="connsiteX138" fmla="*/ 496911 w 588712"/>
              <a:gd name="connsiteY138" fmla="*/ 119582 h 568825"/>
              <a:gd name="connsiteX139" fmla="*/ 487370 w 588712"/>
              <a:gd name="connsiteY139" fmla="*/ 113427 h 568825"/>
              <a:gd name="connsiteX140" fmla="*/ 279524 w 588712"/>
              <a:gd name="connsiteY140" fmla="*/ 71955 h 568825"/>
              <a:gd name="connsiteX141" fmla="*/ 144630 w 588712"/>
              <a:gd name="connsiteY141" fmla="*/ 135996 h 568825"/>
              <a:gd name="connsiteX142" fmla="*/ 87091 w 588712"/>
              <a:gd name="connsiteY142" fmla="*/ 282542 h 568825"/>
              <a:gd name="connsiteX143" fmla="*/ 105879 w 588712"/>
              <a:gd name="connsiteY143" fmla="*/ 302473 h 568825"/>
              <a:gd name="connsiteX144" fmla="*/ 175161 w 588712"/>
              <a:gd name="connsiteY144" fmla="*/ 257923 h 568825"/>
              <a:gd name="connsiteX145" fmla="*/ 177509 w 588712"/>
              <a:gd name="connsiteY145" fmla="*/ 246199 h 568825"/>
              <a:gd name="connsiteX146" fmla="*/ 182206 w 588712"/>
              <a:gd name="connsiteY146" fmla="*/ 219234 h 568825"/>
              <a:gd name="connsiteX147" fmla="*/ 181032 w 588712"/>
              <a:gd name="connsiteY147" fmla="*/ 141857 h 568825"/>
              <a:gd name="connsiteX148" fmla="*/ 186903 w 588712"/>
              <a:gd name="connsiteY148" fmla="*/ 120755 h 568825"/>
              <a:gd name="connsiteX149" fmla="*/ 193949 w 588712"/>
              <a:gd name="connsiteY149" fmla="*/ 118410 h 568825"/>
              <a:gd name="connsiteX150" fmla="*/ 205692 w 588712"/>
              <a:gd name="connsiteY150" fmla="*/ 116065 h 568825"/>
              <a:gd name="connsiteX151" fmla="*/ 210389 w 588712"/>
              <a:gd name="connsiteY151" fmla="*/ 116065 h 568825"/>
              <a:gd name="connsiteX152" fmla="*/ 405318 w 588712"/>
              <a:gd name="connsiteY152" fmla="*/ 268474 h 568825"/>
              <a:gd name="connsiteX153" fmla="*/ 452288 w 588712"/>
              <a:gd name="connsiteY153" fmla="*/ 323576 h 568825"/>
              <a:gd name="connsiteX154" fmla="*/ 496911 w 588712"/>
              <a:gd name="connsiteY154" fmla="*/ 260267 h 568825"/>
              <a:gd name="connsiteX155" fmla="*/ 420583 w 588712"/>
              <a:gd name="connsiteY155" fmla="*/ 119582 h 568825"/>
              <a:gd name="connsiteX156" fmla="*/ 279524 w 588712"/>
              <a:gd name="connsiteY156" fmla="*/ 71955 h 568825"/>
              <a:gd name="connsiteX157" fmla="*/ 186903 w 588712"/>
              <a:gd name="connsiteY157" fmla="*/ 41033 h 568825"/>
              <a:gd name="connsiteX158" fmla="*/ 179858 w 588712"/>
              <a:gd name="connsiteY158" fmla="*/ 42206 h 568825"/>
              <a:gd name="connsiteX159" fmla="*/ 56560 w 588712"/>
              <a:gd name="connsiteY159" fmla="*/ 166477 h 568825"/>
              <a:gd name="connsiteX160" fmla="*/ 61257 w 588712"/>
              <a:gd name="connsiteY160" fmla="*/ 169994 h 568825"/>
              <a:gd name="connsiteX161" fmla="*/ 183381 w 588712"/>
              <a:gd name="connsiteY161" fmla="*/ 46895 h 568825"/>
              <a:gd name="connsiteX162" fmla="*/ 186903 w 588712"/>
              <a:gd name="connsiteY162" fmla="*/ 41033 h 568825"/>
              <a:gd name="connsiteX163" fmla="*/ 266754 w 588712"/>
              <a:gd name="connsiteY163" fmla="*/ 16413 h 568825"/>
              <a:gd name="connsiteX164" fmla="*/ 231526 w 588712"/>
              <a:gd name="connsiteY164" fmla="*/ 23448 h 568825"/>
              <a:gd name="connsiteX165" fmla="*/ 204517 w 588712"/>
              <a:gd name="connsiteY165" fmla="*/ 38688 h 568825"/>
              <a:gd name="connsiteX166" fmla="*/ 104705 w 588712"/>
              <a:gd name="connsiteY166" fmla="*/ 139513 h 568825"/>
              <a:gd name="connsiteX167" fmla="*/ 55385 w 588712"/>
              <a:gd name="connsiteY167" fmla="*/ 187580 h 568825"/>
              <a:gd name="connsiteX168" fmla="*/ 38945 w 588712"/>
              <a:gd name="connsiteY168" fmla="*/ 213372 h 568825"/>
              <a:gd name="connsiteX169" fmla="*/ 33074 w 588712"/>
              <a:gd name="connsiteY169" fmla="*/ 243854 h 568825"/>
              <a:gd name="connsiteX170" fmla="*/ 42468 w 588712"/>
              <a:gd name="connsiteY170" fmla="*/ 248544 h 568825"/>
              <a:gd name="connsiteX171" fmla="*/ 57734 w 588712"/>
              <a:gd name="connsiteY171" fmla="*/ 233303 h 568825"/>
              <a:gd name="connsiteX172" fmla="*/ 70651 w 588712"/>
              <a:gd name="connsiteY172" fmla="*/ 218062 h 568825"/>
              <a:gd name="connsiteX173" fmla="*/ 71825 w 588712"/>
              <a:gd name="connsiteY173" fmla="*/ 214545 h 568825"/>
              <a:gd name="connsiteX174" fmla="*/ 132887 w 588712"/>
              <a:gd name="connsiteY174" fmla="*/ 121927 h 568825"/>
              <a:gd name="connsiteX175" fmla="*/ 276148 w 588712"/>
              <a:gd name="connsiteY175" fmla="*/ 57446 h 568825"/>
              <a:gd name="connsiteX176" fmla="*/ 361870 w 588712"/>
              <a:gd name="connsiteY176" fmla="*/ 65653 h 568825"/>
              <a:gd name="connsiteX177" fmla="*/ 379484 w 588712"/>
              <a:gd name="connsiteY177" fmla="*/ 69170 h 568825"/>
              <a:gd name="connsiteX178" fmla="*/ 380658 w 588712"/>
              <a:gd name="connsiteY178" fmla="*/ 69170 h 568825"/>
              <a:gd name="connsiteX179" fmla="*/ 381832 w 588712"/>
              <a:gd name="connsiteY179" fmla="*/ 69170 h 568825"/>
              <a:gd name="connsiteX180" fmla="*/ 383007 w 588712"/>
              <a:gd name="connsiteY180" fmla="*/ 70343 h 568825"/>
              <a:gd name="connsiteX181" fmla="*/ 392401 w 588712"/>
              <a:gd name="connsiteY181" fmla="*/ 75032 h 568825"/>
              <a:gd name="connsiteX182" fmla="*/ 405318 w 588712"/>
              <a:gd name="connsiteY182" fmla="*/ 75032 h 568825"/>
              <a:gd name="connsiteX183" fmla="*/ 412363 w 588712"/>
              <a:gd name="connsiteY183" fmla="*/ 72687 h 568825"/>
              <a:gd name="connsiteX184" fmla="*/ 411189 w 588712"/>
              <a:gd name="connsiteY184" fmla="*/ 77377 h 568825"/>
              <a:gd name="connsiteX185" fmla="*/ 417060 w 588712"/>
              <a:gd name="connsiteY185" fmla="*/ 86756 h 568825"/>
              <a:gd name="connsiteX186" fmla="*/ 433500 w 588712"/>
              <a:gd name="connsiteY186" fmla="*/ 85583 h 568825"/>
              <a:gd name="connsiteX187" fmla="*/ 447591 w 588712"/>
              <a:gd name="connsiteY187" fmla="*/ 80894 h 568825"/>
              <a:gd name="connsiteX188" fmla="*/ 445243 w 588712"/>
              <a:gd name="connsiteY188" fmla="*/ 90273 h 568825"/>
              <a:gd name="connsiteX189" fmla="*/ 445243 w 588712"/>
              <a:gd name="connsiteY189" fmla="*/ 104341 h 568825"/>
              <a:gd name="connsiteX190" fmla="*/ 462857 w 588712"/>
              <a:gd name="connsiteY190" fmla="*/ 101997 h 568825"/>
              <a:gd name="connsiteX191" fmla="*/ 461683 w 588712"/>
              <a:gd name="connsiteY191" fmla="*/ 82066 h 568825"/>
              <a:gd name="connsiteX192" fmla="*/ 323119 w 588712"/>
              <a:gd name="connsiteY192" fmla="*/ 17586 h 568825"/>
              <a:gd name="connsiteX193" fmla="*/ 303156 w 588712"/>
              <a:gd name="connsiteY193" fmla="*/ 21103 h 568825"/>
              <a:gd name="connsiteX194" fmla="*/ 284368 w 588712"/>
              <a:gd name="connsiteY194" fmla="*/ 30482 h 568825"/>
              <a:gd name="connsiteX195" fmla="*/ 260883 w 588712"/>
              <a:gd name="connsiteY195" fmla="*/ 39861 h 568825"/>
              <a:gd name="connsiteX196" fmla="*/ 258534 w 588712"/>
              <a:gd name="connsiteY196" fmla="*/ 36344 h 568825"/>
              <a:gd name="connsiteX197" fmla="*/ 271451 w 588712"/>
              <a:gd name="connsiteY197" fmla="*/ 25792 h 568825"/>
              <a:gd name="connsiteX198" fmla="*/ 266754 w 588712"/>
              <a:gd name="connsiteY198" fmla="*/ 16413 h 568825"/>
              <a:gd name="connsiteX199" fmla="*/ 300808 w 588712"/>
              <a:gd name="connsiteY199" fmla="*/ 0 h 568825"/>
              <a:gd name="connsiteX200" fmla="*/ 303156 w 588712"/>
              <a:gd name="connsiteY200" fmla="*/ 0 h 568825"/>
              <a:gd name="connsiteX201" fmla="*/ 320770 w 588712"/>
              <a:gd name="connsiteY201" fmla="*/ 1172 h 568825"/>
              <a:gd name="connsiteX202" fmla="*/ 583807 w 588712"/>
              <a:gd name="connsiteY202" fmla="*/ 324748 h 568825"/>
              <a:gd name="connsiteX203" fmla="*/ 284368 w 588712"/>
              <a:gd name="connsiteY203" fmla="*/ 568602 h 568825"/>
              <a:gd name="connsiteX204" fmla="*/ 4892 w 588712"/>
              <a:gd name="connsiteY204" fmla="*/ 243854 h 568825"/>
              <a:gd name="connsiteX205" fmla="*/ 300808 w 588712"/>
              <a:gd name="connsiteY205" fmla="*/ 0 h 56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588712" h="568825">
                <a:moveTo>
                  <a:pt x="72559" y="332808"/>
                </a:moveTo>
                <a:cubicBezTo>
                  <a:pt x="68009" y="333247"/>
                  <a:pt x="63605" y="334713"/>
                  <a:pt x="60082" y="337644"/>
                </a:cubicBezTo>
                <a:cubicBezTo>
                  <a:pt x="58908" y="339989"/>
                  <a:pt x="56560" y="342334"/>
                  <a:pt x="54211" y="344678"/>
                </a:cubicBezTo>
                <a:cubicBezTo>
                  <a:pt x="48340" y="350540"/>
                  <a:pt x="44817" y="362264"/>
                  <a:pt x="48340" y="370471"/>
                </a:cubicBezTo>
                <a:cubicBezTo>
                  <a:pt x="50688" y="377505"/>
                  <a:pt x="58908" y="379850"/>
                  <a:pt x="64779" y="372815"/>
                </a:cubicBezTo>
                <a:cubicBezTo>
                  <a:pt x="72999" y="364609"/>
                  <a:pt x="81219" y="356402"/>
                  <a:pt x="89439" y="348196"/>
                </a:cubicBezTo>
                <a:cubicBezTo>
                  <a:pt x="96485" y="342334"/>
                  <a:pt x="94136" y="337644"/>
                  <a:pt x="85916" y="334127"/>
                </a:cubicBezTo>
                <a:cubicBezTo>
                  <a:pt x="81806" y="332954"/>
                  <a:pt x="77109" y="332368"/>
                  <a:pt x="72559" y="332808"/>
                </a:cubicBezTo>
                <a:close/>
                <a:moveTo>
                  <a:pt x="63605" y="320058"/>
                </a:moveTo>
                <a:cubicBezTo>
                  <a:pt x="61257" y="317714"/>
                  <a:pt x="55385" y="320058"/>
                  <a:pt x="49514" y="325920"/>
                </a:cubicBezTo>
                <a:cubicBezTo>
                  <a:pt x="49514" y="325920"/>
                  <a:pt x="49514" y="325920"/>
                  <a:pt x="48340" y="325920"/>
                </a:cubicBezTo>
                <a:cubicBezTo>
                  <a:pt x="42468" y="332955"/>
                  <a:pt x="37771" y="338817"/>
                  <a:pt x="38945" y="341161"/>
                </a:cubicBezTo>
                <a:cubicBezTo>
                  <a:pt x="38945" y="341161"/>
                  <a:pt x="38945" y="342334"/>
                  <a:pt x="38945" y="343506"/>
                </a:cubicBezTo>
                <a:cubicBezTo>
                  <a:pt x="40120" y="345851"/>
                  <a:pt x="40120" y="347023"/>
                  <a:pt x="41294" y="348196"/>
                </a:cubicBezTo>
                <a:cubicBezTo>
                  <a:pt x="41294" y="351713"/>
                  <a:pt x="47165" y="349368"/>
                  <a:pt x="54211" y="342334"/>
                </a:cubicBezTo>
                <a:cubicBezTo>
                  <a:pt x="55385" y="341161"/>
                  <a:pt x="57734" y="338817"/>
                  <a:pt x="58908" y="337644"/>
                </a:cubicBezTo>
                <a:cubicBezTo>
                  <a:pt x="65954" y="331782"/>
                  <a:pt x="69476" y="325920"/>
                  <a:pt x="69476" y="325920"/>
                </a:cubicBezTo>
                <a:cubicBezTo>
                  <a:pt x="68302" y="324748"/>
                  <a:pt x="68302" y="324748"/>
                  <a:pt x="67128" y="324748"/>
                </a:cubicBezTo>
                <a:cubicBezTo>
                  <a:pt x="65954" y="323576"/>
                  <a:pt x="64779" y="321231"/>
                  <a:pt x="63605" y="320058"/>
                </a:cubicBezTo>
                <a:close/>
                <a:moveTo>
                  <a:pt x="259391" y="293003"/>
                </a:moveTo>
                <a:cubicBezTo>
                  <a:pt x="259976" y="293441"/>
                  <a:pt x="259098" y="295486"/>
                  <a:pt x="256171" y="298993"/>
                </a:cubicBezTo>
                <a:cubicBezTo>
                  <a:pt x="252659" y="304838"/>
                  <a:pt x="247975" y="309513"/>
                  <a:pt x="242121" y="314189"/>
                </a:cubicBezTo>
                <a:cubicBezTo>
                  <a:pt x="237438" y="318864"/>
                  <a:pt x="232755" y="322371"/>
                  <a:pt x="228072" y="325877"/>
                </a:cubicBezTo>
                <a:cubicBezTo>
                  <a:pt x="221047" y="330553"/>
                  <a:pt x="218705" y="328215"/>
                  <a:pt x="225730" y="322371"/>
                </a:cubicBezTo>
                <a:cubicBezTo>
                  <a:pt x="235096" y="314189"/>
                  <a:pt x="244463" y="304838"/>
                  <a:pt x="253829" y="296655"/>
                </a:cubicBezTo>
                <a:cubicBezTo>
                  <a:pt x="256757" y="293733"/>
                  <a:pt x="258805" y="292564"/>
                  <a:pt x="259391" y="293003"/>
                </a:cubicBezTo>
                <a:close/>
                <a:moveTo>
                  <a:pt x="55238" y="274336"/>
                </a:moveTo>
                <a:cubicBezTo>
                  <a:pt x="53624" y="273750"/>
                  <a:pt x="51275" y="274922"/>
                  <a:pt x="48340" y="277853"/>
                </a:cubicBezTo>
                <a:cubicBezTo>
                  <a:pt x="45991" y="280198"/>
                  <a:pt x="43643" y="282542"/>
                  <a:pt x="42468" y="283715"/>
                </a:cubicBezTo>
                <a:cubicBezTo>
                  <a:pt x="35423" y="290749"/>
                  <a:pt x="31900" y="301300"/>
                  <a:pt x="31900" y="308335"/>
                </a:cubicBezTo>
                <a:cubicBezTo>
                  <a:pt x="33074" y="314197"/>
                  <a:pt x="38945" y="315369"/>
                  <a:pt x="44817" y="309507"/>
                </a:cubicBezTo>
                <a:cubicBezTo>
                  <a:pt x="45991" y="308335"/>
                  <a:pt x="45991" y="308335"/>
                  <a:pt x="45991" y="307162"/>
                </a:cubicBezTo>
                <a:cubicBezTo>
                  <a:pt x="51862" y="301300"/>
                  <a:pt x="56560" y="289577"/>
                  <a:pt x="57734" y="281370"/>
                </a:cubicBezTo>
                <a:cubicBezTo>
                  <a:pt x="57734" y="277267"/>
                  <a:pt x="56853" y="274922"/>
                  <a:pt x="55238" y="274336"/>
                </a:cubicBezTo>
                <a:close/>
                <a:moveTo>
                  <a:pt x="550927" y="251475"/>
                </a:moveTo>
                <a:cubicBezTo>
                  <a:pt x="548579" y="250595"/>
                  <a:pt x="545643" y="251475"/>
                  <a:pt x="542707" y="254405"/>
                </a:cubicBezTo>
                <a:cubicBezTo>
                  <a:pt x="538010" y="261440"/>
                  <a:pt x="534487" y="273164"/>
                  <a:pt x="534487" y="281370"/>
                </a:cubicBezTo>
                <a:cubicBezTo>
                  <a:pt x="534487" y="283715"/>
                  <a:pt x="534487" y="286060"/>
                  <a:pt x="534487" y="287232"/>
                </a:cubicBezTo>
                <a:cubicBezTo>
                  <a:pt x="533313" y="296611"/>
                  <a:pt x="535662" y="300128"/>
                  <a:pt x="539184" y="295439"/>
                </a:cubicBezTo>
                <a:cubicBezTo>
                  <a:pt x="541533" y="293094"/>
                  <a:pt x="543881" y="289577"/>
                  <a:pt x="547404" y="287232"/>
                </a:cubicBezTo>
                <a:cubicBezTo>
                  <a:pt x="548579" y="284887"/>
                  <a:pt x="550927" y="283715"/>
                  <a:pt x="552101" y="281370"/>
                </a:cubicBezTo>
                <a:cubicBezTo>
                  <a:pt x="555624" y="277853"/>
                  <a:pt x="556798" y="268474"/>
                  <a:pt x="555624" y="260267"/>
                </a:cubicBezTo>
                <a:cubicBezTo>
                  <a:pt x="555624" y="260267"/>
                  <a:pt x="555624" y="259095"/>
                  <a:pt x="555624" y="259095"/>
                </a:cubicBezTo>
                <a:cubicBezTo>
                  <a:pt x="555037" y="254992"/>
                  <a:pt x="553276" y="252354"/>
                  <a:pt x="550927" y="251475"/>
                </a:cubicBezTo>
                <a:close/>
                <a:moveTo>
                  <a:pt x="279896" y="233952"/>
                </a:moveTo>
                <a:cubicBezTo>
                  <a:pt x="281655" y="233219"/>
                  <a:pt x="282534" y="233806"/>
                  <a:pt x="281948" y="235565"/>
                </a:cubicBezTo>
                <a:cubicBezTo>
                  <a:pt x="281948" y="237910"/>
                  <a:pt x="276086" y="246121"/>
                  <a:pt x="270224" y="251985"/>
                </a:cubicBezTo>
                <a:cubicBezTo>
                  <a:pt x="244430" y="275443"/>
                  <a:pt x="217465" y="300074"/>
                  <a:pt x="191671" y="324705"/>
                </a:cubicBezTo>
                <a:cubicBezTo>
                  <a:pt x="185809" y="330569"/>
                  <a:pt x="179947" y="335261"/>
                  <a:pt x="179947" y="334088"/>
                </a:cubicBezTo>
                <a:cubicBezTo>
                  <a:pt x="178775" y="334088"/>
                  <a:pt x="183465" y="329397"/>
                  <a:pt x="189327" y="322359"/>
                </a:cubicBezTo>
                <a:cubicBezTo>
                  <a:pt x="224499" y="287172"/>
                  <a:pt x="251465" y="260196"/>
                  <a:pt x="272568" y="240256"/>
                </a:cubicBezTo>
                <a:cubicBezTo>
                  <a:pt x="275499" y="236738"/>
                  <a:pt x="278137" y="234685"/>
                  <a:pt x="279896" y="233952"/>
                </a:cubicBezTo>
                <a:close/>
                <a:moveTo>
                  <a:pt x="279084" y="183770"/>
                </a:moveTo>
                <a:cubicBezTo>
                  <a:pt x="274974" y="184063"/>
                  <a:pt x="270864" y="185822"/>
                  <a:pt x="267928" y="188752"/>
                </a:cubicBezTo>
                <a:cubicBezTo>
                  <a:pt x="250314" y="206338"/>
                  <a:pt x="232700" y="225096"/>
                  <a:pt x="215086" y="242682"/>
                </a:cubicBezTo>
                <a:cubicBezTo>
                  <a:pt x="209214" y="248544"/>
                  <a:pt x="202169" y="260267"/>
                  <a:pt x="198646" y="268474"/>
                </a:cubicBezTo>
                <a:cubicBezTo>
                  <a:pt x="191600" y="284887"/>
                  <a:pt x="182206" y="298956"/>
                  <a:pt x="168115" y="309507"/>
                </a:cubicBezTo>
                <a:cubicBezTo>
                  <a:pt x="154024" y="321231"/>
                  <a:pt x="138758" y="330610"/>
                  <a:pt x="122319" y="335299"/>
                </a:cubicBezTo>
                <a:cubicBezTo>
                  <a:pt x="114099" y="337644"/>
                  <a:pt x="108227" y="341161"/>
                  <a:pt x="108227" y="344678"/>
                </a:cubicBezTo>
                <a:cubicBezTo>
                  <a:pt x="109402" y="348196"/>
                  <a:pt x="104705" y="356402"/>
                  <a:pt x="98833" y="362264"/>
                </a:cubicBezTo>
                <a:cubicBezTo>
                  <a:pt x="90613" y="371643"/>
                  <a:pt x="81219" y="379850"/>
                  <a:pt x="72999" y="389229"/>
                </a:cubicBezTo>
                <a:cubicBezTo>
                  <a:pt x="65954" y="395091"/>
                  <a:pt x="64779" y="406814"/>
                  <a:pt x="69476" y="413849"/>
                </a:cubicBezTo>
                <a:cubicBezTo>
                  <a:pt x="72999" y="420883"/>
                  <a:pt x="77696" y="427917"/>
                  <a:pt x="82393" y="434951"/>
                </a:cubicBezTo>
                <a:cubicBezTo>
                  <a:pt x="87091" y="441986"/>
                  <a:pt x="96485" y="441986"/>
                  <a:pt x="102356" y="436124"/>
                </a:cubicBezTo>
                <a:cubicBezTo>
                  <a:pt x="108227" y="431434"/>
                  <a:pt x="114099" y="426745"/>
                  <a:pt x="118796" y="420883"/>
                </a:cubicBezTo>
                <a:cubicBezTo>
                  <a:pt x="125841" y="415021"/>
                  <a:pt x="132887" y="415021"/>
                  <a:pt x="135236" y="419710"/>
                </a:cubicBezTo>
                <a:cubicBezTo>
                  <a:pt x="137584" y="424400"/>
                  <a:pt x="135236" y="432607"/>
                  <a:pt x="128190" y="438468"/>
                </a:cubicBezTo>
                <a:cubicBezTo>
                  <a:pt x="123493" y="443158"/>
                  <a:pt x="118796" y="446675"/>
                  <a:pt x="114099" y="451365"/>
                </a:cubicBezTo>
                <a:cubicBezTo>
                  <a:pt x="108227" y="457226"/>
                  <a:pt x="105879" y="465433"/>
                  <a:pt x="110576" y="470123"/>
                </a:cubicBezTo>
                <a:cubicBezTo>
                  <a:pt x="114099" y="474812"/>
                  <a:pt x="123493" y="473640"/>
                  <a:pt x="129364" y="467778"/>
                </a:cubicBezTo>
                <a:cubicBezTo>
                  <a:pt x="132887" y="464261"/>
                  <a:pt x="136410" y="460744"/>
                  <a:pt x="139933" y="457226"/>
                </a:cubicBezTo>
                <a:cubicBezTo>
                  <a:pt x="146978" y="451365"/>
                  <a:pt x="151675" y="447847"/>
                  <a:pt x="152850" y="447847"/>
                </a:cubicBezTo>
                <a:cubicBezTo>
                  <a:pt x="152850" y="449020"/>
                  <a:pt x="149327" y="454882"/>
                  <a:pt x="142281" y="460744"/>
                </a:cubicBezTo>
                <a:cubicBezTo>
                  <a:pt x="139933" y="464261"/>
                  <a:pt x="136410" y="467778"/>
                  <a:pt x="132887" y="470123"/>
                </a:cubicBezTo>
                <a:cubicBezTo>
                  <a:pt x="127016" y="477157"/>
                  <a:pt x="127016" y="486536"/>
                  <a:pt x="134061" y="492398"/>
                </a:cubicBezTo>
                <a:cubicBezTo>
                  <a:pt x="139933" y="497087"/>
                  <a:pt x="145804" y="501777"/>
                  <a:pt x="151675" y="506466"/>
                </a:cubicBezTo>
                <a:cubicBezTo>
                  <a:pt x="158721" y="512328"/>
                  <a:pt x="170464" y="511156"/>
                  <a:pt x="176335" y="505294"/>
                </a:cubicBezTo>
                <a:cubicBezTo>
                  <a:pt x="177509" y="504121"/>
                  <a:pt x="178683" y="502949"/>
                  <a:pt x="178683" y="502949"/>
                </a:cubicBezTo>
                <a:cubicBezTo>
                  <a:pt x="185729" y="497087"/>
                  <a:pt x="192775" y="494742"/>
                  <a:pt x="196298" y="497087"/>
                </a:cubicBezTo>
                <a:cubicBezTo>
                  <a:pt x="199820" y="500604"/>
                  <a:pt x="197472" y="507639"/>
                  <a:pt x="191600" y="513500"/>
                </a:cubicBezTo>
                <a:cubicBezTo>
                  <a:pt x="185729" y="520535"/>
                  <a:pt x="186903" y="528741"/>
                  <a:pt x="195123" y="532258"/>
                </a:cubicBezTo>
                <a:cubicBezTo>
                  <a:pt x="200995" y="534603"/>
                  <a:pt x="206866" y="536948"/>
                  <a:pt x="212737" y="539293"/>
                </a:cubicBezTo>
                <a:cubicBezTo>
                  <a:pt x="220957" y="542810"/>
                  <a:pt x="230352" y="541638"/>
                  <a:pt x="235049" y="536948"/>
                </a:cubicBezTo>
                <a:cubicBezTo>
                  <a:pt x="238571" y="533431"/>
                  <a:pt x="247966" y="533431"/>
                  <a:pt x="256186" y="538120"/>
                </a:cubicBezTo>
                <a:cubicBezTo>
                  <a:pt x="256186" y="538120"/>
                  <a:pt x="257360" y="538120"/>
                  <a:pt x="257360" y="538120"/>
                </a:cubicBezTo>
                <a:cubicBezTo>
                  <a:pt x="265580" y="542810"/>
                  <a:pt x="270277" y="547499"/>
                  <a:pt x="267928" y="548672"/>
                </a:cubicBezTo>
                <a:cubicBezTo>
                  <a:pt x="265580" y="551016"/>
                  <a:pt x="271451" y="554534"/>
                  <a:pt x="279671" y="554534"/>
                </a:cubicBezTo>
                <a:cubicBezTo>
                  <a:pt x="299633" y="556878"/>
                  <a:pt x="319596" y="555706"/>
                  <a:pt x="339559" y="551016"/>
                </a:cubicBezTo>
                <a:cubicBezTo>
                  <a:pt x="438197" y="532258"/>
                  <a:pt x="518048" y="456054"/>
                  <a:pt x="546230" y="363436"/>
                </a:cubicBezTo>
                <a:cubicBezTo>
                  <a:pt x="548579" y="355230"/>
                  <a:pt x="548579" y="348196"/>
                  <a:pt x="547404" y="347023"/>
                </a:cubicBezTo>
                <a:cubicBezTo>
                  <a:pt x="546230" y="347023"/>
                  <a:pt x="545056" y="347023"/>
                  <a:pt x="543881" y="345851"/>
                </a:cubicBezTo>
                <a:cubicBezTo>
                  <a:pt x="541533" y="344678"/>
                  <a:pt x="539184" y="343506"/>
                  <a:pt x="536836" y="342334"/>
                </a:cubicBezTo>
                <a:cubicBezTo>
                  <a:pt x="533313" y="339989"/>
                  <a:pt x="535662" y="334127"/>
                  <a:pt x="541533" y="327093"/>
                </a:cubicBezTo>
                <a:cubicBezTo>
                  <a:pt x="542707" y="325920"/>
                  <a:pt x="543881" y="324748"/>
                  <a:pt x="546230" y="322403"/>
                </a:cubicBezTo>
                <a:cubicBezTo>
                  <a:pt x="552101" y="316541"/>
                  <a:pt x="557973" y="305990"/>
                  <a:pt x="557973" y="298956"/>
                </a:cubicBezTo>
                <a:cubicBezTo>
                  <a:pt x="557973" y="293094"/>
                  <a:pt x="553276" y="291922"/>
                  <a:pt x="547404" y="297783"/>
                </a:cubicBezTo>
                <a:cubicBezTo>
                  <a:pt x="542707" y="302473"/>
                  <a:pt x="539184" y="305990"/>
                  <a:pt x="535662" y="309507"/>
                </a:cubicBezTo>
                <a:cubicBezTo>
                  <a:pt x="529790" y="315369"/>
                  <a:pt x="522745" y="323576"/>
                  <a:pt x="520396" y="328265"/>
                </a:cubicBezTo>
                <a:cubicBezTo>
                  <a:pt x="518048" y="329438"/>
                  <a:pt x="516873" y="331782"/>
                  <a:pt x="514525" y="334127"/>
                </a:cubicBezTo>
                <a:cubicBezTo>
                  <a:pt x="480471" y="363436"/>
                  <a:pt x="434674" y="352885"/>
                  <a:pt x="406492" y="318886"/>
                </a:cubicBezTo>
                <a:cubicBezTo>
                  <a:pt x="367741" y="270819"/>
                  <a:pt x="333687" y="223924"/>
                  <a:pt x="290239" y="187580"/>
                </a:cubicBezTo>
                <a:cubicBezTo>
                  <a:pt x="287304" y="184649"/>
                  <a:pt x="283194" y="183477"/>
                  <a:pt x="279084" y="183770"/>
                </a:cubicBezTo>
                <a:close/>
                <a:moveTo>
                  <a:pt x="522598" y="165891"/>
                </a:moveTo>
                <a:cubicBezTo>
                  <a:pt x="519515" y="165012"/>
                  <a:pt x="516286" y="165891"/>
                  <a:pt x="513350" y="168822"/>
                </a:cubicBezTo>
                <a:cubicBezTo>
                  <a:pt x="507479" y="173512"/>
                  <a:pt x="506305" y="184063"/>
                  <a:pt x="509828" y="192270"/>
                </a:cubicBezTo>
                <a:cubicBezTo>
                  <a:pt x="515699" y="203993"/>
                  <a:pt x="520396" y="216889"/>
                  <a:pt x="525093" y="229786"/>
                </a:cubicBezTo>
                <a:cubicBezTo>
                  <a:pt x="527442" y="237992"/>
                  <a:pt x="533313" y="240337"/>
                  <a:pt x="539184" y="234475"/>
                </a:cubicBezTo>
                <a:cubicBezTo>
                  <a:pt x="545056" y="228613"/>
                  <a:pt x="547404" y="218062"/>
                  <a:pt x="545056" y="209855"/>
                </a:cubicBezTo>
                <a:cubicBezTo>
                  <a:pt x="540359" y="196959"/>
                  <a:pt x="535662" y="185235"/>
                  <a:pt x="530965" y="173512"/>
                </a:cubicBezTo>
                <a:cubicBezTo>
                  <a:pt x="528616" y="169409"/>
                  <a:pt x="525680" y="166771"/>
                  <a:pt x="522598" y="165891"/>
                </a:cubicBezTo>
                <a:close/>
                <a:moveTo>
                  <a:pt x="231673" y="152556"/>
                </a:moveTo>
                <a:cubicBezTo>
                  <a:pt x="227122" y="153288"/>
                  <a:pt x="222719" y="155340"/>
                  <a:pt x="219783" y="158271"/>
                </a:cubicBezTo>
                <a:cubicBezTo>
                  <a:pt x="213912" y="164133"/>
                  <a:pt x="209214" y="175856"/>
                  <a:pt x="210389" y="184063"/>
                </a:cubicBezTo>
                <a:cubicBezTo>
                  <a:pt x="210389" y="194614"/>
                  <a:pt x="211563" y="203993"/>
                  <a:pt x="211563" y="212200"/>
                </a:cubicBezTo>
                <a:cubicBezTo>
                  <a:pt x="211563" y="221579"/>
                  <a:pt x="212737" y="226268"/>
                  <a:pt x="213912" y="225096"/>
                </a:cubicBezTo>
                <a:cubicBezTo>
                  <a:pt x="215086" y="223924"/>
                  <a:pt x="216260" y="222751"/>
                  <a:pt x="217434" y="221579"/>
                </a:cubicBezTo>
                <a:cubicBezTo>
                  <a:pt x="233874" y="206338"/>
                  <a:pt x="246791" y="193442"/>
                  <a:pt x="258534" y="181718"/>
                </a:cubicBezTo>
                <a:cubicBezTo>
                  <a:pt x="265580" y="175856"/>
                  <a:pt x="264405" y="167650"/>
                  <a:pt x="257360" y="162960"/>
                </a:cubicBezTo>
                <a:cubicBezTo>
                  <a:pt x="252663" y="159443"/>
                  <a:pt x="249140" y="157098"/>
                  <a:pt x="244443" y="154754"/>
                </a:cubicBezTo>
                <a:cubicBezTo>
                  <a:pt x="240920" y="152409"/>
                  <a:pt x="236223" y="151823"/>
                  <a:pt x="231673" y="152556"/>
                </a:cubicBezTo>
                <a:close/>
                <a:moveTo>
                  <a:pt x="501608" y="147719"/>
                </a:moveTo>
                <a:cubicBezTo>
                  <a:pt x="495736" y="153581"/>
                  <a:pt x="493388" y="161788"/>
                  <a:pt x="496911" y="166477"/>
                </a:cubicBezTo>
                <a:cubicBezTo>
                  <a:pt x="499259" y="171167"/>
                  <a:pt x="505131" y="171167"/>
                  <a:pt x="511002" y="165305"/>
                </a:cubicBezTo>
                <a:cubicBezTo>
                  <a:pt x="516873" y="160615"/>
                  <a:pt x="519222" y="152409"/>
                  <a:pt x="515699" y="147719"/>
                </a:cubicBezTo>
                <a:cubicBezTo>
                  <a:pt x="513350" y="143030"/>
                  <a:pt x="506305" y="143030"/>
                  <a:pt x="501608" y="147719"/>
                </a:cubicBezTo>
                <a:close/>
                <a:moveTo>
                  <a:pt x="212737" y="138340"/>
                </a:moveTo>
                <a:cubicBezTo>
                  <a:pt x="210389" y="137168"/>
                  <a:pt x="206866" y="140685"/>
                  <a:pt x="206866" y="145375"/>
                </a:cubicBezTo>
                <a:cubicBezTo>
                  <a:pt x="206866" y="151236"/>
                  <a:pt x="210389" y="151236"/>
                  <a:pt x="212737" y="147719"/>
                </a:cubicBezTo>
                <a:cubicBezTo>
                  <a:pt x="216260" y="144202"/>
                  <a:pt x="216260" y="140685"/>
                  <a:pt x="212737" y="138340"/>
                </a:cubicBezTo>
                <a:close/>
                <a:moveTo>
                  <a:pt x="487370" y="113427"/>
                </a:moveTo>
                <a:cubicBezTo>
                  <a:pt x="483700" y="112841"/>
                  <a:pt x="479884" y="113721"/>
                  <a:pt x="476948" y="116065"/>
                </a:cubicBezTo>
                <a:cubicBezTo>
                  <a:pt x="472251" y="121927"/>
                  <a:pt x="469903" y="128961"/>
                  <a:pt x="473425" y="132478"/>
                </a:cubicBezTo>
                <a:cubicBezTo>
                  <a:pt x="475774" y="134823"/>
                  <a:pt x="476948" y="137168"/>
                  <a:pt x="479297" y="139513"/>
                </a:cubicBezTo>
                <a:cubicBezTo>
                  <a:pt x="480471" y="141857"/>
                  <a:pt x="481645" y="144202"/>
                  <a:pt x="483994" y="146547"/>
                </a:cubicBezTo>
                <a:cubicBezTo>
                  <a:pt x="486342" y="150064"/>
                  <a:pt x="492214" y="148892"/>
                  <a:pt x="498085" y="144202"/>
                </a:cubicBezTo>
                <a:cubicBezTo>
                  <a:pt x="493388" y="150064"/>
                  <a:pt x="493388" y="150064"/>
                  <a:pt x="499259" y="144202"/>
                </a:cubicBezTo>
                <a:cubicBezTo>
                  <a:pt x="503956" y="139513"/>
                  <a:pt x="503956" y="139513"/>
                  <a:pt x="498085" y="144202"/>
                </a:cubicBezTo>
                <a:cubicBezTo>
                  <a:pt x="503956" y="138340"/>
                  <a:pt x="503956" y="128961"/>
                  <a:pt x="499259" y="121927"/>
                </a:cubicBezTo>
                <a:cubicBezTo>
                  <a:pt x="498085" y="120755"/>
                  <a:pt x="498085" y="119582"/>
                  <a:pt x="496911" y="119582"/>
                </a:cubicBezTo>
                <a:cubicBezTo>
                  <a:pt x="494562" y="116065"/>
                  <a:pt x="491039" y="114014"/>
                  <a:pt x="487370" y="113427"/>
                </a:cubicBezTo>
                <a:close/>
                <a:moveTo>
                  <a:pt x="279524" y="71955"/>
                </a:moveTo>
                <a:cubicBezTo>
                  <a:pt x="229764" y="72394"/>
                  <a:pt x="181032" y="91446"/>
                  <a:pt x="144630" y="135996"/>
                </a:cubicBezTo>
                <a:cubicBezTo>
                  <a:pt x="116447" y="171167"/>
                  <a:pt x="81219" y="233303"/>
                  <a:pt x="87091" y="282542"/>
                </a:cubicBezTo>
                <a:cubicBezTo>
                  <a:pt x="88265" y="291922"/>
                  <a:pt x="97659" y="300128"/>
                  <a:pt x="105879" y="302473"/>
                </a:cubicBezTo>
                <a:cubicBezTo>
                  <a:pt x="144630" y="309507"/>
                  <a:pt x="166941" y="295439"/>
                  <a:pt x="175161" y="257923"/>
                </a:cubicBezTo>
                <a:cubicBezTo>
                  <a:pt x="176335" y="254405"/>
                  <a:pt x="177509" y="249716"/>
                  <a:pt x="177509" y="246199"/>
                </a:cubicBezTo>
                <a:cubicBezTo>
                  <a:pt x="179858" y="240337"/>
                  <a:pt x="182206" y="227441"/>
                  <a:pt x="182206" y="219234"/>
                </a:cubicBezTo>
                <a:cubicBezTo>
                  <a:pt x="184555" y="193442"/>
                  <a:pt x="183381" y="168822"/>
                  <a:pt x="181032" y="141857"/>
                </a:cubicBezTo>
                <a:cubicBezTo>
                  <a:pt x="178683" y="131306"/>
                  <a:pt x="178683" y="128961"/>
                  <a:pt x="186903" y="120755"/>
                </a:cubicBezTo>
                <a:cubicBezTo>
                  <a:pt x="188078" y="119582"/>
                  <a:pt x="190426" y="118410"/>
                  <a:pt x="193949" y="118410"/>
                </a:cubicBezTo>
                <a:cubicBezTo>
                  <a:pt x="198646" y="117238"/>
                  <a:pt x="203343" y="116065"/>
                  <a:pt x="205692" y="116065"/>
                </a:cubicBezTo>
                <a:cubicBezTo>
                  <a:pt x="208040" y="116065"/>
                  <a:pt x="209214" y="116065"/>
                  <a:pt x="210389" y="116065"/>
                </a:cubicBezTo>
                <a:cubicBezTo>
                  <a:pt x="293762" y="141857"/>
                  <a:pt x="354824" y="199304"/>
                  <a:pt x="405318" y="268474"/>
                </a:cubicBezTo>
                <a:cubicBezTo>
                  <a:pt x="418235" y="286060"/>
                  <a:pt x="432326" y="311852"/>
                  <a:pt x="452288" y="323576"/>
                </a:cubicBezTo>
                <a:cubicBezTo>
                  <a:pt x="507479" y="355230"/>
                  <a:pt x="501608" y="286060"/>
                  <a:pt x="496911" y="260267"/>
                </a:cubicBezTo>
                <a:cubicBezTo>
                  <a:pt x="487517" y="206338"/>
                  <a:pt x="465205" y="153581"/>
                  <a:pt x="420583" y="119582"/>
                </a:cubicBezTo>
                <a:cubicBezTo>
                  <a:pt x="380071" y="89687"/>
                  <a:pt x="329284" y="71515"/>
                  <a:pt x="279524" y="71955"/>
                </a:cubicBezTo>
                <a:close/>
                <a:moveTo>
                  <a:pt x="186903" y="41033"/>
                </a:moveTo>
                <a:cubicBezTo>
                  <a:pt x="186316" y="40154"/>
                  <a:pt x="183968" y="40447"/>
                  <a:pt x="179858" y="42206"/>
                </a:cubicBezTo>
                <a:cubicBezTo>
                  <a:pt x="127016" y="69170"/>
                  <a:pt x="82393" y="113720"/>
                  <a:pt x="56560" y="166477"/>
                </a:cubicBezTo>
                <a:cubicBezTo>
                  <a:pt x="53037" y="174684"/>
                  <a:pt x="55385" y="175856"/>
                  <a:pt x="61257" y="169994"/>
                </a:cubicBezTo>
                <a:cubicBezTo>
                  <a:pt x="102356" y="128961"/>
                  <a:pt x="142281" y="87928"/>
                  <a:pt x="183381" y="46895"/>
                </a:cubicBezTo>
                <a:cubicBezTo>
                  <a:pt x="186316" y="43964"/>
                  <a:pt x="187491" y="41912"/>
                  <a:pt x="186903" y="41033"/>
                </a:cubicBezTo>
                <a:close/>
                <a:moveTo>
                  <a:pt x="266754" y="16413"/>
                </a:moveTo>
                <a:cubicBezTo>
                  <a:pt x="255011" y="17586"/>
                  <a:pt x="243269" y="19930"/>
                  <a:pt x="231526" y="23448"/>
                </a:cubicBezTo>
                <a:cubicBezTo>
                  <a:pt x="223306" y="25792"/>
                  <a:pt x="211563" y="32827"/>
                  <a:pt x="204517" y="38688"/>
                </a:cubicBezTo>
                <a:cubicBezTo>
                  <a:pt x="171638" y="72687"/>
                  <a:pt x="137584" y="105514"/>
                  <a:pt x="104705" y="139513"/>
                </a:cubicBezTo>
                <a:cubicBezTo>
                  <a:pt x="88265" y="155926"/>
                  <a:pt x="71825" y="171167"/>
                  <a:pt x="55385" y="187580"/>
                </a:cubicBezTo>
                <a:cubicBezTo>
                  <a:pt x="48340" y="193442"/>
                  <a:pt x="41294" y="205166"/>
                  <a:pt x="38945" y="213372"/>
                </a:cubicBezTo>
                <a:cubicBezTo>
                  <a:pt x="36597" y="222751"/>
                  <a:pt x="34248" y="233303"/>
                  <a:pt x="33074" y="243854"/>
                </a:cubicBezTo>
                <a:cubicBezTo>
                  <a:pt x="31900" y="252061"/>
                  <a:pt x="36597" y="254405"/>
                  <a:pt x="42468" y="248544"/>
                </a:cubicBezTo>
                <a:cubicBezTo>
                  <a:pt x="47165" y="242682"/>
                  <a:pt x="53037" y="237992"/>
                  <a:pt x="57734" y="233303"/>
                </a:cubicBezTo>
                <a:cubicBezTo>
                  <a:pt x="63605" y="227441"/>
                  <a:pt x="69476" y="220407"/>
                  <a:pt x="70651" y="218062"/>
                </a:cubicBezTo>
                <a:cubicBezTo>
                  <a:pt x="70651" y="216889"/>
                  <a:pt x="71825" y="215717"/>
                  <a:pt x="71825" y="214545"/>
                </a:cubicBezTo>
                <a:cubicBezTo>
                  <a:pt x="85916" y="178201"/>
                  <a:pt x="104705" y="150064"/>
                  <a:pt x="132887" y="121927"/>
                </a:cubicBezTo>
                <a:cubicBezTo>
                  <a:pt x="168115" y="85583"/>
                  <a:pt x="225655" y="60964"/>
                  <a:pt x="276148" y="57446"/>
                </a:cubicBezTo>
                <a:cubicBezTo>
                  <a:pt x="304331" y="56274"/>
                  <a:pt x="333687" y="58619"/>
                  <a:pt x="361870" y="65653"/>
                </a:cubicBezTo>
                <a:cubicBezTo>
                  <a:pt x="371264" y="67998"/>
                  <a:pt x="378310" y="69170"/>
                  <a:pt x="379484" y="69170"/>
                </a:cubicBezTo>
                <a:cubicBezTo>
                  <a:pt x="379484" y="69170"/>
                  <a:pt x="379484" y="69170"/>
                  <a:pt x="380658" y="69170"/>
                </a:cubicBezTo>
                <a:cubicBezTo>
                  <a:pt x="380658" y="69170"/>
                  <a:pt x="381832" y="69170"/>
                  <a:pt x="381832" y="69170"/>
                </a:cubicBezTo>
                <a:cubicBezTo>
                  <a:pt x="383007" y="69170"/>
                  <a:pt x="383007" y="70343"/>
                  <a:pt x="383007" y="70343"/>
                </a:cubicBezTo>
                <a:cubicBezTo>
                  <a:pt x="383007" y="71515"/>
                  <a:pt x="386529" y="72687"/>
                  <a:pt x="392401" y="75032"/>
                </a:cubicBezTo>
                <a:cubicBezTo>
                  <a:pt x="398272" y="77377"/>
                  <a:pt x="404143" y="77377"/>
                  <a:pt x="405318" y="75032"/>
                </a:cubicBezTo>
                <a:cubicBezTo>
                  <a:pt x="407666" y="72687"/>
                  <a:pt x="411189" y="71515"/>
                  <a:pt x="412363" y="72687"/>
                </a:cubicBezTo>
                <a:cubicBezTo>
                  <a:pt x="414712" y="72687"/>
                  <a:pt x="413538" y="75032"/>
                  <a:pt x="411189" y="77377"/>
                </a:cubicBezTo>
                <a:cubicBezTo>
                  <a:pt x="408841" y="79722"/>
                  <a:pt x="412363" y="83239"/>
                  <a:pt x="417060" y="86756"/>
                </a:cubicBezTo>
                <a:cubicBezTo>
                  <a:pt x="422932" y="89101"/>
                  <a:pt x="429977" y="89101"/>
                  <a:pt x="433500" y="85583"/>
                </a:cubicBezTo>
                <a:cubicBezTo>
                  <a:pt x="437023" y="80894"/>
                  <a:pt x="444069" y="79722"/>
                  <a:pt x="447591" y="80894"/>
                </a:cubicBezTo>
                <a:cubicBezTo>
                  <a:pt x="451114" y="82066"/>
                  <a:pt x="449940" y="85583"/>
                  <a:pt x="445243" y="90273"/>
                </a:cubicBezTo>
                <a:cubicBezTo>
                  <a:pt x="440546" y="94962"/>
                  <a:pt x="440546" y="100824"/>
                  <a:pt x="445243" y="104341"/>
                </a:cubicBezTo>
                <a:cubicBezTo>
                  <a:pt x="449940" y="107859"/>
                  <a:pt x="458160" y="106686"/>
                  <a:pt x="462857" y="101997"/>
                </a:cubicBezTo>
                <a:cubicBezTo>
                  <a:pt x="468728" y="97307"/>
                  <a:pt x="468728" y="87928"/>
                  <a:pt x="461683" y="82066"/>
                </a:cubicBezTo>
                <a:cubicBezTo>
                  <a:pt x="424106" y="49240"/>
                  <a:pt x="377135" y="26965"/>
                  <a:pt x="323119" y="17586"/>
                </a:cubicBezTo>
                <a:cubicBezTo>
                  <a:pt x="314899" y="16413"/>
                  <a:pt x="305505" y="17586"/>
                  <a:pt x="303156" y="21103"/>
                </a:cubicBezTo>
                <a:cubicBezTo>
                  <a:pt x="300808" y="23448"/>
                  <a:pt x="292588" y="26965"/>
                  <a:pt x="284368" y="30482"/>
                </a:cubicBezTo>
                <a:cubicBezTo>
                  <a:pt x="276148" y="32827"/>
                  <a:pt x="269102" y="36344"/>
                  <a:pt x="260883" y="39861"/>
                </a:cubicBezTo>
                <a:cubicBezTo>
                  <a:pt x="253837" y="43378"/>
                  <a:pt x="252663" y="42206"/>
                  <a:pt x="258534" y="36344"/>
                </a:cubicBezTo>
                <a:cubicBezTo>
                  <a:pt x="263231" y="32827"/>
                  <a:pt x="266754" y="29309"/>
                  <a:pt x="271451" y="25792"/>
                </a:cubicBezTo>
                <a:cubicBezTo>
                  <a:pt x="277322" y="19930"/>
                  <a:pt x="274974" y="15241"/>
                  <a:pt x="266754" y="16413"/>
                </a:cubicBezTo>
                <a:close/>
                <a:moveTo>
                  <a:pt x="300808" y="0"/>
                </a:moveTo>
                <a:cubicBezTo>
                  <a:pt x="301982" y="0"/>
                  <a:pt x="301982" y="0"/>
                  <a:pt x="303156" y="0"/>
                </a:cubicBezTo>
                <a:cubicBezTo>
                  <a:pt x="304331" y="0"/>
                  <a:pt x="312550" y="0"/>
                  <a:pt x="320770" y="1172"/>
                </a:cubicBezTo>
                <a:cubicBezTo>
                  <a:pt x="479297" y="16413"/>
                  <a:pt x="616686" y="157098"/>
                  <a:pt x="583807" y="324748"/>
                </a:cubicBezTo>
                <a:cubicBezTo>
                  <a:pt x="556798" y="464261"/>
                  <a:pt x="431152" y="574464"/>
                  <a:pt x="284368" y="568602"/>
                </a:cubicBezTo>
                <a:cubicBezTo>
                  <a:pt x="119970" y="561568"/>
                  <a:pt x="-29162" y="417366"/>
                  <a:pt x="4892" y="243854"/>
                </a:cubicBezTo>
                <a:cubicBezTo>
                  <a:pt x="33074" y="97307"/>
                  <a:pt x="154024" y="5862"/>
                  <a:pt x="300808" y="0"/>
                </a:cubicBezTo>
                <a:close/>
              </a:path>
            </a:pathLst>
          </a:custGeom>
          <a:solidFill>
            <a:srgbClr val="113583"/>
          </a:solidFill>
          <a:ln>
            <a:noFill/>
          </a:ln>
          <a:effectLst>
            <a:outerShdw blurRad="63500" sx="102000" sy="102000" algn="ctr" rotWithShape="0">
              <a:prstClr val="black">
                <a:alpha val="40000"/>
              </a:prstClr>
            </a:outerShdw>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 name="文本占位符 5">
            <a:extLst>
              <a:ext uri="{FF2B5EF4-FFF2-40B4-BE49-F238E27FC236}">
                <a16:creationId xmlns:a16="http://schemas.microsoft.com/office/drawing/2014/main" id="{B2E6F171-7609-43B1-BC30-9902DF74CEBA}"/>
              </a:ext>
            </a:extLst>
          </p:cNvPr>
          <p:cNvSpPr txBox="1">
            <a:spLocks/>
          </p:cNvSpPr>
          <p:nvPr/>
        </p:nvSpPr>
        <p:spPr>
          <a:xfrm>
            <a:off x="6099716" y="3865674"/>
            <a:ext cx="5189538" cy="371021"/>
          </a:xfrm>
          <a:prstGeom prst="rect">
            <a:avLst/>
          </a:prstGeom>
        </p:spPr>
        <p:txBody>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dist">
              <a:buNone/>
            </a:pPr>
            <a:r>
              <a:rPr lang="en-US" altLang="zh-CN" sz="1000" dirty="0"/>
              <a:t>////////////////////////////////////////////////////////////////////////////</a:t>
            </a:r>
            <a:endParaRPr lang="en-US" altLang="zh-CN" dirty="0"/>
          </a:p>
        </p:txBody>
      </p:sp>
    </p:spTree>
    <p:extLst>
      <p:ext uri="{BB962C8B-B14F-4D97-AF65-F5344CB8AC3E}">
        <p14:creationId xmlns:p14="http://schemas.microsoft.com/office/powerpoint/2010/main" val="353945425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2" presetClass="entr" presetSubtype="8" accel="4000" fill="hold" grpId="0" nodeType="withEffect" p14:presetBounceEnd="24000">
                                      <p:stCondLst>
                                        <p:cond delay="300"/>
                                      </p:stCondLst>
                                      <p:childTnLst>
                                        <p:set>
                                          <p:cBhvr>
                                            <p:cTn id="9" dur="1" fill="hold">
                                              <p:stCondLst>
                                                <p:cond delay="0"/>
                                              </p:stCondLst>
                                            </p:cTn>
                                            <p:tgtEl>
                                              <p:spTgt spid="13"/>
                                            </p:tgtEl>
                                            <p:attrNameLst>
                                              <p:attrName>style.visibility</p:attrName>
                                            </p:attrNameLst>
                                          </p:cBhvr>
                                          <p:to>
                                            <p:strVal val="visible"/>
                                          </p:to>
                                        </p:set>
                                        <p:anim calcmode="lin" valueType="num" p14:bounceEnd="24000">
                                          <p:cBhvr additive="base">
                                            <p:cTn id="10" dur="500" fill="hold"/>
                                            <p:tgtEl>
                                              <p:spTgt spid="13"/>
                                            </p:tgtEl>
                                            <p:attrNameLst>
                                              <p:attrName>ppt_x</p:attrName>
                                            </p:attrNameLst>
                                          </p:cBhvr>
                                          <p:tavLst>
                                            <p:tav tm="0">
                                              <p:val>
                                                <p:strVal val="0-#ppt_w/2"/>
                                              </p:val>
                                            </p:tav>
                                            <p:tav tm="100000">
                                              <p:val>
                                                <p:strVal val="#ppt_x"/>
                                              </p:val>
                                            </p:tav>
                                          </p:tavLst>
                                        </p:anim>
                                        <p:anim calcmode="lin" valueType="num" p14:bounceEnd="24000">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60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2" presetClass="entr" presetSubtype="2" accel="4000" fill="hold" grpId="0" nodeType="withEffect" p14:presetBounceEnd="30000">
                                      <p:stCondLst>
                                        <p:cond delay="800"/>
                                      </p:stCondLst>
                                      <p:childTnLst>
                                        <p:set>
                                          <p:cBhvr>
                                            <p:cTn id="16" dur="1" fill="hold">
                                              <p:stCondLst>
                                                <p:cond delay="0"/>
                                              </p:stCondLst>
                                            </p:cTn>
                                            <p:tgtEl>
                                              <p:spTgt spid="11"/>
                                            </p:tgtEl>
                                            <p:attrNameLst>
                                              <p:attrName>style.visibility</p:attrName>
                                            </p:attrNameLst>
                                          </p:cBhvr>
                                          <p:to>
                                            <p:strVal val="visible"/>
                                          </p:to>
                                        </p:set>
                                        <p:anim calcmode="lin" valueType="num" p14:bounceEnd="30000">
                                          <p:cBhvr additive="base">
                                            <p:cTn id="17" dur="500" fill="hold"/>
                                            <p:tgtEl>
                                              <p:spTgt spid="11"/>
                                            </p:tgtEl>
                                            <p:attrNameLst>
                                              <p:attrName>ppt_x</p:attrName>
                                            </p:attrNameLst>
                                          </p:cBhvr>
                                          <p:tavLst>
                                            <p:tav tm="0">
                                              <p:val>
                                                <p:strVal val="1+#ppt_w/2"/>
                                              </p:val>
                                            </p:tav>
                                            <p:tav tm="100000">
                                              <p:val>
                                                <p:strVal val="#ppt_x"/>
                                              </p:val>
                                            </p:tav>
                                          </p:tavLst>
                                        </p:anim>
                                        <p:anim calcmode="lin" valueType="num" p14:bounceEnd="30000">
                                          <p:cBhvr additive="base">
                                            <p:cTn id="18" dur="5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accel="4000" fill="hold" grpId="0" nodeType="withEffect" p14:presetBounceEnd="30000">
                                      <p:stCondLst>
                                        <p:cond delay="1100"/>
                                      </p:stCondLst>
                                      <p:childTnLst>
                                        <p:set>
                                          <p:cBhvr>
                                            <p:cTn id="20" dur="1" fill="hold">
                                              <p:stCondLst>
                                                <p:cond delay="0"/>
                                              </p:stCondLst>
                                            </p:cTn>
                                            <p:tgtEl>
                                              <p:spTgt spid="12"/>
                                            </p:tgtEl>
                                            <p:attrNameLst>
                                              <p:attrName>style.visibility</p:attrName>
                                            </p:attrNameLst>
                                          </p:cBhvr>
                                          <p:to>
                                            <p:strVal val="visible"/>
                                          </p:to>
                                        </p:set>
                                        <p:anim calcmode="lin" valueType="num" p14:bounceEnd="30000">
                                          <p:cBhvr additive="base">
                                            <p:cTn id="21" dur="500" fill="hold"/>
                                            <p:tgtEl>
                                              <p:spTgt spid="12"/>
                                            </p:tgtEl>
                                            <p:attrNameLst>
                                              <p:attrName>ppt_x</p:attrName>
                                            </p:attrNameLst>
                                          </p:cBhvr>
                                          <p:tavLst>
                                            <p:tav tm="0">
                                              <p:val>
                                                <p:strVal val="1+#ppt_w/2"/>
                                              </p:val>
                                            </p:tav>
                                            <p:tav tm="100000">
                                              <p:val>
                                                <p:strVal val="#ppt_x"/>
                                              </p:val>
                                            </p:tav>
                                          </p:tavLst>
                                        </p:anim>
                                        <p:anim calcmode="lin" valueType="num" p14:bounceEnd="30000">
                                          <p:cBhvr additive="base">
                                            <p:cTn id="22" dur="500" fill="hold"/>
                                            <p:tgtEl>
                                              <p:spTgt spid="12"/>
                                            </p:tgtEl>
                                            <p:attrNameLst>
                                              <p:attrName>ppt_y</p:attrName>
                                            </p:attrNameLst>
                                          </p:cBhvr>
                                          <p:tavLst>
                                            <p:tav tm="0">
                                              <p:val>
                                                <p:strVal val="#ppt_y"/>
                                              </p:val>
                                            </p:tav>
                                            <p:tav tm="100000">
                                              <p:val>
                                                <p:strVal val="#ppt_y"/>
                                              </p:val>
                                            </p:tav>
                                          </p:tavLst>
                                        </p:anim>
                                      </p:childTnLst>
                                    </p:cTn>
                                  </p:par>
                                  <p:par>
                                    <p:cTn id="23" presetID="2" presetClass="entr" presetSubtype="2" accel="4000" fill="hold" grpId="0" nodeType="withEffect" p14:presetBounceEnd="30000">
                                      <p:stCondLst>
                                        <p:cond delay="1500"/>
                                      </p:stCondLst>
                                      <p:childTnLst>
                                        <p:set>
                                          <p:cBhvr>
                                            <p:cTn id="24" dur="1" fill="hold">
                                              <p:stCondLst>
                                                <p:cond delay="0"/>
                                              </p:stCondLst>
                                            </p:cTn>
                                            <p:tgtEl>
                                              <p:spTgt spid="16"/>
                                            </p:tgtEl>
                                            <p:attrNameLst>
                                              <p:attrName>style.visibility</p:attrName>
                                            </p:attrNameLst>
                                          </p:cBhvr>
                                          <p:to>
                                            <p:strVal val="visible"/>
                                          </p:to>
                                        </p:set>
                                        <p:anim calcmode="lin" valueType="num" p14:bounceEnd="30000">
                                          <p:cBhvr additive="base">
                                            <p:cTn id="25" dur="500" fill="hold"/>
                                            <p:tgtEl>
                                              <p:spTgt spid="16"/>
                                            </p:tgtEl>
                                            <p:attrNameLst>
                                              <p:attrName>ppt_x</p:attrName>
                                            </p:attrNameLst>
                                          </p:cBhvr>
                                          <p:tavLst>
                                            <p:tav tm="0">
                                              <p:val>
                                                <p:strVal val="1+#ppt_w/2"/>
                                              </p:val>
                                            </p:tav>
                                            <p:tav tm="100000">
                                              <p:val>
                                                <p:strVal val="#ppt_x"/>
                                              </p:val>
                                            </p:tav>
                                          </p:tavLst>
                                        </p:anim>
                                        <p:anim calcmode="lin" valueType="num" p14:bounceEnd="30000">
                                          <p:cBhvr additive="base">
                                            <p:cTn id="2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5" grpId="0" animBg="1"/>
          <p:bldP spid="16"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2" presetClass="entr" presetSubtype="8" accel="4000" fill="hold" grpId="0" nodeType="withEffect">
                                      <p:stCondLst>
                                        <p:cond delay="30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60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2" presetClass="entr" presetSubtype="2" accel="4000" fill="hold" grpId="0" nodeType="withEffect">
                                      <p:stCondLst>
                                        <p:cond delay="80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1+#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accel="4000" fill="hold" grpId="0" nodeType="withEffect">
                                      <p:stCondLst>
                                        <p:cond delay="110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1+#ppt_w/2"/>
                                              </p:val>
                                            </p:tav>
                                            <p:tav tm="100000">
                                              <p:val>
                                                <p:strVal val="#ppt_x"/>
                                              </p:val>
                                            </p:tav>
                                          </p:tavLst>
                                        </p:anim>
                                        <p:anim calcmode="lin" valueType="num">
                                          <p:cBhvr additive="base">
                                            <p:cTn id="22" dur="500" fill="hold"/>
                                            <p:tgtEl>
                                              <p:spTgt spid="12"/>
                                            </p:tgtEl>
                                            <p:attrNameLst>
                                              <p:attrName>ppt_y</p:attrName>
                                            </p:attrNameLst>
                                          </p:cBhvr>
                                          <p:tavLst>
                                            <p:tav tm="0">
                                              <p:val>
                                                <p:strVal val="#ppt_y"/>
                                              </p:val>
                                            </p:tav>
                                            <p:tav tm="100000">
                                              <p:val>
                                                <p:strVal val="#ppt_y"/>
                                              </p:val>
                                            </p:tav>
                                          </p:tavLst>
                                        </p:anim>
                                      </p:childTnLst>
                                    </p:cTn>
                                  </p:par>
                                  <p:par>
                                    <p:cTn id="23" presetID="2" presetClass="entr" presetSubtype="2" accel="4000" fill="hold" grpId="0" nodeType="withEffect">
                                      <p:stCondLst>
                                        <p:cond delay="150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1+#ppt_w/2"/>
                                              </p:val>
                                            </p:tav>
                                            <p:tav tm="100000">
                                              <p:val>
                                                <p:strVal val="#ppt_x"/>
                                              </p:val>
                                            </p:tav>
                                          </p:tavLst>
                                        </p:anim>
                                        <p:anim calcmode="lin" valueType="num">
                                          <p:cBhvr additive="base">
                                            <p:cTn id="2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5" grpId="0" animBg="1"/>
          <p:bldP spid="16" grpId="0"/>
        </p:bld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íSľíḑé">
            <a:extLst>
              <a:ext uri="{FF2B5EF4-FFF2-40B4-BE49-F238E27FC236}">
                <a16:creationId xmlns:a16="http://schemas.microsoft.com/office/drawing/2014/main" id="{E230EC56-8BBA-48E8-B456-20E7C99667B0}"/>
              </a:ext>
            </a:extLst>
          </p:cNvPr>
          <p:cNvGrpSpPr/>
          <p:nvPr/>
        </p:nvGrpSpPr>
        <p:grpSpPr>
          <a:xfrm>
            <a:off x="2352675" y="4008809"/>
            <a:ext cx="7486650" cy="2137987"/>
            <a:chOff x="2402306" y="4037156"/>
            <a:chExt cx="7387387" cy="2109644"/>
          </a:xfrm>
        </p:grpSpPr>
        <p:sp>
          <p:nvSpPr>
            <p:cNvPr id="31" name="îṣļíḍè">
              <a:extLst>
                <a:ext uri="{FF2B5EF4-FFF2-40B4-BE49-F238E27FC236}">
                  <a16:creationId xmlns:a16="http://schemas.microsoft.com/office/drawing/2014/main" id="{C8E416DF-F071-4E04-BB54-84BE51100E69}"/>
                </a:ext>
              </a:extLst>
            </p:cNvPr>
            <p:cNvSpPr/>
            <p:nvPr/>
          </p:nvSpPr>
          <p:spPr>
            <a:xfrm>
              <a:off x="2402306" y="5011108"/>
              <a:ext cx="3693521" cy="108751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822" y="0"/>
                  </a:lnTo>
                  <a:lnTo>
                    <a:pt x="21600" y="2466"/>
                  </a:lnTo>
                  <a:lnTo>
                    <a:pt x="21600" y="21529"/>
                  </a:lnTo>
                  <a:cubicBezTo>
                    <a:pt x="21600" y="21529"/>
                    <a:pt x="0" y="21600"/>
                    <a:pt x="0" y="21600"/>
                  </a:cubicBezTo>
                  <a:close/>
                </a:path>
              </a:pathLst>
            </a:custGeom>
            <a:solidFill>
              <a:schemeClr val="accent1">
                <a:lumMod val="75000"/>
              </a:schemeClr>
            </a:solidFill>
            <a:ln w="12700">
              <a:miter lim="400000"/>
            </a:ln>
          </p:spPr>
          <p:txBody>
            <a:bodyPr wrap="square" lIns="91440" tIns="45720" rIns="91440" bIns="45720" anchor="ctr">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sz="2000"/>
            </a:p>
          </p:txBody>
        </p:sp>
        <p:sp>
          <p:nvSpPr>
            <p:cNvPr id="32" name="ïṧľiḓê">
              <a:extLst>
                <a:ext uri="{FF2B5EF4-FFF2-40B4-BE49-F238E27FC236}">
                  <a16:creationId xmlns:a16="http://schemas.microsoft.com/office/drawing/2014/main" id="{283D1C6F-8ECE-4667-A623-4505E4F194ED}"/>
                </a:ext>
              </a:extLst>
            </p:cNvPr>
            <p:cNvSpPr/>
            <p:nvPr/>
          </p:nvSpPr>
          <p:spPr>
            <a:xfrm>
              <a:off x="2984301" y="4678539"/>
              <a:ext cx="3076935" cy="1440466"/>
            </a:xfrm>
            <a:custGeom>
              <a:avLst/>
              <a:gdLst/>
              <a:ahLst/>
              <a:cxnLst>
                <a:cxn ang="0">
                  <a:pos x="wd2" y="hd2"/>
                </a:cxn>
                <a:cxn ang="5400000">
                  <a:pos x="wd2" y="hd2"/>
                </a:cxn>
                <a:cxn ang="10800000">
                  <a:pos x="wd2" y="hd2"/>
                </a:cxn>
                <a:cxn ang="16200000">
                  <a:pos x="wd2" y="hd2"/>
                </a:cxn>
              </a:cxnLst>
              <a:rect l="0" t="0" r="r" b="b"/>
              <a:pathLst>
                <a:path w="21600" h="20677" extrusionOk="0">
                  <a:moveTo>
                    <a:pt x="21600" y="20677"/>
                  </a:moveTo>
                  <a:lnTo>
                    <a:pt x="21600" y="5950"/>
                  </a:lnTo>
                  <a:cubicBezTo>
                    <a:pt x="21600" y="5950"/>
                    <a:pt x="11849" y="-923"/>
                    <a:pt x="4005" y="105"/>
                  </a:cubicBezTo>
                  <a:cubicBezTo>
                    <a:pt x="2061" y="4012"/>
                    <a:pt x="0" y="8709"/>
                    <a:pt x="0" y="8709"/>
                  </a:cubicBezTo>
                  <a:cubicBezTo>
                    <a:pt x="0" y="8709"/>
                    <a:pt x="15368" y="4216"/>
                    <a:pt x="21600" y="20677"/>
                  </a:cubicBezTo>
                  <a:close/>
                </a:path>
              </a:pathLst>
            </a:custGeom>
            <a:solidFill>
              <a:schemeClr val="bg1">
                <a:lumMod val="65000"/>
              </a:schemeClr>
            </a:solidFill>
            <a:ln w="12700">
              <a:miter lim="400000"/>
            </a:ln>
          </p:spPr>
          <p:txBody>
            <a:bodyPr wrap="square" lIns="91440" tIns="45720" rIns="91440" bIns="45720" anchor="ctr">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sz="2000"/>
            </a:p>
          </p:txBody>
        </p:sp>
        <p:sp>
          <p:nvSpPr>
            <p:cNvPr id="33" name="ï$lîḋé">
              <a:extLst>
                <a:ext uri="{FF2B5EF4-FFF2-40B4-BE49-F238E27FC236}">
                  <a16:creationId xmlns:a16="http://schemas.microsoft.com/office/drawing/2014/main" id="{9DEB51F8-3AA9-4142-85AA-13D9986003C7}"/>
                </a:ext>
              </a:extLst>
            </p:cNvPr>
            <p:cNvSpPr/>
            <p:nvPr/>
          </p:nvSpPr>
          <p:spPr>
            <a:xfrm>
              <a:off x="3186218" y="4547887"/>
              <a:ext cx="2895271" cy="1555587"/>
            </a:xfrm>
            <a:custGeom>
              <a:avLst/>
              <a:gdLst/>
              <a:ahLst/>
              <a:cxnLst>
                <a:cxn ang="0">
                  <a:pos x="wd2" y="hd2"/>
                </a:cxn>
                <a:cxn ang="5400000">
                  <a:pos x="wd2" y="hd2"/>
                </a:cxn>
                <a:cxn ang="10800000">
                  <a:pos x="wd2" y="hd2"/>
                </a:cxn>
                <a:cxn ang="16200000">
                  <a:pos x="wd2" y="hd2"/>
                </a:cxn>
              </a:cxnLst>
              <a:rect l="0" t="0" r="r" b="b"/>
              <a:pathLst>
                <a:path w="21600" h="20725" extrusionOk="0">
                  <a:moveTo>
                    <a:pt x="21600" y="20725"/>
                  </a:moveTo>
                  <a:lnTo>
                    <a:pt x="21600" y="7055"/>
                  </a:lnTo>
                  <a:cubicBezTo>
                    <a:pt x="21600" y="7055"/>
                    <a:pt x="12593" y="-875"/>
                    <a:pt x="4256" y="79"/>
                  </a:cubicBezTo>
                  <a:cubicBezTo>
                    <a:pt x="2190" y="3706"/>
                    <a:pt x="0" y="8065"/>
                    <a:pt x="0" y="8065"/>
                  </a:cubicBezTo>
                  <a:cubicBezTo>
                    <a:pt x="0" y="8065"/>
                    <a:pt x="15173" y="4069"/>
                    <a:pt x="21600" y="20725"/>
                  </a:cubicBezTo>
                  <a:close/>
                </a:path>
              </a:pathLst>
            </a:custGeom>
            <a:solidFill>
              <a:schemeClr val="bg1">
                <a:lumMod val="75000"/>
              </a:schemeClr>
            </a:solidFill>
            <a:ln w="12700">
              <a:miter lim="400000"/>
            </a:ln>
          </p:spPr>
          <p:txBody>
            <a:bodyPr wrap="square" lIns="91440" tIns="45720" rIns="91440" bIns="45720" anchor="ctr">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sz="2000"/>
            </a:p>
          </p:txBody>
        </p:sp>
        <p:sp>
          <p:nvSpPr>
            <p:cNvPr id="34" name="ïṣḻíḍè">
              <a:extLst>
                <a:ext uri="{FF2B5EF4-FFF2-40B4-BE49-F238E27FC236}">
                  <a16:creationId xmlns:a16="http://schemas.microsoft.com/office/drawing/2014/main" id="{EB2FF104-6924-42A4-B30C-EB7B5A4AC6CB}"/>
                </a:ext>
              </a:extLst>
            </p:cNvPr>
            <p:cNvSpPr/>
            <p:nvPr/>
          </p:nvSpPr>
          <p:spPr>
            <a:xfrm>
              <a:off x="3150586" y="4476622"/>
              <a:ext cx="2932121" cy="1555574"/>
            </a:xfrm>
            <a:custGeom>
              <a:avLst/>
              <a:gdLst/>
              <a:ahLst/>
              <a:cxnLst>
                <a:cxn ang="0">
                  <a:pos x="wd2" y="hd2"/>
                </a:cxn>
                <a:cxn ang="5400000">
                  <a:pos x="wd2" y="hd2"/>
                </a:cxn>
                <a:cxn ang="10800000">
                  <a:pos x="wd2" y="hd2"/>
                </a:cxn>
                <a:cxn ang="16200000">
                  <a:pos x="wd2" y="hd2"/>
                </a:cxn>
              </a:cxnLst>
              <a:rect l="0" t="0" r="r" b="b"/>
              <a:pathLst>
                <a:path w="21600" h="20725" extrusionOk="0">
                  <a:moveTo>
                    <a:pt x="21600" y="20725"/>
                  </a:moveTo>
                  <a:lnTo>
                    <a:pt x="21600" y="7055"/>
                  </a:lnTo>
                  <a:cubicBezTo>
                    <a:pt x="21600" y="7055"/>
                    <a:pt x="12706" y="-875"/>
                    <a:pt x="4474" y="79"/>
                  </a:cubicBezTo>
                  <a:lnTo>
                    <a:pt x="0" y="6509"/>
                  </a:lnTo>
                  <a:cubicBezTo>
                    <a:pt x="0" y="6509"/>
                    <a:pt x="16863" y="4014"/>
                    <a:pt x="21600" y="20725"/>
                  </a:cubicBezTo>
                  <a:close/>
                </a:path>
              </a:pathLst>
            </a:custGeom>
            <a:solidFill>
              <a:schemeClr val="bg1">
                <a:lumMod val="85000"/>
              </a:schemeClr>
            </a:solidFill>
            <a:ln w="12700">
              <a:miter lim="400000"/>
            </a:ln>
          </p:spPr>
          <p:txBody>
            <a:bodyPr wrap="square" lIns="91440" tIns="45720" rIns="91440" bIns="45720" anchor="ctr">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sz="2000"/>
            </a:p>
          </p:txBody>
        </p:sp>
        <p:sp>
          <p:nvSpPr>
            <p:cNvPr id="35" name="íşlîḍe">
              <a:extLst>
                <a:ext uri="{FF2B5EF4-FFF2-40B4-BE49-F238E27FC236}">
                  <a16:creationId xmlns:a16="http://schemas.microsoft.com/office/drawing/2014/main" id="{FDFF600D-A53E-447A-BA7E-99685EEC991A}"/>
                </a:ext>
              </a:extLst>
            </p:cNvPr>
            <p:cNvSpPr/>
            <p:nvPr/>
          </p:nvSpPr>
          <p:spPr>
            <a:xfrm>
              <a:off x="6096196" y="5011108"/>
              <a:ext cx="3693497" cy="108751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5778" y="0"/>
                  </a:lnTo>
                  <a:lnTo>
                    <a:pt x="0" y="2466"/>
                  </a:lnTo>
                  <a:lnTo>
                    <a:pt x="0" y="21529"/>
                  </a:lnTo>
                  <a:cubicBezTo>
                    <a:pt x="0" y="21529"/>
                    <a:pt x="21600" y="21600"/>
                    <a:pt x="21600" y="21600"/>
                  </a:cubicBezTo>
                  <a:close/>
                </a:path>
              </a:pathLst>
            </a:custGeom>
            <a:solidFill>
              <a:schemeClr val="accent1">
                <a:lumMod val="75000"/>
              </a:schemeClr>
            </a:solidFill>
            <a:ln w="12700">
              <a:miter lim="400000"/>
            </a:ln>
          </p:spPr>
          <p:txBody>
            <a:bodyPr wrap="square" lIns="91440" tIns="45720" rIns="91440" bIns="45720" anchor="ctr">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sz="2000"/>
            </a:p>
          </p:txBody>
        </p:sp>
        <p:sp>
          <p:nvSpPr>
            <p:cNvPr id="36" name="íṩḻidê">
              <a:extLst>
                <a:ext uri="{FF2B5EF4-FFF2-40B4-BE49-F238E27FC236}">
                  <a16:creationId xmlns:a16="http://schemas.microsoft.com/office/drawing/2014/main" id="{55FF35A2-649A-4D9C-AF40-456932CA2405}"/>
                </a:ext>
              </a:extLst>
            </p:cNvPr>
            <p:cNvSpPr/>
            <p:nvPr/>
          </p:nvSpPr>
          <p:spPr>
            <a:xfrm>
              <a:off x="2651732" y="5236780"/>
              <a:ext cx="3448385" cy="745370"/>
            </a:xfrm>
            <a:custGeom>
              <a:avLst/>
              <a:gdLst/>
              <a:ahLst/>
              <a:cxnLst>
                <a:cxn ang="0">
                  <a:pos x="wd2" y="hd2"/>
                </a:cxn>
                <a:cxn ang="5400000">
                  <a:pos x="wd2" y="hd2"/>
                </a:cxn>
                <a:cxn ang="10800000">
                  <a:pos x="wd2" y="hd2"/>
                </a:cxn>
                <a:cxn ang="16200000">
                  <a:pos x="wd2" y="hd2"/>
                </a:cxn>
              </a:cxnLst>
              <a:rect l="0" t="0" r="r" b="b"/>
              <a:pathLst>
                <a:path w="21600" h="18614" extrusionOk="0">
                  <a:moveTo>
                    <a:pt x="2218" y="1204"/>
                  </a:moveTo>
                  <a:lnTo>
                    <a:pt x="0" y="14879"/>
                  </a:lnTo>
                  <a:cubicBezTo>
                    <a:pt x="0" y="14879"/>
                    <a:pt x="4585" y="8353"/>
                    <a:pt x="9580" y="9307"/>
                  </a:cubicBezTo>
                  <a:cubicBezTo>
                    <a:pt x="14575" y="10261"/>
                    <a:pt x="18428" y="15284"/>
                    <a:pt x="19236" y="18266"/>
                  </a:cubicBezTo>
                  <a:cubicBezTo>
                    <a:pt x="19625" y="16835"/>
                    <a:pt x="20703" y="16825"/>
                    <a:pt x="21600" y="18614"/>
                  </a:cubicBezTo>
                  <a:cubicBezTo>
                    <a:pt x="17439" y="3985"/>
                    <a:pt x="9150" y="-2986"/>
                    <a:pt x="2218" y="1204"/>
                  </a:cubicBezTo>
                  <a:close/>
                </a:path>
              </a:pathLst>
            </a:custGeom>
            <a:solidFill>
              <a:schemeClr val="accent1"/>
            </a:solidFill>
            <a:ln w="12700">
              <a:miter lim="400000"/>
            </a:ln>
          </p:spPr>
          <p:txBody>
            <a:bodyPr wrap="square" lIns="91440" tIns="45720" rIns="91440" bIns="45720" anchor="ctr">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sz="2000"/>
            </a:p>
          </p:txBody>
        </p:sp>
        <p:sp>
          <p:nvSpPr>
            <p:cNvPr id="37" name="iś1iḍè">
              <a:extLst>
                <a:ext uri="{FF2B5EF4-FFF2-40B4-BE49-F238E27FC236}">
                  <a16:creationId xmlns:a16="http://schemas.microsoft.com/office/drawing/2014/main" id="{BDF4A9B9-868D-4A02-AD9C-6A612D725141}"/>
                </a:ext>
              </a:extLst>
            </p:cNvPr>
            <p:cNvSpPr/>
            <p:nvPr/>
          </p:nvSpPr>
          <p:spPr>
            <a:xfrm>
              <a:off x="6096196" y="5236780"/>
              <a:ext cx="3448385" cy="748861"/>
            </a:xfrm>
            <a:custGeom>
              <a:avLst/>
              <a:gdLst/>
              <a:ahLst/>
              <a:cxnLst>
                <a:cxn ang="0">
                  <a:pos x="wd2" y="hd2"/>
                </a:cxn>
                <a:cxn ang="5400000">
                  <a:pos x="wd2" y="hd2"/>
                </a:cxn>
                <a:cxn ang="10800000">
                  <a:pos x="wd2" y="hd2"/>
                </a:cxn>
                <a:cxn ang="16200000">
                  <a:pos x="wd2" y="hd2"/>
                </a:cxn>
              </a:cxnLst>
              <a:rect l="0" t="0" r="r" b="b"/>
              <a:pathLst>
                <a:path w="21600" h="18626" extrusionOk="0">
                  <a:moveTo>
                    <a:pt x="19382" y="1199"/>
                  </a:moveTo>
                  <a:lnTo>
                    <a:pt x="21600" y="14819"/>
                  </a:lnTo>
                  <a:cubicBezTo>
                    <a:pt x="21600" y="14819"/>
                    <a:pt x="17136" y="8406"/>
                    <a:pt x="12141" y="9357"/>
                  </a:cubicBezTo>
                  <a:cubicBezTo>
                    <a:pt x="7146" y="10307"/>
                    <a:pt x="3863" y="13825"/>
                    <a:pt x="2380" y="18626"/>
                  </a:cubicBezTo>
                  <a:cubicBezTo>
                    <a:pt x="1991" y="17201"/>
                    <a:pt x="897" y="16757"/>
                    <a:pt x="0" y="18539"/>
                  </a:cubicBezTo>
                  <a:cubicBezTo>
                    <a:pt x="4161" y="3969"/>
                    <a:pt x="12450" y="-2974"/>
                    <a:pt x="19382" y="1199"/>
                  </a:cubicBezTo>
                  <a:close/>
                </a:path>
              </a:pathLst>
            </a:custGeom>
            <a:solidFill>
              <a:schemeClr val="accent1"/>
            </a:solidFill>
            <a:ln w="12700">
              <a:miter lim="400000"/>
            </a:ln>
          </p:spPr>
          <p:txBody>
            <a:bodyPr wrap="square" lIns="91440" tIns="45720" rIns="91440" bIns="45720" anchor="ctr">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sz="2000"/>
            </a:p>
          </p:txBody>
        </p:sp>
        <p:sp>
          <p:nvSpPr>
            <p:cNvPr id="38" name="î$ļïḋê">
              <a:extLst>
                <a:ext uri="{FF2B5EF4-FFF2-40B4-BE49-F238E27FC236}">
                  <a16:creationId xmlns:a16="http://schemas.microsoft.com/office/drawing/2014/main" id="{7A4BE3DE-09DF-4A45-B461-216C3E6674C1}"/>
                </a:ext>
              </a:extLst>
            </p:cNvPr>
            <p:cNvSpPr/>
            <p:nvPr/>
          </p:nvSpPr>
          <p:spPr>
            <a:xfrm>
              <a:off x="3275711" y="4037156"/>
              <a:ext cx="2823635" cy="1987114"/>
            </a:xfrm>
            <a:custGeom>
              <a:avLst/>
              <a:gdLst/>
              <a:ahLst/>
              <a:cxnLst>
                <a:cxn ang="0">
                  <a:pos x="wd2" y="hd2"/>
                </a:cxn>
                <a:cxn ang="5400000">
                  <a:pos x="wd2" y="hd2"/>
                </a:cxn>
                <a:cxn ang="10800000">
                  <a:pos x="wd2" y="hd2"/>
                </a:cxn>
                <a:cxn ang="16200000">
                  <a:pos x="wd2" y="hd2"/>
                </a:cxn>
              </a:cxnLst>
              <a:rect l="0" t="0" r="r" b="b"/>
              <a:pathLst>
                <a:path w="21600" h="20888" extrusionOk="0">
                  <a:moveTo>
                    <a:pt x="21600" y="20888"/>
                  </a:moveTo>
                  <a:lnTo>
                    <a:pt x="21600" y="9216"/>
                  </a:lnTo>
                  <a:cubicBezTo>
                    <a:pt x="21600" y="9216"/>
                    <a:pt x="13625" y="-712"/>
                    <a:pt x="5077" y="41"/>
                  </a:cubicBezTo>
                  <a:cubicBezTo>
                    <a:pt x="2959" y="2902"/>
                    <a:pt x="0" y="7419"/>
                    <a:pt x="0" y="7419"/>
                  </a:cubicBezTo>
                  <a:cubicBezTo>
                    <a:pt x="0" y="7419"/>
                    <a:pt x="16681" y="7704"/>
                    <a:pt x="21600" y="20888"/>
                  </a:cubicBezTo>
                  <a:close/>
                </a:path>
              </a:pathLst>
            </a:custGeom>
            <a:solidFill>
              <a:schemeClr val="bg1">
                <a:lumMod val="95000"/>
              </a:schemeClr>
            </a:solidFill>
            <a:ln w="6350">
              <a:noFill/>
            </a:ln>
          </p:spPr>
          <p:txBody>
            <a:bodyPr wrap="square" lIns="91440" tIns="45720" rIns="91440" bIns="45720" anchor="ctr">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sz="2000"/>
            </a:p>
          </p:txBody>
        </p:sp>
        <p:sp>
          <p:nvSpPr>
            <p:cNvPr id="39" name="iš1ïďe">
              <a:extLst>
                <a:ext uri="{FF2B5EF4-FFF2-40B4-BE49-F238E27FC236}">
                  <a16:creationId xmlns:a16="http://schemas.microsoft.com/office/drawing/2014/main" id="{A1AF7FDD-79C7-42A3-96A5-2C5DBFE95655}"/>
                </a:ext>
              </a:extLst>
            </p:cNvPr>
            <p:cNvSpPr/>
            <p:nvPr/>
          </p:nvSpPr>
          <p:spPr>
            <a:xfrm>
              <a:off x="6119951" y="4678539"/>
              <a:ext cx="3076935" cy="1440466"/>
            </a:xfrm>
            <a:custGeom>
              <a:avLst/>
              <a:gdLst/>
              <a:ahLst/>
              <a:cxnLst>
                <a:cxn ang="0">
                  <a:pos x="wd2" y="hd2"/>
                </a:cxn>
                <a:cxn ang="5400000">
                  <a:pos x="wd2" y="hd2"/>
                </a:cxn>
                <a:cxn ang="10800000">
                  <a:pos x="wd2" y="hd2"/>
                </a:cxn>
                <a:cxn ang="16200000">
                  <a:pos x="wd2" y="hd2"/>
                </a:cxn>
              </a:cxnLst>
              <a:rect l="0" t="0" r="r" b="b"/>
              <a:pathLst>
                <a:path w="21600" h="20677" extrusionOk="0">
                  <a:moveTo>
                    <a:pt x="0" y="20677"/>
                  </a:moveTo>
                  <a:lnTo>
                    <a:pt x="0" y="5950"/>
                  </a:lnTo>
                  <a:cubicBezTo>
                    <a:pt x="0" y="5950"/>
                    <a:pt x="9751" y="-923"/>
                    <a:pt x="17595" y="105"/>
                  </a:cubicBezTo>
                  <a:cubicBezTo>
                    <a:pt x="19539" y="4012"/>
                    <a:pt x="21600" y="8709"/>
                    <a:pt x="21600" y="8709"/>
                  </a:cubicBezTo>
                  <a:cubicBezTo>
                    <a:pt x="21600" y="8709"/>
                    <a:pt x="6232" y="4216"/>
                    <a:pt x="0" y="20677"/>
                  </a:cubicBezTo>
                  <a:close/>
                </a:path>
              </a:pathLst>
            </a:custGeom>
            <a:solidFill>
              <a:schemeClr val="bg1">
                <a:lumMod val="65000"/>
              </a:schemeClr>
            </a:solidFill>
            <a:ln w="12700">
              <a:miter lim="400000"/>
            </a:ln>
          </p:spPr>
          <p:txBody>
            <a:bodyPr wrap="square" lIns="91440" tIns="45720" rIns="91440" bIns="45720" anchor="ctr">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sz="2000"/>
            </a:p>
          </p:txBody>
        </p:sp>
        <p:sp>
          <p:nvSpPr>
            <p:cNvPr id="40" name="íśliďè">
              <a:extLst>
                <a:ext uri="{FF2B5EF4-FFF2-40B4-BE49-F238E27FC236}">
                  <a16:creationId xmlns:a16="http://schemas.microsoft.com/office/drawing/2014/main" id="{2468FDD4-D908-4404-96DC-6CF51F474548}"/>
                </a:ext>
              </a:extLst>
            </p:cNvPr>
            <p:cNvSpPr/>
            <p:nvPr/>
          </p:nvSpPr>
          <p:spPr>
            <a:xfrm>
              <a:off x="6096196" y="4547887"/>
              <a:ext cx="2895260" cy="1555587"/>
            </a:xfrm>
            <a:custGeom>
              <a:avLst/>
              <a:gdLst/>
              <a:ahLst/>
              <a:cxnLst>
                <a:cxn ang="0">
                  <a:pos x="wd2" y="hd2"/>
                </a:cxn>
                <a:cxn ang="5400000">
                  <a:pos x="wd2" y="hd2"/>
                </a:cxn>
                <a:cxn ang="10800000">
                  <a:pos x="wd2" y="hd2"/>
                </a:cxn>
                <a:cxn ang="16200000">
                  <a:pos x="wd2" y="hd2"/>
                </a:cxn>
              </a:cxnLst>
              <a:rect l="0" t="0" r="r" b="b"/>
              <a:pathLst>
                <a:path w="21600" h="20725" extrusionOk="0">
                  <a:moveTo>
                    <a:pt x="0" y="20725"/>
                  </a:moveTo>
                  <a:lnTo>
                    <a:pt x="0" y="7055"/>
                  </a:lnTo>
                  <a:cubicBezTo>
                    <a:pt x="0" y="7055"/>
                    <a:pt x="9007" y="-875"/>
                    <a:pt x="17344" y="79"/>
                  </a:cubicBezTo>
                  <a:cubicBezTo>
                    <a:pt x="19410" y="3706"/>
                    <a:pt x="21600" y="8065"/>
                    <a:pt x="21600" y="8065"/>
                  </a:cubicBezTo>
                  <a:cubicBezTo>
                    <a:pt x="21600" y="8065"/>
                    <a:pt x="6427" y="4069"/>
                    <a:pt x="0" y="20725"/>
                  </a:cubicBezTo>
                  <a:close/>
                </a:path>
              </a:pathLst>
            </a:custGeom>
            <a:solidFill>
              <a:schemeClr val="bg1">
                <a:lumMod val="75000"/>
              </a:schemeClr>
            </a:solidFill>
            <a:ln w="12700">
              <a:miter lim="400000"/>
            </a:ln>
          </p:spPr>
          <p:txBody>
            <a:bodyPr wrap="square" lIns="91440" tIns="45720" rIns="91440" bIns="45720" anchor="ctr">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sz="2000"/>
            </a:p>
          </p:txBody>
        </p:sp>
        <p:sp>
          <p:nvSpPr>
            <p:cNvPr id="41" name="iśľiḑe">
              <a:extLst>
                <a:ext uri="{FF2B5EF4-FFF2-40B4-BE49-F238E27FC236}">
                  <a16:creationId xmlns:a16="http://schemas.microsoft.com/office/drawing/2014/main" id="{DBA69A22-5B0A-44E2-9D91-47A7E9800502}"/>
                </a:ext>
              </a:extLst>
            </p:cNvPr>
            <p:cNvSpPr/>
            <p:nvPr/>
          </p:nvSpPr>
          <p:spPr>
            <a:xfrm>
              <a:off x="6096196" y="4476622"/>
              <a:ext cx="2932098" cy="1555574"/>
            </a:xfrm>
            <a:custGeom>
              <a:avLst/>
              <a:gdLst/>
              <a:ahLst/>
              <a:cxnLst>
                <a:cxn ang="0">
                  <a:pos x="wd2" y="hd2"/>
                </a:cxn>
                <a:cxn ang="5400000">
                  <a:pos x="wd2" y="hd2"/>
                </a:cxn>
                <a:cxn ang="10800000">
                  <a:pos x="wd2" y="hd2"/>
                </a:cxn>
                <a:cxn ang="16200000">
                  <a:pos x="wd2" y="hd2"/>
                </a:cxn>
              </a:cxnLst>
              <a:rect l="0" t="0" r="r" b="b"/>
              <a:pathLst>
                <a:path w="21600" h="20725" extrusionOk="0">
                  <a:moveTo>
                    <a:pt x="0" y="20725"/>
                  </a:moveTo>
                  <a:lnTo>
                    <a:pt x="0" y="7055"/>
                  </a:lnTo>
                  <a:cubicBezTo>
                    <a:pt x="0" y="7055"/>
                    <a:pt x="8894" y="-875"/>
                    <a:pt x="17126" y="79"/>
                  </a:cubicBezTo>
                  <a:lnTo>
                    <a:pt x="21600" y="6509"/>
                  </a:lnTo>
                  <a:cubicBezTo>
                    <a:pt x="21600" y="6509"/>
                    <a:pt x="4737" y="4014"/>
                    <a:pt x="0" y="20725"/>
                  </a:cubicBezTo>
                  <a:close/>
                </a:path>
              </a:pathLst>
            </a:custGeom>
            <a:solidFill>
              <a:schemeClr val="bg1">
                <a:lumMod val="85000"/>
              </a:schemeClr>
            </a:solidFill>
            <a:ln w="12700">
              <a:miter lim="400000"/>
            </a:ln>
          </p:spPr>
          <p:txBody>
            <a:bodyPr wrap="square" lIns="91440" tIns="45720" rIns="91440" bIns="45720" anchor="ctr">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sz="2000"/>
            </a:p>
          </p:txBody>
        </p:sp>
        <p:sp>
          <p:nvSpPr>
            <p:cNvPr id="42" name="ïş1íḑê">
              <a:extLst>
                <a:ext uri="{FF2B5EF4-FFF2-40B4-BE49-F238E27FC236}">
                  <a16:creationId xmlns:a16="http://schemas.microsoft.com/office/drawing/2014/main" id="{4A8A85F8-71A4-42F4-B53A-BD161319FD5A}"/>
                </a:ext>
              </a:extLst>
            </p:cNvPr>
            <p:cNvSpPr/>
            <p:nvPr/>
          </p:nvSpPr>
          <p:spPr>
            <a:xfrm>
              <a:off x="6089846" y="4037156"/>
              <a:ext cx="2823635" cy="1987114"/>
            </a:xfrm>
            <a:custGeom>
              <a:avLst/>
              <a:gdLst/>
              <a:ahLst/>
              <a:cxnLst>
                <a:cxn ang="0">
                  <a:pos x="wd2" y="hd2"/>
                </a:cxn>
                <a:cxn ang="5400000">
                  <a:pos x="wd2" y="hd2"/>
                </a:cxn>
                <a:cxn ang="10800000">
                  <a:pos x="wd2" y="hd2"/>
                </a:cxn>
                <a:cxn ang="16200000">
                  <a:pos x="wd2" y="hd2"/>
                </a:cxn>
              </a:cxnLst>
              <a:rect l="0" t="0" r="r" b="b"/>
              <a:pathLst>
                <a:path w="21600" h="20888" extrusionOk="0">
                  <a:moveTo>
                    <a:pt x="0" y="20888"/>
                  </a:moveTo>
                  <a:lnTo>
                    <a:pt x="0" y="9216"/>
                  </a:lnTo>
                  <a:cubicBezTo>
                    <a:pt x="0" y="9216"/>
                    <a:pt x="7975" y="-712"/>
                    <a:pt x="16523" y="41"/>
                  </a:cubicBezTo>
                  <a:cubicBezTo>
                    <a:pt x="18641" y="2902"/>
                    <a:pt x="21600" y="7419"/>
                    <a:pt x="21600" y="7419"/>
                  </a:cubicBezTo>
                  <a:cubicBezTo>
                    <a:pt x="21600" y="7419"/>
                    <a:pt x="4919" y="7704"/>
                    <a:pt x="0" y="20888"/>
                  </a:cubicBezTo>
                  <a:close/>
                </a:path>
              </a:pathLst>
            </a:custGeom>
            <a:solidFill>
              <a:schemeClr val="bg1">
                <a:lumMod val="95000"/>
              </a:schemeClr>
            </a:solidFill>
            <a:ln w="6350">
              <a:noFill/>
            </a:ln>
          </p:spPr>
          <p:txBody>
            <a:bodyPr wrap="square" lIns="91440" tIns="45720" rIns="91440" bIns="45720" anchor="ctr">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sz="2000"/>
            </a:p>
          </p:txBody>
        </p:sp>
        <p:sp>
          <p:nvSpPr>
            <p:cNvPr id="43" name="íṧlîḓe">
              <a:extLst>
                <a:ext uri="{FF2B5EF4-FFF2-40B4-BE49-F238E27FC236}">
                  <a16:creationId xmlns:a16="http://schemas.microsoft.com/office/drawing/2014/main" id="{C6145B7F-BE73-4A28-AFFA-054233A304CF}"/>
                </a:ext>
              </a:extLst>
            </p:cNvPr>
            <p:cNvSpPr/>
            <p:nvPr/>
          </p:nvSpPr>
          <p:spPr>
            <a:xfrm>
              <a:off x="5682787" y="5924549"/>
              <a:ext cx="813725" cy="222251"/>
            </a:xfrm>
            <a:prstGeom prst="roundRect">
              <a:avLst>
                <a:gd name="adj" fmla="val 50000"/>
              </a:avLst>
            </a:prstGeom>
            <a:solidFill>
              <a:schemeClr val="bg1">
                <a:lumMod val="95000"/>
              </a:schemeClr>
            </a:solidFill>
            <a:ln w="12700">
              <a:miter lim="400000"/>
            </a:ln>
          </p:spPr>
          <p:txBody>
            <a:bodyPr wrap="square" lIns="91440" tIns="45720" rIns="91440" bIns="45720" anchor="ctr">
              <a:normAutofit fontScale="25000" lnSpcReduction="20000"/>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sz="2000"/>
            </a:p>
          </p:txBody>
        </p:sp>
      </p:grpSp>
      <p:grpSp>
        <p:nvGrpSpPr>
          <p:cNvPr id="7" name="iṩḻíḍê">
            <a:extLst>
              <a:ext uri="{FF2B5EF4-FFF2-40B4-BE49-F238E27FC236}">
                <a16:creationId xmlns:a16="http://schemas.microsoft.com/office/drawing/2014/main" id="{2A2A78B8-2B4C-4697-8FA9-05BD5E1AA87A}"/>
              </a:ext>
            </a:extLst>
          </p:cNvPr>
          <p:cNvGrpSpPr/>
          <p:nvPr/>
        </p:nvGrpSpPr>
        <p:grpSpPr>
          <a:xfrm>
            <a:off x="668020" y="946969"/>
            <a:ext cx="6139180" cy="1392953"/>
            <a:chOff x="668020" y="946964"/>
            <a:chExt cx="6139180" cy="1392953"/>
          </a:xfrm>
        </p:grpSpPr>
        <p:sp>
          <p:nvSpPr>
            <p:cNvPr id="28" name="îŝḷíḑé">
              <a:extLst>
                <a:ext uri="{FF2B5EF4-FFF2-40B4-BE49-F238E27FC236}">
                  <a16:creationId xmlns:a16="http://schemas.microsoft.com/office/drawing/2014/main" id="{8316902B-9F15-4AE4-BBCF-5E1CB0686F18}"/>
                </a:ext>
              </a:extLst>
            </p:cNvPr>
            <p:cNvSpPr/>
            <p:nvPr/>
          </p:nvSpPr>
          <p:spPr bwMode="auto">
            <a:xfrm>
              <a:off x="668020" y="1652706"/>
              <a:ext cx="3860798" cy="687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sz="1200" dirty="0"/>
                <a:t>要分析的模式和软件系统是用字符串表示的。因此，设计模式恢复问题被简化为使用位向量进行近似字符串匹配的问题。</a:t>
              </a:r>
              <a:endParaRPr lang="en-US" altLang="zh-CN" sz="1200" dirty="0"/>
            </a:p>
          </p:txBody>
        </p:sp>
        <p:sp>
          <p:nvSpPr>
            <p:cNvPr id="29" name="iṡľîḓê">
              <a:extLst>
                <a:ext uri="{FF2B5EF4-FFF2-40B4-BE49-F238E27FC236}">
                  <a16:creationId xmlns:a16="http://schemas.microsoft.com/office/drawing/2014/main" id="{FCBCE448-A746-45FC-ABE2-27B64D489326}"/>
                </a:ext>
              </a:extLst>
            </p:cNvPr>
            <p:cNvSpPr txBox="1"/>
            <p:nvPr/>
          </p:nvSpPr>
          <p:spPr bwMode="auto">
            <a:xfrm>
              <a:off x="673100" y="946964"/>
              <a:ext cx="6134100" cy="705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800" b="1" i="1" dirty="0"/>
                <a:t>01</a:t>
              </a:r>
              <a:r>
                <a:rPr lang="en-US" altLang="zh-CN" b="1" i="1" dirty="0"/>
                <a:t>.</a:t>
              </a:r>
              <a:r>
                <a:rPr lang="zh-CN" altLang="en-US" b="1" i="1" dirty="0"/>
                <a:t>位向量算法</a:t>
              </a:r>
              <a:endParaRPr lang="en-US" altLang="zh-CN" sz="1800" b="1" i="1" dirty="0"/>
            </a:p>
          </p:txBody>
        </p:sp>
        <p:cxnSp>
          <p:nvCxnSpPr>
            <p:cNvPr id="30" name="直接连接符 29">
              <a:extLst>
                <a:ext uri="{FF2B5EF4-FFF2-40B4-BE49-F238E27FC236}">
                  <a16:creationId xmlns:a16="http://schemas.microsoft.com/office/drawing/2014/main" id="{849E344C-6711-49F6-B247-346829226EAC}"/>
                </a:ext>
              </a:extLst>
            </p:cNvPr>
            <p:cNvCxnSpPr/>
            <p:nvPr/>
          </p:nvCxnSpPr>
          <p:spPr>
            <a:xfrm>
              <a:off x="762162" y="1652758"/>
              <a:ext cx="3666553"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grpSp>
        <p:nvGrpSpPr>
          <p:cNvPr id="8" name="íṥḻíḋè">
            <a:extLst>
              <a:ext uri="{FF2B5EF4-FFF2-40B4-BE49-F238E27FC236}">
                <a16:creationId xmlns:a16="http://schemas.microsoft.com/office/drawing/2014/main" id="{1B42D553-49B8-4826-AB51-F90926B51CF2}"/>
              </a:ext>
            </a:extLst>
          </p:cNvPr>
          <p:cNvGrpSpPr/>
          <p:nvPr/>
        </p:nvGrpSpPr>
        <p:grpSpPr>
          <a:xfrm>
            <a:off x="673100" y="2502602"/>
            <a:ext cx="3279774" cy="939308"/>
            <a:chOff x="673100" y="2336656"/>
            <a:chExt cx="3279774" cy="939308"/>
          </a:xfrm>
        </p:grpSpPr>
        <p:sp>
          <p:nvSpPr>
            <p:cNvPr id="25" name="îṧľîďe">
              <a:extLst>
                <a:ext uri="{FF2B5EF4-FFF2-40B4-BE49-F238E27FC236}">
                  <a16:creationId xmlns:a16="http://schemas.microsoft.com/office/drawing/2014/main" id="{8316902B-9F15-4AE4-BBCF-5E1CB0686F18}"/>
                </a:ext>
              </a:extLst>
            </p:cNvPr>
            <p:cNvSpPr/>
            <p:nvPr/>
          </p:nvSpPr>
          <p:spPr bwMode="auto">
            <a:xfrm>
              <a:off x="673100" y="2699650"/>
              <a:ext cx="3279774" cy="576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sz="1200" dirty="0"/>
                <a:t>采用图相似算法检测候选设计模式实例。相似性算法利用此属性来检测修改后的模式实例。</a:t>
              </a:r>
              <a:endParaRPr lang="en-US" altLang="zh-CN" sz="1200" dirty="0"/>
            </a:p>
          </p:txBody>
        </p:sp>
        <p:sp>
          <p:nvSpPr>
            <p:cNvPr id="26" name="ïṩļíďè">
              <a:extLst>
                <a:ext uri="{FF2B5EF4-FFF2-40B4-BE49-F238E27FC236}">
                  <a16:creationId xmlns:a16="http://schemas.microsoft.com/office/drawing/2014/main" id="{FCBCE448-A746-45FC-ABE2-27B64D489326}"/>
                </a:ext>
              </a:extLst>
            </p:cNvPr>
            <p:cNvSpPr txBox="1"/>
            <p:nvPr/>
          </p:nvSpPr>
          <p:spPr bwMode="auto">
            <a:xfrm>
              <a:off x="673100" y="2336656"/>
              <a:ext cx="3279774" cy="40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en-US" altLang="zh-CN" sz="1800" b="1" i="1" dirty="0"/>
                <a:t>02.</a:t>
              </a:r>
              <a:r>
                <a:rPr lang="zh-CN" altLang="en-US" sz="1800" b="1" i="1" dirty="0"/>
                <a:t>基于图的方法</a:t>
              </a:r>
              <a:endParaRPr lang="en-US" altLang="zh-CN" sz="1800" b="1" i="1" dirty="0"/>
            </a:p>
          </p:txBody>
        </p:sp>
        <p:cxnSp>
          <p:nvCxnSpPr>
            <p:cNvPr id="27" name="直接连接符 26">
              <a:extLst>
                <a:ext uri="{FF2B5EF4-FFF2-40B4-BE49-F238E27FC236}">
                  <a16:creationId xmlns:a16="http://schemas.microsoft.com/office/drawing/2014/main" id="{2672D4BC-6FC6-4E3F-9CBD-19C4D12CADCF}"/>
                </a:ext>
              </a:extLst>
            </p:cNvPr>
            <p:cNvCxnSpPr/>
            <p:nvPr/>
          </p:nvCxnSpPr>
          <p:spPr>
            <a:xfrm>
              <a:off x="743651" y="2730128"/>
              <a:ext cx="3114761"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grpSp>
        <p:nvGrpSpPr>
          <p:cNvPr id="9" name="íṡḻïḍe">
            <a:extLst>
              <a:ext uri="{FF2B5EF4-FFF2-40B4-BE49-F238E27FC236}">
                <a16:creationId xmlns:a16="http://schemas.microsoft.com/office/drawing/2014/main" id="{7B4ACF2E-2F81-46F5-BA7F-790DC3FDDA25}"/>
              </a:ext>
            </a:extLst>
          </p:cNvPr>
          <p:cNvGrpSpPr/>
          <p:nvPr/>
        </p:nvGrpSpPr>
        <p:grpSpPr>
          <a:xfrm>
            <a:off x="673100" y="3473912"/>
            <a:ext cx="2861576" cy="1067754"/>
            <a:chOff x="673100" y="2864043"/>
            <a:chExt cx="6611078" cy="1067754"/>
          </a:xfrm>
        </p:grpSpPr>
        <p:sp>
          <p:nvSpPr>
            <p:cNvPr id="22" name="îṣliḑe">
              <a:extLst>
                <a:ext uri="{FF2B5EF4-FFF2-40B4-BE49-F238E27FC236}">
                  <a16:creationId xmlns:a16="http://schemas.microsoft.com/office/drawing/2014/main" id="{8316902B-9F15-4AE4-BBCF-5E1CB0686F18}"/>
                </a:ext>
              </a:extLst>
            </p:cNvPr>
            <p:cNvSpPr/>
            <p:nvPr/>
          </p:nvSpPr>
          <p:spPr bwMode="auto">
            <a:xfrm>
              <a:off x="673100" y="3265136"/>
              <a:ext cx="5806532" cy="666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sz="1200" dirty="0"/>
                <a:t>捕获创建模式的意图，并提供一种方法来发现尽可能多的实现变体。</a:t>
              </a:r>
              <a:endParaRPr lang="en-US" altLang="zh-CN" sz="1200" dirty="0"/>
            </a:p>
          </p:txBody>
        </p:sp>
        <p:sp>
          <p:nvSpPr>
            <p:cNvPr id="23" name="ïṣļïḑe">
              <a:extLst>
                <a:ext uri="{FF2B5EF4-FFF2-40B4-BE49-F238E27FC236}">
                  <a16:creationId xmlns:a16="http://schemas.microsoft.com/office/drawing/2014/main" id="{FCBCE448-A746-45FC-ABE2-27B64D489326}"/>
                </a:ext>
              </a:extLst>
            </p:cNvPr>
            <p:cNvSpPr txBox="1"/>
            <p:nvPr/>
          </p:nvSpPr>
          <p:spPr bwMode="auto">
            <a:xfrm>
              <a:off x="673100" y="2864043"/>
              <a:ext cx="6611078" cy="40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b="1" i="1" dirty="0"/>
                <a:t>03.</a:t>
              </a:r>
              <a:r>
                <a:rPr lang="zh-CN" altLang="en-US" b="1" i="1" dirty="0"/>
                <a:t>捕获创建模式意图</a:t>
              </a:r>
              <a:endParaRPr lang="en-US" altLang="zh-CN" b="1" i="1" dirty="0"/>
            </a:p>
          </p:txBody>
        </p:sp>
        <p:cxnSp>
          <p:nvCxnSpPr>
            <p:cNvPr id="24" name="直接连接符 23">
              <a:extLst>
                <a:ext uri="{FF2B5EF4-FFF2-40B4-BE49-F238E27FC236}">
                  <a16:creationId xmlns:a16="http://schemas.microsoft.com/office/drawing/2014/main" id="{E1118809-F97F-4843-9B8A-F60FAD11E232}"/>
                </a:ext>
              </a:extLst>
            </p:cNvPr>
            <p:cNvCxnSpPr/>
            <p:nvPr/>
          </p:nvCxnSpPr>
          <p:spPr>
            <a:xfrm>
              <a:off x="791812" y="3265135"/>
              <a:ext cx="5241037"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grpSp>
        <p:nvGrpSpPr>
          <p:cNvPr id="10" name="íṥľide">
            <a:extLst>
              <a:ext uri="{FF2B5EF4-FFF2-40B4-BE49-F238E27FC236}">
                <a16:creationId xmlns:a16="http://schemas.microsoft.com/office/drawing/2014/main" id="{13A556D2-E328-4821-9EA4-517A607804E9}"/>
              </a:ext>
            </a:extLst>
          </p:cNvPr>
          <p:cNvGrpSpPr/>
          <p:nvPr/>
        </p:nvGrpSpPr>
        <p:grpSpPr>
          <a:xfrm>
            <a:off x="7566660" y="1251671"/>
            <a:ext cx="3952240" cy="1184896"/>
            <a:chOff x="7566660" y="1251666"/>
            <a:chExt cx="3952240" cy="1184896"/>
          </a:xfrm>
        </p:grpSpPr>
        <p:sp>
          <p:nvSpPr>
            <p:cNvPr id="19" name="îŝḷïde">
              <a:extLst>
                <a:ext uri="{FF2B5EF4-FFF2-40B4-BE49-F238E27FC236}">
                  <a16:creationId xmlns:a16="http://schemas.microsoft.com/office/drawing/2014/main" id="{8316902B-9F15-4AE4-BBCF-5E1CB0686F18}"/>
                </a:ext>
              </a:extLst>
            </p:cNvPr>
            <p:cNvSpPr/>
            <p:nvPr/>
          </p:nvSpPr>
          <p:spPr bwMode="auto">
            <a:xfrm flipH="1">
              <a:off x="7566660" y="1652759"/>
              <a:ext cx="3952240" cy="783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30000"/>
                </a:lnSpc>
              </a:pPr>
              <a:r>
                <a:rPr lang="zh-CN" altLang="en-US" sz="1200" dirty="0"/>
                <a:t>通过计算设计模式实例的归一化互相关，从软件系统中恢复设计模式实例。归一化互相关显示了设计模式和系统部分之间的相似程度。</a:t>
              </a:r>
              <a:endParaRPr lang="en-US" altLang="zh-CN" sz="1200" dirty="0"/>
            </a:p>
          </p:txBody>
        </p:sp>
        <p:sp>
          <p:nvSpPr>
            <p:cNvPr id="20" name="ï$líḓê">
              <a:extLst>
                <a:ext uri="{FF2B5EF4-FFF2-40B4-BE49-F238E27FC236}">
                  <a16:creationId xmlns:a16="http://schemas.microsoft.com/office/drawing/2014/main" id="{FCBCE448-A746-45FC-ABE2-27B64D489326}"/>
                </a:ext>
              </a:extLst>
            </p:cNvPr>
            <p:cNvSpPr txBox="1"/>
            <p:nvPr/>
          </p:nvSpPr>
          <p:spPr bwMode="auto">
            <a:xfrm flipH="1">
              <a:off x="7658102" y="1251666"/>
              <a:ext cx="3860798" cy="40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spcBef>
                  <a:spcPct val="0"/>
                </a:spcBef>
              </a:pPr>
              <a:r>
                <a:rPr lang="en-US" altLang="zh-CN" b="1" i="1" dirty="0"/>
                <a:t>04.</a:t>
              </a:r>
              <a:r>
                <a:rPr lang="zh-CN" altLang="en-US" b="1" i="1" dirty="0"/>
                <a:t>模板匹配方法</a:t>
              </a:r>
              <a:endParaRPr lang="en-US" altLang="zh-CN" sz="1800" b="1" i="1" dirty="0"/>
            </a:p>
          </p:txBody>
        </p:sp>
        <p:cxnSp>
          <p:nvCxnSpPr>
            <p:cNvPr id="21" name="直接连接符 20">
              <a:extLst>
                <a:ext uri="{FF2B5EF4-FFF2-40B4-BE49-F238E27FC236}">
                  <a16:creationId xmlns:a16="http://schemas.microsoft.com/office/drawing/2014/main" id="{06EB7930-7C80-4924-A7A3-589A7D8D577C}"/>
                </a:ext>
              </a:extLst>
            </p:cNvPr>
            <p:cNvCxnSpPr/>
            <p:nvPr/>
          </p:nvCxnSpPr>
          <p:spPr>
            <a:xfrm flipH="1">
              <a:off x="7763285" y="1652758"/>
              <a:ext cx="3666553"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grpSp>
        <p:nvGrpSpPr>
          <p:cNvPr id="11" name="îṩḷîdé">
            <a:extLst>
              <a:ext uri="{FF2B5EF4-FFF2-40B4-BE49-F238E27FC236}">
                <a16:creationId xmlns:a16="http://schemas.microsoft.com/office/drawing/2014/main" id="{60731127-2A3B-4081-8316-F4951BDB658F}"/>
              </a:ext>
            </a:extLst>
          </p:cNvPr>
          <p:cNvGrpSpPr/>
          <p:nvPr/>
        </p:nvGrpSpPr>
        <p:grpSpPr>
          <a:xfrm>
            <a:off x="8093574" y="2495988"/>
            <a:ext cx="3425326" cy="962168"/>
            <a:chOff x="8093574" y="2321416"/>
            <a:chExt cx="3425326" cy="962168"/>
          </a:xfrm>
        </p:grpSpPr>
        <p:sp>
          <p:nvSpPr>
            <p:cNvPr id="16" name="îŝḷíḓe">
              <a:extLst>
                <a:ext uri="{FF2B5EF4-FFF2-40B4-BE49-F238E27FC236}">
                  <a16:creationId xmlns:a16="http://schemas.microsoft.com/office/drawing/2014/main" id="{8316902B-9F15-4AE4-BBCF-5E1CB0686F18}"/>
                </a:ext>
              </a:extLst>
            </p:cNvPr>
            <p:cNvSpPr/>
            <p:nvPr/>
          </p:nvSpPr>
          <p:spPr bwMode="auto">
            <a:xfrm flipH="1">
              <a:off x="8093574" y="2707270"/>
              <a:ext cx="3425326" cy="576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30000"/>
                </a:lnSpc>
              </a:pPr>
              <a:r>
                <a:rPr lang="zh-CN" altLang="en-US" sz="1200" dirty="0"/>
                <a:t>对于形式化的设计模式也能够恢复变量。因此，恢复设计模式实例的问题简化为验证谓词的问题。</a:t>
              </a:r>
              <a:endParaRPr lang="en-US" altLang="zh-CN" sz="1200" dirty="0"/>
            </a:p>
          </p:txBody>
        </p:sp>
        <p:sp>
          <p:nvSpPr>
            <p:cNvPr id="17" name="î$ḻíḓê">
              <a:extLst>
                <a:ext uri="{FF2B5EF4-FFF2-40B4-BE49-F238E27FC236}">
                  <a16:creationId xmlns:a16="http://schemas.microsoft.com/office/drawing/2014/main" id="{FCBCE448-A746-45FC-ABE2-27B64D489326}"/>
                </a:ext>
              </a:extLst>
            </p:cNvPr>
            <p:cNvSpPr txBox="1"/>
            <p:nvPr/>
          </p:nvSpPr>
          <p:spPr bwMode="auto">
            <a:xfrm flipH="1">
              <a:off x="8239126" y="2321416"/>
              <a:ext cx="3279774" cy="40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spcBef>
                  <a:spcPct val="0"/>
                </a:spcBef>
              </a:pPr>
              <a:r>
                <a:rPr lang="en-US" altLang="zh-CN" b="1" i="1" dirty="0"/>
                <a:t>05.</a:t>
              </a:r>
              <a:r>
                <a:rPr lang="zh-CN" altLang="en-US" b="1" i="1" dirty="0"/>
                <a:t>元建模方法</a:t>
              </a:r>
              <a:endParaRPr lang="en-US" altLang="zh-CN" sz="1800" b="1" i="1" dirty="0"/>
            </a:p>
          </p:txBody>
        </p:sp>
        <p:cxnSp>
          <p:nvCxnSpPr>
            <p:cNvPr id="18" name="直接连接符 17">
              <a:extLst>
                <a:ext uri="{FF2B5EF4-FFF2-40B4-BE49-F238E27FC236}">
                  <a16:creationId xmlns:a16="http://schemas.microsoft.com/office/drawing/2014/main" id="{FEA9C917-7556-4238-B4FA-24B995CC936A}"/>
                </a:ext>
              </a:extLst>
            </p:cNvPr>
            <p:cNvCxnSpPr/>
            <p:nvPr/>
          </p:nvCxnSpPr>
          <p:spPr>
            <a:xfrm flipH="1">
              <a:off x="8333588" y="2737748"/>
              <a:ext cx="3114761"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grpSp>
        <p:nvGrpSpPr>
          <p:cNvPr id="12" name="ïśļiḋè">
            <a:extLst>
              <a:ext uri="{FF2B5EF4-FFF2-40B4-BE49-F238E27FC236}">
                <a16:creationId xmlns:a16="http://schemas.microsoft.com/office/drawing/2014/main" id="{95E349FF-48D2-47B2-B389-15065256324E}"/>
              </a:ext>
            </a:extLst>
          </p:cNvPr>
          <p:cNvGrpSpPr/>
          <p:nvPr/>
        </p:nvGrpSpPr>
        <p:grpSpPr>
          <a:xfrm flipH="1">
            <a:off x="9130156" y="3473912"/>
            <a:ext cx="2388744" cy="1242867"/>
            <a:chOff x="673100" y="2864043"/>
            <a:chExt cx="5518697" cy="1242867"/>
          </a:xfrm>
        </p:grpSpPr>
        <p:sp>
          <p:nvSpPr>
            <p:cNvPr id="13" name="íSḻíďe">
              <a:extLst>
                <a:ext uri="{FF2B5EF4-FFF2-40B4-BE49-F238E27FC236}">
                  <a16:creationId xmlns:a16="http://schemas.microsoft.com/office/drawing/2014/main" id="{8316902B-9F15-4AE4-BBCF-5E1CB0686F18}"/>
                </a:ext>
              </a:extLst>
            </p:cNvPr>
            <p:cNvSpPr/>
            <p:nvPr/>
          </p:nvSpPr>
          <p:spPr bwMode="auto">
            <a:xfrm>
              <a:off x="673102" y="3265136"/>
              <a:ext cx="5518695" cy="84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30000"/>
                </a:lnSpc>
              </a:pPr>
              <a:r>
                <a:rPr lang="zh-CN" altLang="en-US" sz="1100" dirty="0"/>
                <a:t>利用平面图来表示系统，利用要恢复的设计模式来减少搜索空间，从而实现恢复。</a:t>
              </a:r>
              <a:endParaRPr lang="en-US" altLang="zh-CN" sz="1100" dirty="0"/>
            </a:p>
          </p:txBody>
        </p:sp>
        <p:sp>
          <p:nvSpPr>
            <p:cNvPr id="14" name="íṣliďè">
              <a:extLst>
                <a:ext uri="{FF2B5EF4-FFF2-40B4-BE49-F238E27FC236}">
                  <a16:creationId xmlns:a16="http://schemas.microsoft.com/office/drawing/2014/main" id="{FCBCE448-A746-45FC-ABE2-27B64D489326}"/>
                </a:ext>
              </a:extLst>
            </p:cNvPr>
            <p:cNvSpPr txBox="1"/>
            <p:nvPr/>
          </p:nvSpPr>
          <p:spPr bwMode="auto">
            <a:xfrm>
              <a:off x="673100" y="2864043"/>
              <a:ext cx="5518695" cy="40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spcBef>
                  <a:spcPct val="0"/>
                </a:spcBef>
              </a:pPr>
              <a:r>
                <a:rPr lang="en-US" altLang="zh-CN" b="1" i="1" dirty="0"/>
                <a:t>06.</a:t>
              </a:r>
              <a:r>
                <a:rPr lang="zh-CN" altLang="en-US" b="1" i="1" dirty="0"/>
                <a:t>基于平面图的方法</a:t>
              </a:r>
              <a:endParaRPr lang="en-US" altLang="zh-CN" sz="1800" b="1" i="1" dirty="0"/>
            </a:p>
          </p:txBody>
        </p:sp>
        <p:cxnSp>
          <p:nvCxnSpPr>
            <p:cNvPr id="15" name="直接连接符 14">
              <a:extLst>
                <a:ext uri="{FF2B5EF4-FFF2-40B4-BE49-F238E27FC236}">
                  <a16:creationId xmlns:a16="http://schemas.microsoft.com/office/drawing/2014/main" id="{CE33FA72-B39D-4EB8-9923-912D658B92FB}"/>
                </a:ext>
              </a:extLst>
            </p:cNvPr>
            <p:cNvCxnSpPr/>
            <p:nvPr/>
          </p:nvCxnSpPr>
          <p:spPr>
            <a:xfrm>
              <a:off x="791812" y="3265135"/>
              <a:ext cx="5241037"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grpSp>
        <p:nvGrpSpPr>
          <p:cNvPr id="2" name="组合 1">
            <a:extLst>
              <a:ext uri="{FF2B5EF4-FFF2-40B4-BE49-F238E27FC236}">
                <a16:creationId xmlns:a16="http://schemas.microsoft.com/office/drawing/2014/main" id="{D036FB0B-A69A-4629-B757-14D9FCF96E2E}"/>
              </a:ext>
            </a:extLst>
          </p:cNvPr>
          <p:cNvGrpSpPr/>
          <p:nvPr/>
        </p:nvGrpSpPr>
        <p:grpSpPr>
          <a:xfrm>
            <a:off x="-43962" y="-2"/>
            <a:ext cx="12265321" cy="1081456"/>
            <a:chOff x="-43962" y="-2"/>
            <a:chExt cx="12265321" cy="1081456"/>
          </a:xfrm>
        </p:grpSpPr>
        <p:grpSp>
          <p:nvGrpSpPr>
            <p:cNvPr id="45" name="组合 44">
              <a:extLst>
                <a:ext uri="{FF2B5EF4-FFF2-40B4-BE49-F238E27FC236}">
                  <a16:creationId xmlns:a16="http://schemas.microsoft.com/office/drawing/2014/main" id="{D69D4B83-E9E5-4134-96CA-29177F372157}"/>
                </a:ext>
              </a:extLst>
            </p:cNvPr>
            <p:cNvGrpSpPr/>
            <p:nvPr/>
          </p:nvGrpSpPr>
          <p:grpSpPr>
            <a:xfrm rot="10800000">
              <a:off x="-43962" y="-2"/>
              <a:ext cx="12265321" cy="1081456"/>
              <a:chOff x="1" y="5010588"/>
              <a:chExt cx="12265322" cy="1905823"/>
            </a:xfrm>
          </p:grpSpPr>
          <p:sp>
            <p:nvSpPr>
              <p:cNvPr id="46" name="îṧļiḑe">
                <a:extLst>
                  <a:ext uri="{FF2B5EF4-FFF2-40B4-BE49-F238E27FC236}">
                    <a16:creationId xmlns:a16="http://schemas.microsoft.com/office/drawing/2014/main" id="{66B1F7C7-A5E3-41DA-BF06-9531D8C5F695}"/>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47" name="îṩľiḑê">
                <a:extLst>
                  <a:ext uri="{FF2B5EF4-FFF2-40B4-BE49-F238E27FC236}">
                    <a16:creationId xmlns:a16="http://schemas.microsoft.com/office/drawing/2014/main" id="{D7555A6C-9804-4F6E-8CD8-B2950D1D4561}"/>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sp>
          <p:nvSpPr>
            <p:cNvPr id="48" name="ïṥḷiḋê">
              <a:extLst>
                <a:ext uri="{FF2B5EF4-FFF2-40B4-BE49-F238E27FC236}">
                  <a16:creationId xmlns:a16="http://schemas.microsoft.com/office/drawing/2014/main" id="{4D49E47D-564C-4AE2-9BB9-E5D5206DD314}"/>
                </a:ext>
              </a:extLst>
            </p:cNvPr>
            <p:cNvSpPr/>
            <p:nvPr/>
          </p:nvSpPr>
          <p:spPr bwMode="auto">
            <a:xfrm>
              <a:off x="433797" y="74182"/>
              <a:ext cx="518452" cy="500938"/>
            </a:xfrm>
            <a:custGeom>
              <a:avLst/>
              <a:gdLst>
                <a:gd name="connsiteX0" fmla="*/ 72559 w 588712"/>
                <a:gd name="connsiteY0" fmla="*/ 332808 h 568825"/>
                <a:gd name="connsiteX1" fmla="*/ 60082 w 588712"/>
                <a:gd name="connsiteY1" fmla="*/ 337644 h 568825"/>
                <a:gd name="connsiteX2" fmla="*/ 54211 w 588712"/>
                <a:gd name="connsiteY2" fmla="*/ 344678 h 568825"/>
                <a:gd name="connsiteX3" fmla="*/ 48340 w 588712"/>
                <a:gd name="connsiteY3" fmla="*/ 370471 h 568825"/>
                <a:gd name="connsiteX4" fmla="*/ 64779 w 588712"/>
                <a:gd name="connsiteY4" fmla="*/ 372815 h 568825"/>
                <a:gd name="connsiteX5" fmla="*/ 89439 w 588712"/>
                <a:gd name="connsiteY5" fmla="*/ 348196 h 568825"/>
                <a:gd name="connsiteX6" fmla="*/ 85916 w 588712"/>
                <a:gd name="connsiteY6" fmla="*/ 334127 h 568825"/>
                <a:gd name="connsiteX7" fmla="*/ 72559 w 588712"/>
                <a:gd name="connsiteY7" fmla="*/ 332808 h 568825"/>
                <a:gd name="connsiteX8" fmla="*/ 63605 w 588712"/>
                <a:gd name="connsiteY8" fmla="*/ 320058 h 568825"/>
                <a:gd name="connsiteX9" fmla="*/ 49514 w 588712"/>
                <a:gd name="connsiteY9" fmla="*/ 325920 h 568825"/>
                <a:gd name="connsiteX10" fmla="*/ 48340 w 588712"/>
                <a:gd name="connsiteY10" fmla="*/ 325920 h 568825"/>
                <a:gd name="connsiteX11" fmla="*/ 38945 w 588712"/>
                <a:gd name="connsiteY11" fmla="*/ 341161 h 568825"/>
                <a:gd name="connsiteX12" fmla="*/ 38945 w 588712"/>
                <a:gd name="connsiteY12" fmla="*/ 343506 h 568825"/>
                <a:gd name="connsiteX13" fmla="*/ 41294 w 588712"/>
                <a:gd name="connsiteY13" fmla="*/ 348196 h 568825"/>
                <a:gd name="connsiteX14" fmla="*/ 54211 w 588712"/>
                <a:gd name="connsiteY14" fmla="*/ 342334 h 568825"/>
                <a:gd name="connsiteX15" fmla="*/ 58908 w 588712"/>
                <a:gd name="connsiteY15" fmla="*/ 337644 h 568825"/>
                <a:gd name="connsiteX16" fmla="*/ 69476 w 588712"/>
                <a:gd name="connsiteY16" fmla="*/ 325920 h 568825"/>
                <a:gd name="connsiteX17" fmla="*/ 67128 w 588712"/>
                <a:gd name="connsiteY17" fmla="*/ 324748 h 568825"/>
                <a:gd name="connsiteX18" fmla="*/ 63605 w 588712"/>
                <a:gd name="connsiteY18" fmla="*/ 320058 h 568825"/>
                <a:gd name="connsiteX19" fmla="*/ 259391 w 588712"/>
                <a:gd name="connsiteY19" fmla="*/ 293003 h 568825"/>
                <a:gd name="connsiteX20" fmla="*/ 256171 w 588712"/>
                <a:gd name="connsiteY20" fmla="*/ 298993 h 568825"/>
                <a:gd name="connsiteX21" fmla="*/ 242121 w 588712"/>
                <a:gd name="connsiteY21" fmla="*/ 314189 h 568825"/>
                <a:gd name="connsiteX22" fmla="*/ 228072 w 588712"/>
                <a:gd name="connsiteY22" fmla="*/ 325877 h 568825"/>
                <a:gd name="connsiteX23" fmla="*/ 225730 w 588712"/>
                <a:gd name="connsiteY23" fmla="*/ 322371 h 568825"/>
                <a:gd name="connsiteX24" fmla="*/ 253829 w 588712"/>
                <a:gd name="connsiteY24" fmla="*/ 296655 h 568825"/>
                <a:gd name="connsiteX25" fmla="*/ 259391 w 588712"/>
                <a:gd name="connsiteY25" fmla="*/ 293003 h 568825"/>
                <a:gd name="connsiteX26" fmla="*/ 55238 w 588712"/>
                <a:gd name="connsiteY26" fmla="*/ 274336 h 568825"/>
                <a:gd name="connsiteX27" fmla="*/ 48340 w 588712"/>
                <a:gd name="connsiteY27" fmla="*/ 277853 h 568825"/>
                <a:gd name="connsiteX28" fmla="*/ 42468 w 588712"/>
                <a:gd name="connsiteY28" fmla="*/ 283715 h 568825"/>
                <a:gd name="connsiteX29" fmla="*/ 31900 w 588712"/>
                <a:gd name="connsiteY29" fmla="*/ 308335 h 568825"/>
                <a:gd name="connsiteX30" fmla="*/ 44817 w 588712"/>
                <a:gd name="connsiteY30" fmla="*/ 309507 h 568825"/>
                <a:gd name="connsiteX31" fmla="*/ 45991 w 588712"/>
                <a:gd name="connsiteY31" fmla="*/ 307162 h 568825"/>
                <a:gd name="connsiteX32" fmla="*/ 57734 w 588712"/>
                <a:gd name="connsiteY32" fmla="*/ 281370 h 568825"/>
                <a:gd name="connsiteX33" fmla="*/ 55238 w 588712"/>
                <a:gd name="connsiteY33" fmla="*/ 274336 h 568825"/>
                <a:gd name="connsiteX34" fmla="*/ 550927 w 588712"/>
                <a:gd name="connsiteY34" fmla="*/ 251475 h 568825"/>
                <a:gd name="connsiteX35" fmla="*/ 542707 w 588712"/>
                <a:gd name="connsiteY35" fmla="*/ 254405 h 568825"/>
                <a:gd name="connsiteX36" fmla="*/ 534487 w 588712"/>
                <a:gd name="connsiteY36" fmla="*/ 281370 h 568825"/>
                <a:gd name="connsiteX37" fmla="*/ 534487 w 588712"/>
                <a:gd name="connsiteY37" fmla="*/ 287232 h 568825"/>
                <a:gd name="connsiteX38" fmla="*/ 539184 w 588712"/>
                <a:gd name="connsiteY38" fmla="*/ 295439 h 568825"/>
                <a:gd name="connsiteX39" fmla="*/ 547404 w 588712"/>
                <a:gd name="connsiteY39" fmla="*/ 287232 h 568825"/>
                <a:gd name="connsiteX40" fmla="*/ 552101 w 588712"/>
                <a:gd name="connsiteY40" fmla="*/ 281370 h 568825"/>
                <a:gd name="connsiteX41" fmla="*/ 555624 w 588712"/>
                <a:gd name="connsiteY41" fmla="*/ 260267 h 568825"/>
                <a:gd name="connsiteX42" fmla="*/ 555624 w 588712"/>
                <a:gd name="connsiteY42" fmla="*/ 259095 h 568825"/>
                <a:gd name="connsiteX43" fmla="*/ 550927 w 588712"/>
                <a:gd name="connsiteY43" fmla="*/ 251475 h 568825"/>
                <a:gd name="connsiteX44" fmla="*/ 279896 w 588712"/>
                <a:gd name="connsiteY44" fmla="*/ 233952 h 568825"/>
                <a:gd name="connsiteX45" fmla="*/ 281948 w 588712"/>
                <a:gd name="connsiteY45" fmla="*/ 235565 h 568825"/>
                <a:gd name="connsiteX46" fmla="*/ 270224 w 588712"/>
                <a:gd name="connsiteY46" fmla="*/ 251985 h 568825"/>
                <a:gd name="connsiteX47" fmla="*/ 191671 w 588712"/>
                <a:gd name="connsiteY47" fmla="*/ 324705 h 568825"/>
                <a:gd name="connsiteX48" fmla="*/ 179947 w 588712"/>
                <a:gd name="connsiteY48" fmla="*/ 334088 h 568825"/>
                <a:gd name="connsiteX49" fmla="*/ 189327 w 588712"/>
                <a:gd name="connsiteY49" fmla="*/ 322359 h 568825"/>
                <a:gd name="connsiteX50" fmla="*/ 272568 w 588712"/>
                <a:gd name="connsiteY50" fmla="*/ 240256 h 568825"/>
                <a:gd name="connsiteX51" fmla="*/ 279896 w 588712"/>
                <a:gd name="connsiteY51" fmla="*/ 233952 h 568825"/>
                <a:gd name="connsiteX52" fmla="*/ 279084 w 588712"/>
                <a:gd name="connsiteY52" fmla="*/ 183770 h 568825"/>
                <a:gd name="connsiteX53" fmla="*/ 267928 w 588712"/>
                <a:gd name="connsiteY53" fmla="*/ 188752 h 568825"/>
                <a:gd name="connsiteX54" fmla="*/ 215086 w 588712"/>
                <a:gd name="connsiteY54" fmla="*/ 242682 h 568825"/>
                <a:gd name="connsiteX55" fmla="*/ 198646 w 588712"/>
                <a:gd name="connsiteY55" fmla="*/ 268474 h 568825"/>
                <a:gd name="connsiteX56" fmla="*/ 168115 w 588712"/>
                <a:gd name="connsiteY56" fmla="*/ 309507 h 568825"/>
                <a:gd name="connsiteX57" fmla="*/ 122319 w 588712"/>
                <a:gd name="connsiteY57" fmla="*/ 335299 h 568825"/>
                <a:gd name="connsiteX58" fmla="*/ 108227 w 588712"/>
                <a:gd name="connsiteY58" fmla="*/ 344678 h 568825"/>
                <a:gd name="connsiteX59" fmla="*/ 98833 w 588712"/>
                <a:gd name="connsiteY59" fmla="*/ 362264 h 568825"/>
                <a:gd name="connsiteX60" fmla="*/ 72999 w 588712"/>
                <a:gd name="connsiteY60" fmla="*/ 389229 h 568825"/>
                <a:gd name="connsiteX61" fmla="*/ 69476 w 588712"/>
                <a:gd name="connsiteY61" fmla="*/ 413849 h 568825"/>
                <a:gd name="connsiteX62" fmla="*/ 82393 w 588712"/>
                <a:gd name="connsiteY62" fmla="*/ 434951 h 568825"/>
                <a:gd name="connsiteX63" fmla="*/ 102356 w 588712"/>
                <a:gd name="connsiteY63" fmla="*/ 436124 h 568825"/>
                <a:gd name="connsiteX64" fmla="*/ 118796 w 588712"/>
                <a:gd name="connsiteY64" fmla="*/ 420883 h 568825"/>
                <a:gd name="connsiteX65" fmla="*/ 135236 w 588712"/>
                <a:gd name="connsiteY65" fmla="*/ 419710 h 568825"/>
                <a:gd name="connsiteX66" fmla="*/ 128190 w 588712"/>
                <a:gd name="connsiteY66" fmla="*/ 438468 h 568825"/>
                <a:gd name="connsiteX67" fmla="*/ 114099 w 588712"/>
                <a:gd name="connsiteY67" fmla="*/ 451365 h 568825"/>
                <a:gd name="connsiteX68" fmla="*/ 110576 w 588712"/>
                <a:gd name="connsiteY68" fmla="*/ 470123 h 568825"/>
                <a:gd name="connsiteX69" fmla="*/ 129364 w 588712"/>
                <a:gd name="connsiteY69" fmla="*/ 467778 h 568825"/>
                <a:gd name="connsiteX70" fmla="*/ 139933 w 588712"/>
                <a:gd name="connsiteY70" fmla="*/ 457226 h 568825"/>
                <a:gd name="connsiteX71" fmla="*/ 152850 w 588712"/>
                <a:gd name="connsiteY71" fmla="*/ 447847 h 568825"/>
                <a:gd name="connsiteX72" fmla="*/ 142281 w 588712"/>
                <a:gd name="connsiteY72" fmla="*/ 460744 h 568825"/>
                <a:gd name="connsiteX73" fmla="*/ 132887 w 588712"/>
                <a:gd name="connsiteY73" fmla="*/ 470123 h 568825"/>
                <a:gd name="connsiteX74" fmla="*/ 134061 w 588712"/>
                <a:gd name="connsiteY74" fmla="*/ 492398 h 568825"/>
                <a:gd name="connsiteX75" fmla="*/ 151675 w 588712"/>
                <a:gd name="connsiteY75" fmla="*/ 506466 h 568825"/>
                <a:gd name="connsiteX76" fmla="*/ 176335 w 588712"/>
                <a:gd name="connsiteY76" fmla="*/ 505294 h 568825"/>
                <a:gd name="connsiteX77" fmla="*/ 178683 w 588712"/>
                <a:gd name="connsiteY77" fmla="*/ 502949 h 568825"/>
                <a:gd name="connsiteX78" fmla="*/ 196298 w 588712"/>
                <a:gd name="connsiteY78" fmla="*/ 497087 h 568825"/>
                <a:gd name="connsiteX79" fmla="*/ 191600 w 588712"/>
                <a:gd name="connsiteY79" fmla="*/ 513500 h 568825"/>
                <a:gd name="connsiteX80" fmla="*/ 195123 w 588712"/>
                <a:gd name="connsiteY80" fmla="*/ 532258 h 568825"/>
                <a:gd name="connsiteX81" fmla="*/ 212737 w 588712"/>
                <a:gd name="connsiteY81" fmla="*/ 539293 h 568825"/>
                <a:gd name="connsiteX82" fmla="*/ 235049 w 588712"/>
                <a:gd name="connsiteY82" fmla="*/ 536948 h 568825"/>
                <a:gd name="connsiteX83" fmla="*/ 256186 w 588712"/>
                <a:gd name="connsiteY83" fmla="*/ 538120 h 568825"/>
                <a:gd name="connsiteX84" fmla="*/ 257360 w 588712"/>
                <a:gd name="connsiteY84" fmla="*/ 538120 h 568825"/>
                <a:gd name="connsiteX85" fmla="*/ 267928 w 588712"/>
                <a:gd name="connsiteY85" fmla="*/ 548672 h 568825"/>
                <a:gd name="connsiteX86" fmla="*/ 279671 w 588712"/>
                <a:gd name="connsiteY86" fmla="*/ 554534 h 568825"/>
                <a:gd name="connsiteX87" fmla="*/ 339559 w 588712"/>
                <a:gd name="connsiteY87" fmla="*/ 551016 h 568825"/>
                <a:gd name="connsiteX88" fmla="*/ 546230 w 588712"/>
                <a:gd name="connsiteY88" fmla="*/ 363436 h 568825"/>
                <a:gd name="connsiteX89" fmla="*/ 547404 w 588712"/>
                <a:gd name="connsiteY89" fmla="*/ 347023 h 568825"/>
                <a:gd name="connsiteX90" fmla="*/ 543881 w 588712"/>
                <a:gd name="connsiteY90" fmla="*/ 345851 h 568825"/>
                <a:gd name="connsiteX91" fmla="*/ 536836 w 588712"/>
                <a:gd name="connsiteY91" fmla="*/ 342334 h 568825"/>
                <a:gd name="connsiteX92" fmla="*/ 541533 w 588712"/>
                <a:gd name="connsiteY92" fmla="*/ 327093 h 568825"/>
                <a:gd name="connsiteX93" fmla="*/ 546230 w 588712"/>
                <a:gd name="connsiteY93" fmla="*/ 322403 h 568825"/>
                <a:gd name="connsiteX94" fmla="*/ 557973 w 588712"/>
                <a:gd name="connsiteY94" fmla="*/ 298956 h 568825"/>
                <a:gd name="connsiteX95" fmla="*/ 547404 w 588712"/>
                <a:gd name="connsiteY95" fmla="*/ 297783 h 568825"/>
                <a:gd name="connsiteX96" fmla="*/ 535662 w 588712"/>
                <a:gd name="connsiteY96" fmla="*/ 309507 h 568825"/>
                <a:gd name="connsiteX97" fmla="*/ 520396 w 588712"/>
                <a:gd name="connsiteY97" fmla="*/ 328265 h 568825"/>
                <a:gd name="connsiteX98" fmla="*/ 514525 w 588712"/>
                <a:gd name="connsiteY98" fmla="*/ 334127 h 568825"/>
                <a:gd name="connsiteX99" fmla="*/ 406492 w 588712"/>
                <a:gd name="connsiteY99" fmla="*/ 318886 h 568825"/>
                <a:gd name="connsiteX100" fmla="*/ 290239 w 588712"/>
                <a:gd name="connsiteY100" fmla="*/ 187580 h 568825"/>
                <a:gd name="connsiteX101" fmla="*/ 279084 w 588712"/>
                <a:gd name="connsiteY101" fmla="*/ 183770 h 568825"/>
                <a:gd name="connsiteX102" fmla="*/ 522598 w 588712"/>
                <a:gd name="connsiteY102" fmla="*/ 165891 h 568825"/>
                <a:gd name="connsiteX103" fmla="*/ 513350 w 588712"/>
                <a:gd name="connsiteY103" fmla="*/ 168822 h 568825"/>
                <a:gd name="connsiteX104" fmla="*/ 509828 w 588712"/>
                <a:gd name="connsiteY104" fmla="*/ 192270 h 568825"/>
                <a:gd name="connsiteX105" fmla="*/ 525093 w 588712"/>
                <a:gd name="connsiteY105" fmla="*/ 229786 h 568825"/>
                <a:gd name="connsiteX106" fmla="*/ 539184 w 588712"/>
                <a:gd name="connsiteY106" fmla="*/ 234475 h 568825"/>
                <a:gd name="connsiteX107" fmla="*/ 545056 w 588712"/>
                <a:gd name="connsiteY107" fmla="*/ 209855 h 568825"/>
                <a:gd name="connsiteX108" fmla="*/ 530965 w 588712"/>
                <a:gd name="connsiteY108" fmla="*/ 173512 h 568825"/>
                <a:gd name="connsiteX109" fmla="*/ 522598 w 588712"/>
                <a:gd name="connsiteY109" fmla="*/ 165891 h 568825"/>
                <a:gd name="connsiteX110" fmla="*/ 231673 w 588712"/>
                <a:gd name="connsiteY110" fmla="*/ 152556 h 568825"/>
                <a:gd name="connsiteX111" fmla="*/ 219783 w 588712"/>
                <a:gd name="connsiteY111" fmla="*/ 158271 h 568825"/>
                <a:gd name="connsiteX112" fmla="*/ 210389 w 588712"/>
                <a:gd name="connsiteY112" fmla="*/ 184063 h 568825"/>
                <a:gd name="connsiteX113" fmla="*/ 211563 w 588712"/>
                <a:gd name="connsiteY113" fmla="*/ 212200 h 568825"/>
                <a:gd name="connsiteX114" fmla="*/ 213912 w 588712"/>
                <a:gd name="connsiteY114" fmla="*/ 225096 h 568825"/>
                <a:gd name="connsiteX115" fmla="*/ 217434 w 588712"/>
                <a:gd name="connsiteY115" fmla="*/ 221579 h 568825"/>
                <a:gd name="connsiteX116" fmla="*/ 258534 w 588712"/>
                <a:gd name="connsiteY116" fmla="*/ 181718 h 568825"/>
                <a:gd name="connsiteX117" fmla="*/ 257360 w 588712"/>
                <a:gd name="connsiteY117" fmla="*/ 162960 h 568825"/>
                <a:gd name="connsiteX118" fmla="*/ 244443 w 588712"/>
                <a:gd name="connsiteY118" fmla="*/ 154754 h 568825"/>
                <a:gd name="connsiteX119" fmla="*/ 231673 w 588712"/>
                <a:gd name="connsiteY119" fmla="*/ 152556 h 568825"/>
                <a:gd name="connsiteX120" fmla="*/ 501608 w 588712"/>
                <a:gd name="connsiteY120" fmla="*/ 147719 h 568825"/>
                <a:gd name="connsiteX121" fmla="*/ 496911 w 588712"/>
                <a:gd name="connsiteY121" fmla="*/ 166477 h 568825"/>
                <a:gd name="connsiteX122" fmla="*/ 511002 w 588712"/>
                <a:gd name="connsiteY122" fmla="*/ 165305 h 568825"/>
                <a:gd name="connsiteX123" fmla="*/ 515699 w 588712"/>
                <a:gd name="connsiteY123" fmla="*/ 147719 h 568825"/>
                <a:gd name="connsiteX124" fmla="*/ 501608 w 588712"/>
                <a:gd name="connsiteY124" fmla="*/ 147719 h 568825"/>
                <a:gd name="connsiteX125" fmla="*/ 212737 w 588712"/>
                <a:gd name="connsiteY125" fmla="*/ 138340 h 568825"/>
                <a:gd name="connsiteX126" fmla="*/ 206866 w 588712"/>
                <a:gd name="connsiteY126" fmla="*/ 145375 h 568825"/>
                <a:gd name="connsiteX127" fmla="*/ 212737 w 588712"/>
                <a:gd name="connsiteY127" fmla="*/ 147719 h 568825"/>
                <a:gd name="connsiteX128" fmla="*/ 212737 w 588712"/>
                <a:gd name="connsiteY128" fmla="*/ 138340 h 568825"/>
                <a:gd name="connsiteX129" fmla="*/ 487370 w 588712"/>
                <a:gd name="connsiteY129" fmla="*/ 113427 h 568825"/>
                <a:gd name="connsiteX130" fmla="*/ 476948 w 588712"/>
                <a:gd name="connsiteY130" fmla="*/ 116065 h 568825"/>
                <a:gd name="connsiteX131" fmla="*/ 473425 w 588712"/>
                <a:gd name="connsiteY131" fmla="*/ 132478 h 568825"/>
                <a:gd name="connsiteX132" fmla="*/ 479297 w 588712"/>
                <a:gd name="connsiteY132" fmla="*/ 139513 h 568825"/>
                <a:gd name="connsiteX133" fmla="*/ 483994 w 588712"/>
                <a:gd name="connsiteY133" fmla="*/ 146547 h 568825"/>
                <a:gd name="connsiteX134" fmla="*/ 498085 w 588712"/>
                <a:gd name="connsiteY134" fmla="*/ 144202 h 568825"/>
                <a:gd name="connsiteX135" fmla="*/ 499259 w 588712"/>
                <a:gd name="connsiteY135" fmla="*/ 144202 h 568825"/>
                <a:gd name="connsiteX136" fmla="*/ 498085 w 588712"/>
                <a:gd name="connsiteY136" fmla="*/ 144202 h 568825"/>
                <a:gd name="connsiteX137" fmla="*/ 499259 w 588712"/>
                <a:gd name="connsiteY137" fmla="*/ 121927 h 568825"/>
                <a:gd name="connsiteX138" fmla="*/ 496911 w 588712"/>
                <a:gd name="connsiteY138" fmla="*/ 119582 h 568825"/>
                <a:gd name="connsiteX139" fmla="*/ 487370 w 588712"/>
                <a:gd name="connsiteY139" fmla="*/ 113427 h 568825"/>
                <a:gd name="connsiteX140" fmla="*/ 279524 w 588712"/>
                <a:gd name="connsiteY140" fmla="*/ 71955 h 568825"/>
                <a:gd name="connsiteX141" fmla="*/ 144630 w 588712"/>
                <a:gd name="connsiteY141" fmla="*/ 135996 h 568825"/>
                <a:gd name="connsiteX142" fmla="*/ 87091 w 588712"/>
                <a:gd name="connsiteY142" fmla="*/ 282542 h 568825"/>
                <a:gd name="connsiteX143" fmla="*/ 105879 w 588712"/>
                <a:gd name="connsiteY143" fmla="*/ 302473 h 568825"/>
                <a:gd name="connsiteX144" fmla="*/ 175161 w 588712"/>
                <a:gd name="connsiteY144" fmla="*/ 257923 h 568825"/>
                <a:gd name="connsiteX145" fmla="*/ 177509 w 588712"/>
                <a:gd name="connsiteY145" fmla="*/ 246199 h 568825"/>
                <a:gd name="connsiteX146" fmla="*/ 182206 w 588712"/>
                <a:gd name="connsiteY146" fmla="*/ 219234 h 568825"/>
                <a:gd name="connsiteX147" fmla="*/ 181032 w 588712"/>
                <a:gd name="connsiteY147" fmla="*/ 141857 h 568825"/>
                <a:gd name="connsiteX148" fmla="*/ 186903 w 588712"/>
                <a:gd name="connsiteY148" fmla="*/ 120755 h 568825"/>
                <a:gd name="connsiteX149" fmla="*/ 193949 w 588712"/>
                <a:gd name="connsiteY149" fmla="*/ 118410 h 568825"/>
                <a:gd name="connsiteX150" fmla="*/ 205692 w 588712"/>
                <a:gd name="connsiteY150" fmla="*/ 116065 h 568825"/>
                <a:gd name="connsiteX151" fmla="*/ 210389 w 588712"/>
                <a:gd name="connsiteY151" fmla="*/ 116065 h 568825"/>
                <a:gd name="connsiteX152" fmla="*/ 405318 w 588712"/>
                <a:gd name="connsiteY152" fmla="*/ 268474 h 568825"/>
                <a:gd name="connsiteX153" fmla="*/ 452288 w 588712"/>
                <a:gd name="connsiteY153" fmla="*/ 323576 h 568825"/>
                <a:gd name="connsiteX154" fmla="*/ 496911 w 588712"/>
                <a:gd name="connsiteY154" fmla="*/ 260267 h 568825"/>
                <a:gd name="connsiteX155" fmla="*/ 420583 w 588712"/>
                <a:gd name="connsiteY155" fmla="*/ 119582 h 568825"/>
                <a:gd name="connsiteX156" fmla="*/ 279524 w 588712"/>
                <a:gd name="connsiteY156" fmla="*/ 71955 h 568825"/>
                <a:gd name="connsiteX157" fmla="*/ 186903 w 588712"/>
                <a:gd name="connsiteY157" fmla="*/ 41033 h 568825"/>
                <a:gd name="connsiteX158" fmla="*/ 179858 w 588712"/>
                <a:gd name="connsiteY158" fmla="*/ 42206 h 568825"/>
                <a:gd name="connsiteX159" fmla="*/ 56560 w 588712"/>
                <a:gd name="connsiteY159" fmla="*/ 166477 h 568825"/>
                <a:gd name="connsiteX160" fmla="*/ 61257 w 588712"/>
                <a:gd name="connsiteY160" fmla="*/ 169994 h 568825"/>
                <a:gd name="connsiteX161" fmla="*/ 183381 w 588712"/>
                <a:gd name="connsiteY161" fmla="*/ 46895 h 568825"/>
                <a:gd name="connsiteX162" fmla="*/ 186903 w 588712"/>
                <a:gd name="connsiteY162" fmla="*/ 41033 h 568825"/>
                <a:gd name="connsiteX163" fmla="*/ 266754 w 588712"/>
                <a:gd name="connsiteY163" fmla="*/ 16413 h 568825"/>
                <a:gd name="connsiteX164" fmla="*/ 231526 w 588712"/>
                <a:gd name="connsiteY164" fmla="*/ 23448 h 568825"/>
                <a:gd name="connsiteX165" fmla="*/ 204517 w 588712"/>
                <a:gd name="connsiteY165" fmla="*/ 38688 h 568825"/>
                <a:gd name="connsiteX166" fmla="*/ 104705 w 588712"/>
                <a:gd name="connsiteY166" fmla="*/ 139513 h 568825"/>
                <a:gd name="connsiteX167" fmla="*/ 55385 w 588712"/>
                <a:gd name="connsiteY167" fmla="*/ 187580 h 568825"/>
                <a:gd name="connsiteX168" fmla="*/ 38945 w 588712"/>
                <a:gd name="connsiteY168" fmla="*/ 213372 h 568825"/>
                <a:gd name="connsiteX169" fmla="*/ 33074 w 588712"/>
                <a:gd name="connsiteY169" fmla="*/ 243854 h 568825"/>
                <a:gd name="connsiteX170" fmla="*/ 42468 w 588712"/>
                <a:gd name="connsiteY170" fmla="*/ 248544 h 568825"/>
                <a:gd name="connsiteX171" fmla="*/ 57734 w 588712"/>
                <a:gd name="connsiteY171" fmla="*/ 233303 h 568825"/>
                <a:gd name="connsiteX172" fmla="*/ 70651 w 588712"/>
                <a:gd name="connsiteY172" fmla="*/ 218062 h 568825"/>
                <a:gd name="connsiteX173" fmla="*/ 71825 w 588712"/>
                <a:gd name="connsiteY173" fmla="*/ 214545 h 568825"/>
                <a:gd name="connsiteX174" fmla="*/ 132887 w 588712"/>
                <a:gd name="connsiteY174" fmla="*/ 121927 h 568825"/>
                <a:gd name="connsiteX175" fmla="*/ 276148 w 588712"/>
                <a:gd name="connsiteY175" fmla="*/ 57446 h 568825"/>
                <a:gd name="connsiteX176" fmla="*/ 361870 w 588712"/>
                <a:gd name="connsiteY176" fmla="*/ 65653 h 568825"/>
                <a:gd name="connsiteX177" fmla="*/ 379484 w 588712"/>
                <a:gd name="connsiteY177" fmla="*/ 69170 h 568825"/>
                <a:gd name="connsiteX178" fmla="*/ 380658 w 588712"/>
                <a:gd name="connsiteY178" fmla="*/ 69170 h 568825"/>
                <a:gd name="connsiteX179" fmla="*/ 381832 w 588712"/>
                <a:gd name="connsiteY179" fmla="*/ 69170 h 568825"/>
                <a:gd name="connsiteX180" fmla="*/ 383007 w 588712"/>
                <a:gd name="connsiteY180" fmla="*/ 70343 h 568825"/>
                <a:gd name="connsiteX181" fmla="*/ 392401 w 588712"/>
                <a:gd name="connsiteY181" fmla="*/ 75032 h 568825"/>
                <a:gd name="connsiteX182" fmla="*/ 405318 w 588712"/>
                <a:gd name="connsiteY182" fmla="*/ 75032 h 568825"/>
                <a:gd name="connsiteX183" fmla="*/ 412363 w 588712"/>
                <a:gd name="connsiteY183" fmla="*/ 72687 h 568825"/>
                <a:gd name="connsiteX184" fmla="*/ 411189 w 588712"/>
                <a:gd name="connsiteY184" fmla="*/ 77377 h 568825"/>
                <a:gd name="connsiteX185" fmla="*/ 417060 w 588712"/>
                <a:gd name="connsiteY185" fmla="*/ 86756 h 568825"/>
                <a:gd name="connsiteX186" fmla="*/ 433500 w 588712"/>
                <a:gd name="connsiteY186" fmla="*/ 85583 h 568825"/>
                <a:gd name="connsiteX187" fmla="*/ 447591 w 588712"/>
                <a:gd name="connsiteY187" fmla="*/ 80894 h 568825"/>
                <a:gd name="connsiteX188" fmla="*/ 445243 w 588712"/>
                <a:gd name="connsiteY188" fmla="*/ 90273 h 568825"/>
                <a:gd name="connsiteX189" fmla="*/ 445243 w 588712"/>
                <a:gd name="connsiteY189" fmla="*/ 104341 h 568825"/>
                <a:gd name="connsiteX190" fmla="*/ 462857 w 588712"/>
                <a:gd name="connsiteY190" fmla="*/ 101997 h 568825"/>
                <a:gd name="connsiteX191" fmla="*/ 461683 w 588712"/>
                <a:gd name="connsiteY191" fmla="*/ 82066 h 568825"/>
                <a:gd name="connsiteX192" fmla="*/ 323119 w 588712"/>
                <a:gd name="connsiteY192" fmla="*/ 17586 h 568825"/>
                <a:gd name="connsiteX193" fmla="*/ 303156 w 588712"/>
                <a:gd name="connsiteY193" fmla="*/ 21103 h 568825"/>
                <a:gd name="connsiteX194" fmla="*/ 284368 w 588712"/>
                <a:gd name="connsiteY194" fmla="*/ 30482 h 568825"/>
                <a:gd name="connsiteX195" fmla="*/ 260883 w 588712"/>
                <a:gd name="connsiteY195" fmla="*/ 39861 h 568825"/>
                <a:gd name="connsiteX196" fmla="*/ 258534 w 588712"/>
                <a:gd name="connsiteY196" fmla="*/ 36344 h 568825"/>
                <a:gd name="connsiteX197" fmla="*/ 271451 w 588712"/>
                <a:gd name="connsiteY197" fmla="*/ 25792 h 568825"/>
                <a:gd name="connsiteX198" fmla="*/ 266754 w 588712"/>
                <a:gd name="connsiteY198" fmla="*/ 16413 h 568825"/>
                <a:gd name="connsiteX199" fmla="*/ 300808 w 588712"/>
                <a:gd name="connsiteY199" fmla="*/ 0 h 568825"/>
                <a:gd name="connsiteX200" fmla="*/ 303156 w 588712"/>
                <a:gd name="connsiteY200" fmla="*/ 0 h 568825"/>
                <a:gd name="connsiteX201" fmla="*/ 320770 w 588712"/>
                <a:gd name="connsiteY201" fmla="*/ 1172 h 568825"/>
                <a:gd name="connsiteX202" fmla="*/ 583807 w 588712"/>
                <a:gd name="connsiteY202" fmla="*/ 324748 h 568825"/>
                <a:gd name="connsiteX203" fmla="*/ 284368 w 588712"/>
                <a:gd name="connsiteY203" fmla="*/ 568602 h 568825"/>
                <a:gd name="connsiteX204" fmla="*/ 4892 w 588712"/>
                <a:gd name="connsiteY204" fmla="*/ 243854 h 568825"/>
                <a:gd name="connsiteX205" fmla="*/ 300808 w 588712"/>
                <a:gd name="connsiteY205" fmla="*/ 0 h 56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588712" h="568825">
                  <a:moveTo>
                    <a:pt x="72559" y="332808"/>
                  </a:moveTo>
                  <a:cubicBezTo>
                    <a:pt x="68009" y="333247"/>
                    <a:pt x="63605" y="334713"/>
                    <a:pt x="60082" y="337644"/>
                  </a:cubicBezTo>
                  <a:cubicBezTo>
                    <a:pt x="58908" y="339989"/>
                    <a:pt x="56560" y="342334"/>
                    <a:pt x="54211" y="344678"/>
                  </a:cubicBezTo>
                  <a:cubicBezTo>
                    <a:pt x="48340" y="350540"/>
                    <a:pt x="44817" y="362264"/>
                    <a:pt x="48340" y="370471"/>
                  </a:cubicBezTo>
                  <a:cubicBezTo>
                    <a:pt x="50688" y="377505"/>
                    <a:pt x="58908" y="379850"/>
                    <a:pt x="64779" y="372815"/>
                  </a:cubicBezTo>
                  <a:cubicBezTo>
                    <a:pt x="72999" y="364609"/>
                    <a:pt x="81219" y="356402"/>
                    <a:pt x="89439" y="348196"/>
                  </a:cubicBezTo>
                  <a:cubicBezTo>
                    <a:pt x="96485" y="342334"/>
                    <a:pt x="94136" y="337644"/>
                    <a:pt x="85916" y="334127"/>
                  </a:cubicBezTo>
                  <a:cubicBezTo>
                    <a:pt x="81806" y="332954"/>
                    <a:pt x="77109" y="332368"/>
                    <a:pt x="72559" y="332808"/>
                  </a:cubicBezTo>
                  <a:close/>
                  <a:moveTo>
                    <a:pt x="63605" y="320058"/>
                  </a:moveTo>
                  <a:cubicBezTo>
                    <a:pt x="61257" y="317714"/>
                    <a:pt x="55385" y="320058"/>
                    <a:pt x="49514" y="325920"/>
                  </a:cubicBezTo>
                  <a:cubicBezTo>
                    <a:pt x="49514" y="325920"/>
                    <a:pt x="49514" y="325920"/>
                    <a:pt x="48340" y="325920"/>
                  </a:cubicBezTo>
                  <a:cubicBezTo>
                    <a:pt x="42468" y="332955"/>
                    <a:pt x="37771" y="338817"/>
                    <a:pt x="38945" y="341161"/>
                  </a:cubicBezTo>
                  <a:cubicBezTo>
                    <a:pt x="38945" y="341161"/>
                    <a:pt x="38945" y="342334"/>
                    <a:pt x="38945" y="343506"/>
                  </a:cubicBezTo>
                  <a:cubicBezTo>
                    <a:pt x="40120" y="345851"/>
                    <a:pt x="40120" y="347023"/>
                    <a:pt x="41294" y="348196"/>
                  </a:cubicBezTo>
                  <a:cubicBezTo>
                    <a:pt x="41294" y="351713"/>
                    <a:pt x="47165" y="349368"/>
                    <a:pt x="54211" y="342334"/>
                  </a:cubicBezTo>
                  <a:cubicBezTo>
                    <a:pt x="55385" y="341161"/>
                    <a:pt x="57734" y="338817"/>
                    <a:pt x="58908" y="337644"/>
                  </a:cubicBezTo>
                  <a:cubicBezTo>
                    <a:pt x="65954" y="331782"/>
                    <a:pt x="69476" y="325920"/>
                    <a:pt x="69476" y="325920"/>
                  </a:cubicBezTo>
                  <a:cubicBezTo>
                    <a:pt x="68302" y="324748"/>
                    <a:pt x="68302" y="324748"/>
                    <a:pt x="67128" y="324748"/>
                  </a:cubicBezTo>
                  <a:cubicBezTo>
                    <a:pt x="65954" y="323576"/>
                    <a:pt x="64779" y="321231"/>
                    <a:pt x="63605" y="320058"/>
                  </a:cubicBezTo>
                  <a:close/>
                  <a:moveTo>
                    <a:pt x="259391" y="293003"/>
                  </a:moveTo>
                  <a:cubicBezTo>
                    <a:pt x="259976" y="293441"/>
                    <a:pt x="259098" y="295486"/>
                    <a:pt x="256171" y="298993"/>
                  </a:cubicBezTo>
                  <a:cubicBezTo>
                    <a:pt x="252659" y="304838"/>
                    <a:pt x="247975" y="309513"/>
                    <a:pt x="242121" y="314189"/>
                  </a:cubicBezTo>
                  <a:cubicBezTo>
                    <a:pt x="237438" y="318864"/>
                    <a:pt x="232755" y="322371"/>
                    <a:pt x="228072" y="325877"/>
                  </a:cubicBezTo>
                  <a:cubicBezTo>
                    <a:pt x="221047" y="330553"/>
                    <a:pt x="218705" y="328215"/>
                    <a:pt x="225730" y="322371"/>
                  </a:cubicBezTo>
                  <a:cubicBezTo>
                    <a:pt x="235096" y="314189"/>
                    <a:pt x="244463" y="304838"/>
                    <a:pt x="253829" y="296655"/>
                  </a:cubicBezTo>
                  <a:cubicBezTo>
                    <a:pt x="256757" y="293733"/>
                    <a:pt x="258805" y="292564"/>
                    <a:pt x="259391" y="293003"/>
                  </a:cubicBezTo>
                  <a:close/>
                  <a:moveTo>
                    <a:pt x="55238" y="274336"/>
                  </a:moveTo>
                  <a:cubicBezTo>
                    <a:pt x="53624" y="273750"/>
                    <a:pt x="51275" y="274922"/>
                    <a:pt x="48340" y="277853"/>
                  </a:cubicBezTo>
                  <a:cubicBezTo>
                    <a:pt x="45991" y="280198"/>
                    <a:pt x="43643" y="282542"/>
                    <a:pt x="42468" y="283715"/>
                  </a:cubicBezTo>
                  <a:cubicBezTo>
                    <a:pt x="35423" y="290749"/>
                    <a:pt x="31900" y="301300"/>
                    <a:pt x="31900" y="308335"/>
                  </a:cubicBezTo>
                  <a:cubicBezTo>
                    <a:pt x="33074" y="314197"/>
                    <a:pt x="38945" y="315369"/>
                    <a:pt x="44817" y="309507"/>
                  </a:cubicBezTo>
                  <a:cubicBezTo>
                    <a:pt x="45991" y="308335"/>
                    <a:pt x="45991" y="308335"/>
                    <a:pt x="45991" y="307162"/>
                  </a:cubicBezTo>
                  <a:cubicBezTo>
                    <a:pt x="51862" y="301300"/>
                    <a:pt x="56560" y="289577"/>
                    <a:pt x="57734" y="281370"/>
                  </a:cubicBezTo>
                  <a:cubicBezTo>
                    <a:pt x="57734" y="277267"/>
                    <a:pt x="56853" y="274922"/>
                    <a:pt x="55238" y="274336"/>
                  </a:cubicBezTo>
                  <a:close/>
                  <a:moveTo>
                    <a:pt x="550927" y="251475"/>
                  </a:moveTo>
                  <a:cubicBezTo>
                    <a:pt x="548579" y="250595"/>
                    <a:pt x="545643" y="251475"/>
                    <a:pt x="542707" y="254405"/>
                  </a:cubicBezTo>
                  <a:cubicBezTo>
                    <a:pt x="538010" y="261440"/>
                    <a:pt x="534487" y="273164"/>
                    <a:pt x="534487" y="281370"/>
                  </a:cubicBezTo>
                  <a:cubicBezTo>
                    <a:pt x="534487" y="283715"/>
                    <a:pt x="534487" y="286060"/>
                    <a:pt x="534487" y="287232"/>
                  </a:cubicBezTo>
                  <a:cubicBezTo>
                    <a:pt x="533313" y="296611"/>
                    <a:pt x="535662" y="300128"/>
                    <a:pt x="539184" y="295439"/>
                  </a:cubicBezTo>
                  <a:cubicBezTo>
                    <a:pt x="541533" y="293094"/>
                    <a:pt x="543881" y="289577"/>
                    <a:pt x="547404" y="287232"/>
                  </a:cubicBezTo>
                  <a:cubicBezTo>
                    <a:pt x="548579" y="284887"/>
                    <a:pt x="550927" y="283715"/>
                    <a:pt x="552101" y="281370"/>
                  </a:cubicBezTo>
                  <a:cubicBezTo>
                    <a:pt x="555624" y="277853"/>
                    <a:pt x="556798" y="268474"/>
                    <a:pt x="555624" y="260267"/>
                  </a:cubicBezTo>
                  <a:cubicBezTo>
                    <a:pt x="555624" y="260267"/>
                    <a:pt x="555624" y="259095"/>
                    <a:pt x="555624" y="259095"/>
                  </a:cubicBezTo>
                  <a:cubicBezTo>
                    <a:pt x="555037" y="254992"/>
                    <a:pt x="553276" y="252354"/>
                    <a:pt x="550927" y="251475"/>
                  </a:cubicBezTo>
                  <a:close/>
                  <a:moveTo>
                    <a:pt x="279896" y="233952"/>
                  </a:moveTo>
                  <a:cubicBezTo>
                    <a:pt x="281655" y="233219"/>
                    <a:pt x="282534" y="233806"/>
                    <a:pt x="281948" y="235565"/>
                  </a:cubicBezTo>
                  <a:cubicBezTo>
                    <a:pt x="281948" y="237910"/>
                    <a:pt x="276086" y="246121"/>
                    <a:pt x="270224" y="251985"/>
                  </a:cubicBezTo>
                  <a:cubicBezTo>
                    <a:pt x="244430" y="275443"/>
                    <a:pt x="217465" y="300074"/>
                    <a:pt x="191671" y="324705"/>
                  </a:cubicBezTo>
                  <a:cubicBezTo>
                    <a:pt x="185809" y="330569"/>
                    <a:pt x="179947" y="335261"/>
                    <a:pt x="179947" y="334088"/>
                  </a:cubicBezTo>
                  <a:cubicBezTo>
                    <a:pt x="178775" y="334088"/>
                    <a:pt x="183465" y="329397"/>
                    <a:pt x="189327" y="322359"/>
                  </a:cubicBezTo>
                  <a:cubicBezTo>
                    <a:pt x="224499" y="287172"/>
                    <a:pt x="251465" y="260196"/>
                    <a:pt x="272568" y="240256"/>
                  </a:cubicBezTo>
                  <a:cubicBezTo>
                    <a:pt x="275499" y="236738"/>
                    <a:pt x="278137" y="234685"/>
                    <a:pt x="279896" y="233952"/>
                  </a:cubicBezTo>
                  <a:close/>
                  <a:moveTo>
                    <a:pt x="279084" y="183770"/>
                  </a:moveTo>
                  <a:cubicBezTo>
                    <a:pt x="274974" y="184063"/>
                    <a:pt x="270864" y="185822"/>
                    <a:pt x="267928" y="188752"/>
                  </a:cubicBezTo>
                  <a:cubicBezTo>
                    <a:pt x="250314" y="206338"/>
                    <a:pt x="232700" y="225096"/>
                    <a:pt x="215086" y="242682"/>
                  </a:cubicBezTo>
                  <a:cubicBezTo>
                    <a:pt x="209214" y="248544"/>
                    <a:pt x="202169" y="260267"/>
                    <a:pt x="198646" y="268474"/>
                  </a:cubicBezTo>
                  <a:cubicBezTo>
                    <a:pt x="191600" y="284887"/>
                    <a:pt x="182206" y="298956"/>
                    <a:pt x="168115" y="309507"/>
                  </a:cubicBezTo>
                  <a:cubicBezTo>
                    <a:pt x="154024" y="321231"/>
                    <a:pt x="138758" y="330610"/>
                    <a:pt x="122319" y="335299"/>
                  </a:cubicBezTo>
                  <a:cubicBezTo>
                    <a:pt x="114099" y="337644"/>
                    <a:pt x="108227" y="341161"/>
                    <a:pt x="108227" y="344678"/>
                  </a:cubicBezTo>
                  <a:cubicBezTo>
                    <a:pt x="109402" y="348196"/>
                    <a:pt x="104705" y="356402"/>
                    <a:pt x="98833" y="362264"/>
                  </a:cubicBezTo>
                  <a:cubicBezTo>
                    <a:pt x="90613" y="371643"/>
                    <a:pt x="81219" y="379850"/>
                    <a:pt x="72999" y="389229"/>
                  </a:cubicBezTo>
                  <a:cubicBezTo>
                    <a:pt x="65954" y="395091"/>
                    <a:pt x="64779" y="406814"/>
                    <a:pt x="69476" y="413849"/>
                  </a:cubicBezTo>
                  <a:cubicBezTo>
                    <a:pt x="72999" y="420883"/>
                    <a:pt x="77696" y="427917"/>
                    <a:pt x="82393" y="434951"/>
                  </a:cubicBezTo>
                  <a:cubicBezTo>
                    <a:pt x="87091" y="441986"/>
                    <a:pt x="96485" y="441986"/>
                    <a:pt x="102356" y="436124"/>
                  </a:cubicBezTo>
                  <a:cubicBezTo>
                    <a:pt x="108227" y="431434"/>
                    <a:pt x="114099" y="426745"/>
                    <a:pt x="118796" y="420883"/>
                  </a:cubicBezTo>
                  <a:cubicBezTo>
                    <a:pt x="125841" y="415021"/>
                    <a:pt x="132887" y="415021"/>
                    <a:pt x="135236" y="419710"/>
                  </a:cubicBezTo>
                  <a:cubicBezTo>
                    <a:pt x="137584" y="424400"/>
                    <a:pt x="135236" y="432607"/>
                    <a:pt x="128190" y="438468"/>
                  </a:cubicBezTo>
                  <a:cubicBezTo>
                    <a:pt x="123493" y="443158"/>
                    <a:pt x="118796" y="446675"/>
                    <a:pt x="114099" y="451365"/>
                  </a:cubicBezTo>
                  <a:cubicBezTo>
                    <a:pt x="108227" y="457226"/>
                    <a:pt x="105879" y="465433"/>
                    <a:pt x="110576" y="470123"/>
                  </a:cubicBezTo>
                  <a:cubicBezTo>
                    <a:pt x="114099" y="474812"/>
                    <a:pt x="123493" y="473640"/>
                    <a:pt x="129364" y="467778"/>
                  </a:cubicBezTo>
                  <a:cubicBezTo>
                    <a:pt x="132887" y="464261"/>
                    <a:pt x="136410" y="460744"/>
                    <a:pt x="139933" y="457226"/>
                  </a:cubicBezTo>
                  <a:cubicBezTo>
                    <a:pt x="146978" y="451365"/>
                    <a:pt x="151675" y="447847"/>
                    <a:pt x="152850" y="447847"/>
                  </a:cubicBezTo>
                  <a:cubicBezTo>
                    <a:pt x="152850" y="449020"/>
                    <a:pt x="149327" y="454882"/>
                    <a:pt x="142281" y="460744"/>
                  </a:cubicBezTo>
                  <a:cubicBezTo>
                    <a:pt x="139933" y="464261"/>
                    <a:pt x="136410" y="467778"/>
                    <a:pt x="132887" y="470123"/>
                  </a:cubicBezTo>
                  <a:cubicBezTo>
                    <a:pt x="127016" y="477157"/>
                    <a:pt x="127016" y="486536"/>
                    <a:pt x="134061" y="492398"/>
                  </a:cubicBezTo>
                  <a:cubicBezTo>
                    <a:pt x="139933" y="497087"/>
                    <a:pt x="145804" y="501777"/>
                    <a:pt x="151675" y="506466"/>
                  </a:cubicBezTo>
                  <a:cubicBezTo>
                    <a:pt x="158721" y="512328"/>
                    <a:pt x="170464" y="511156"/>
                    <a:pt x="176335" y="505294"/>
                  </a:cubicBezTo>
                  <a:cubicBezTo>
                    <a:pt x="177509" y="504121"/>
                    <a:pt x="178683" y="502949"/>
                    <a:pt x="178683" y="502949"/>
                  </a:cubicBezTo>
                  <a:cubicBezTo>
                    <a:pt x="185729" y="497087"/>
                    <a:pt x="192775" y="494742"/>
                    <a:pt x="196298" y="497087"/>
                  </a:cubicBezTo>
                  <a:cubicBezTo>
                    <a:pt x="199820" y="500604"/>
                    <a:pt x="197472" y="507639"/>
                    <a:pt x="191600" y="513500"/>
                  </a:cubicBezTo>
                  <a:cubicBezTo>
                    <a:pt x="185729" y="520535"/>
                    <a:pt x="186903" y="528741"/>
                    <a:pt x="195123" y="532258"/>
                  </a:cubicBezTo>
                  <a:cubicBezTo>
                    <a:pt x="200995" y="534603"/>
                    <a:pt x="206866" y="536948"/>
                    <a:pt x="212737" y="539293"/>
                  </a:cubicBezTo>
                  <a:cubicBezTo>
                    <a:pt x="220957" y="542810"/>
                    <a:pt x="230352" y="541638"/>
                    <a:pt x="235049" y="536948"/>
                  </a:cubicBezTo>
                  <a:cubicBezTo>
                    <a:pt x="238571" y="533431"/>
                    <a:pt x="247966" y="533431"/>
                    <a:pt x="256186" y="538120"/>
                  </a:cubicBezTo>
                  <a:cubicBezTo>
                    <a:pt x="256186" y="538120"/>
                    <a:pt x="257360" y="538120"/>
                    <a:pt x="257360" y="538120"/>
                  </a:cubicBezTo>
                  <a:cubicBezTo>
                    <a:pt x="265580" y="542810"/>
                    <a:pt x="270277" y="547499"/>
                    <a:pt x="267928" y="548672"/>
                  </a:cubicBezTo>
                  <a:cubicBezTo>
                    <a:pt x="265580" y="551016"/>
                    <a:pt x="271451" y="554534"/>
                    <a:pt x="279671" y="554534"/>
                  </a:cubicBezTo>
                  <a:cubicBezTo>
                    <a:pt x="299633" y="556878"/>
                    <a:pt x="319596" y="555706"/>
                    <a:pt x="339559" y="551016"/>
                  </a:cubicBezTo>
                  <a:cubicBezTo>
                    <a:pt x="438197" y="532258"/>
                    <a:pt x="518048" y="456054"/>
                    <a:pt x="546230" y="363436"/>
                  </a:cubicBezTo>
                  <a:cubicBezTo>
                    <a:pt x="548579" y="355230"/>
                    <a:pt x="548579" y="348196"/>
                    <a:pt x="547404" y="347023"/>
                  </a:cubicBezTo>
                  <a:cubicBezTo>
                    <a:pt x="546230" y="347023"/>
                    <a:pt x="545056" y="347023"/>
                    <a:pt x="543881" y="345851"/>
                  </a:cubicBezTo>
                  <a:cubicBezTo>
                    <a:pt x="541533" y="344678"/>
                    <a:pt x="539184" y="343506"/>
                    <a:pt x="536836" y="342334"/>
                  </a:cubicBezTo>
                  <a:cubicBezTo>
                    <a:pt x="533313" y="339989"/>
                    <a:pt x="535662" y="334127"/>
                    <a:pt x="541533" y="327093"/>
                  </a:cubicBezTo>
                  <a:cubicBezTo>
                    <a:pt x="542707" y="325920"/>
                    <a:pt x="543881" y="324748"/>
                    <a:pt x="546230" y="322403"/>
                  </a:cubicBezTo>
                  <a:cubicBezTo>
                    <a:pt x="552101" y="316541"/>
                    <a:pt x="557973" y="305990"/>
                    <a:pt x="557973" y="298956"/>
                  </a:cubicBezTo>
                  <a:cubicBezTo>
                    <a:pt x="557973" y="293094"/>
                    <a:pt x="553276" y="291922"/>
                    <a:pt x="547404" y="297783"/>
                  </a:cubicBezTo>
                  <a:cubicBezTo>
                    <a:pt x="542707" y="302473"/>
                    <a:pt x="539184" y="305990"/>
                    <a:pt x="535662" y="309507"/>
                  </a:cubicBezTo>
                  <a:cubicBezTo>
                    <a:pt x="529790" y="315369"/>
                    <a:pt x="522745" y="323576"/>
                    <a:pt x="520396" y="328265"/>
                  </a:cubicBezTo>
                  <a:cubicBezTo>
                    <a:pt x="518048" y="329438"/>
                    <a:pt x="516873" y="331782"/>
                    <a:pt x="514525" y="334127"/>
                  </a:cubicBezTo>
                  <a:cubicBezTo>
                    <a:pt x="480471" y="363436"/>
                    <a:pt x="434674" y="352885"/>
                    <a:pt x="406492" y="318886"/>
                  </a:cubicBezTo>
                  <a:cubicBezTo>
                    <a:pt x="367741" y="270819"/>
                    <a:pt x="333687" y="223924"/>
                    <a:pt x="290239" y="187580"/>
                  </a:cubicBezTo>
                  <a:cubicBezTo>
                    <a:pt x="287304" y="184649"/>
                    <a:pt x="283194" y="183477"/>
                    <a:pt x="279084" y="183770"/>
                  </a:cubicBezTo>
                  <a:close/>
                  <a:moveTo>
                    <a:pt x="522598" y="165891"/>
                  </a:moveTo>
                  <a:cubicBezTo>
                    <a:pt x="519515" y="165012"/>
                    <a:pt x="516286" y="165891"/>
                    <a:pt x="513350" y="168822"/>
                  </a:cubicBezTo>
                  <a:cubicBezTo>
                    <a:pt x="507479" y="173512"/>
                    <a:pt x="506305" y="184063"/>
                    <a:pt x="509828" y="192270"/>
                  </a:cubicBezTo>
                  <a:cubicBezTo>
                    <a:pt x="515699" y="203993"/>
                    <a:pt x="520396" y="216889"/>
                    <a:pt x="525093" y="229786"/>
                  </a:cubicBezTo>
                  <a:cubicBezTo>
                    <a:pt x="527442" y="237992"/>
                    <a:pt x="533313" y="240337"/>
                    <a:pt x="539184" y="234475"/>
                  </a:cubicBezTo>
                  <a:cubicBezTo>
                    <a:pt x="545056" y="228613"/>
                    <a:pt x="547404" y="218062"/>
                    <a:pt x="545056" y="209855"/>
                  </a:cubicBezTo>
                  <a:cubicBezTo>
                    <a:pt x="540359" y="196959"/>
                    <a:pt x="535662" y="185235"/>
                    <a:pt x="530965" y="173512"/>
                  </a:cubicBezTo>
                  <a:cubicBezTo>
                    <a:pt x="528616" y="169409"/>
                    <a:pt x="525680" y="166771"/>
                    <a:pt x="522598" y="165891"/>
                  </a:cubicBezTo>
                  <a:close/>
                  <a:moveTo>
                    <a:pt x="231673" y="152556"/>
                  </a:moveTo>
                  <a:cubicBezTo>
                    <a:pt x="227122" y="153288"/>
                    <a:pt x="222719" y="155340"/>
                    <a:pt x="219783" y="158271"/>
                  </a:cubicBezTo>
                  <a:cubicBezTo>
                    <a:pt x="213912" y="164133"/>
                    <a:pt x="209214" y="175856"/>
                    <a:pt x="210389" y="184063"/>
                  </a:cubicBezTo>
                  <a:cubicBezTo>
                    <a:pt x="210389" y="194614"/>
                    <a:pt x="211563" y="203993"/>
                    <a:pt x="211563" y="212200"/>
                  </a:cubicBezTo>
                  <a:cubicBezTo>
                    <a:pt x="211563" y="221579"/>
                    <a:pt x="212737" y="226268"/>
                    <a:pt x="213912" y="225096"/>
                  </a:cubicBezTo>
                  <a:cubicBezTo>
                    <a:pt x="215086" y="223924"/>
                    <a:pt x="216260" y="222751"/>
                    <a:pt x="217434" y="221579"/>
                  </a:cubicBezTo>
                  <a:cubicBezTo>
                    <a:pt x="233874" y="206338"/>
                    <a:pt x="246791" y="193442"/>
                    <a:pt x="258534" y="181718"/>
                  </a:cubicBezTo>
                  <a:cubicBezTo>
                    <a:pt x="265580" y="175856"/>
                    <a:pt x="264405" y="167650"/>
                    <a:pt x="257360" y="162960"/>
                  </a:cubicBezTo>
                  <a:cubicBezTo>
                    <a:pt x="252663" y="159443"/>
                    <a:pt x="249140" y="157098"/>
                    <a:pt x="244443" y="154754"/>
                  </a:cubicBezTo>
                  <a:cubicBezTo>
                    <a:pt x="240920" y="152409"/>
                    <a:pt x="236223" y="151823"/>
                    <a:pt x="231673" y="152556"/>
                  </a:cubicBezTo>
                  <a:close/>
                  <a:moveTo>
                    <a:pt x="501608" y="147719"/>
                  </a:moveTo>
                  <a:cubicBezTo>
                    <a:pt x="495736" y="153581"/>
                    <a:pt x="493388" y="161788"/>
                    <a:pt x="496911" y="166477"/>
                  </a:cubicBezTo>
                  <a:cubicBezTo>
                    <a:pt x="499259" y="171167"/>
                    <a:pt x="505131" y="171167"/>
                    <a:pt x="511002" y="165305"/>
                  </a:cubicBezTo>
                  <a:cubicBezTo>
                    <a:pt x="516873" y="160615"/>
                    <a:pt x="519222" y="152409"/>
                    <a:pt x="515699" y="147719"/>
                  </a:cubicBezTo>
                  <a:cubicBezTo>
                    <a:pt x="513350" y="143030"/>
                    <a:pt x="506305" y="143030"/>
                    <a:pt x="501608" y="147719"/>
                  </a:cubicBezTo>
                  <a:close/>
                  <a:moveTo>
                    <a:pt x="212737" y="138340"/>
                  </a:moveTo>
                  <a:cubicBezTo>
                    <a:pt x="210389" y="137168"/>
                    <a:pt x="206866" y="140685"/>
                    <a:pt x="206866" y="145375"/>
                  </a:cubicBezTo>
                  <a:cubicBezTo>
                    <a:pt x="206866" y="151236"/>
                    <a:pt x="210389" y="151236"/>
                    <a:pt x="212737" y="147719"/>
                  </a:cubicBezTo>
                  <a:cubicBezTo>
                    <a:pt x="216260" y="144202"/>
                    <a:pt x="216260" y="140685"/>
                    <a:pt x="212737" y="138340"/>
                  </a:cubicBezTo>
                  <a:close/>
                  <a:moveTo>
                    <a:pt x="487370" y="113427"/>
                  </a:moveTo>
                  <a:cubicBezTo>
                    <a:pt x="483700" y="112841"/>
                    <a:pt x="479884" y="113721"/>
                    <a:pt x="476948" y="116065"/>
                  </a:cubicBezTo>
                  <a:cubicBezTo>
                    <a:pt x="472251" y="121927"/>
                    <a:pt x="469903" y="128961"/>
                    <a:pt x="473425" y="132478"/>
                  </a:cubicBezTo>
                  <a:cubicBezTo>
                    <a:pt x="475774" y="134823"/>
                    <a:pt x="476948" y="137168"/>
                    <a:pt x="479297" y="139513"/>
                  </a:cubicBezTo>
                  <a:cubicBezTo>
                    <a:pt x="480471" y="141857"/>
                    <a:pt x="481645" y="144202"/>
                    <a:pt x="483994" y="146547"/>
                  </a:cubicBezTo>
                  <a:cubicBezTo>
                    <a:pt x="486342" y="150064"/>
                    <a:pt x="492214" y="148892"/>
                    <a:pt x="498085" y="144202"/>
                  </a:cubicBezTo>
                  <a:cubicBezTo>
                    <a:pt x="493388" y="150064"/>
                    <a:pt x="493388" y="150064"/>
                    <a:pt x="499259" y="144202"/>
                  </a:cubicBezTo>
                  <a:cubicBezTo>
                    <a:pt x="503956" y="139513"/>
                    <a:pt x="503956" y="139513"/>
                    <a:pt x="498085" y="144202"/>
                  </a:cubicBezTo>
                  <a:cubicBezTo>
                    <a:pt x="503956" y="138340"/>
                    <a:pt x="503956" y="128961"/>
                    <a:pt x="499259" y="121927"/>
                  </a:cubicBezTo>
                  <a:cubicBezTo>
                    <a:pt x="498085" y="120755"/>
                    <a:pt x="498085" y="119582"/>
                    <a:pt x="496911" y="119582"/>
                  </a:cubicBezTo>
                  <a:cubicBezTo>
                    <a:pt x="494562" y="116065"/>
                    <a:pt x="491039" y="114014"/>
                    <a:pt x="487370" y="113427"/>
                  </a:cubicBezTo>
                  <a:close/>
                  <a:moveTo>
                    <a:pt x="279524" y="71955"/>
                  </a:moveTo>
                  <a:cubicBezTo>
                    <a:pt x="229764" y="72394"/>
                    <a:pt x="181032" y="91446"/>
                    <a:pt x="144630" y="135996"/>
                  </a:cubicBezTo>
                  <a:cubicBezTo>
                    <a:pt x="116447" y="171167"/>
                    <a:pt x="81219" y="233303"/>
                    <a:pt x="87091" y="282542"/>
                  </a:cubicBezTo>
                  <a:cubicBezTo>
                    <a:pt x="88265" y="291922"/>
                    <a:pt x="97659" y="300128"/>
                    <a:pt x="105879" y="302473"/>
                  </a:cubicBezTo>
                  <a:cubicBezTo>
                    <a:pt x="144630" y="309507"/>
                    <a:pt x="166941" y="295439"/>
                    <a:pt x="175161" y="257923"/>
                  </a:cubicBezTo>
                  <a:cubicBezTo>
                    <a:pt x="176335" y="254405"/>
                    <a:pt x="177509" y="249716"/>
                    <a:pt x="177509" y="246199"/>
                  </a:cubicBezTo>
                  <a:cubicBezTo>
                    <a:pt x="179858" y="240337"/>
                    <a:pt x="182206" y="227441"/>
                    <a:pt x="182206" y="219234"/>
                  </a:cubicBezTo>
                  <a:cubicBezTo>
                    <a:pt x="184555" y="193442"/>
                    <a:pt x="183381" y="168822"/>
                    <a:pt x="181032" y="141857"/>
                  </a:cubicBezTo>
                  <a:cubicBezTo>
                    <a:pt x="178683" y="131306"/>
                    <a:pt x="178683" y="128961"/>
                    <a:pt x="186903" y="120755"/>
                  </a:cubicBezTo>
                  <a:cubicBezTo>
                    <a:pt x="188078" y="119582"/>
                    <a:pt x="190426" y="118410"/>
                    <a:pt x="193949" y="118410"/>
                  </a:cubicBezTo>
                  <a:cubicBezTo>
                    <a:pt x="198646" y="117238"/>
                    <a:pt x="203343" y="116065"/>
                    <a:pt x="205692" y="116065"/>
                  </a:cubicBezTo>
                  <a:cubicBezTo>
                    <a:pt x="208040" y="116065"/>
                    <a:pt x="209214" y="116065"/>
                    <a:pt x="210389" y="116065"/>
                  </a:cubicBezTo>
                  <a:cubicBezTo>
                    <a:pt x="293762" y="141857"/>
                    <a:pt x="354824" y="199304"/>
                    <a:pt x="405318" y="268474"/>
                  </a:cubicBezTo>
                  <a:cubicBezTo>
                    <a:pt x="418235" y="286060"/>
                    <a:pt x="432326" y="311852"/>
                    <a:pt x="452288" y="323576"/>
                  </a:cubicBezTo>
                  <a:cubicBezTo>
                    <a:pt x="507479" y="355230"/>
                    <a:pt x="501608" y="286060"/>
                    <a:pt x="496911" y="260267"/>
                  </a:cubicBezTo>
                  <a:cubicBezTo>
                    <a:pt x="487517" y="206338"/>
                    <a:pt x="465205" y="153581"/>
                    <a:pt x="420583" y="119582"/>
                  </a:cubicBezTo>
                  <a:cubicBezTo>
                    <a:pt x="380071" y="89687"/>
                    <a:pt x="329284" y="71515"/>
                    <a:pt x="279524" y="71955"/>
                  </a:cubicBezTo>
                  <a:close/>
                  <a:moveTo>
                    <a:pt x="186903" y="41033"/>
                  </a:moveTo>
                  <a:cubicBezTo>
                    <a:pt x="186316" y="40154"/>
                    <a:pt x="183968" y="40447"/>
                    <a:pt x="179858" y="42206"/>
                  </a:cubicBezTo>
                  <a:cubicBezTo>
                    <a:pt x="127016" y="69170"/>
                    <a:pt x="82393" y="113720"/>
                    <a:pt x="56560" y="166477"/>
                  </a:cubicBezTo>
                  <a:cubicBezTo>
                    <a:pt x="53037" y="174684"/>
                    <a:pt x="55385" y="175856"/>
                    <a:pt x="61257" y="169994"/>
                  </a:cubicBezTo>
                  <a:cubicBezTo>
                    <a:pt x="102356" y="128961"/>
                    <a:pt x="142281" y="87928"/>
                    <a:pt x="183381" y="46895"/>
                  </a:cubicBezTo>
                  <a:cubicBezTo>
                    <a:pt x="186316" y="43964"/>
                    <a:pt x="187491" y="41912"/>
                    <a:pt x="186903" y="41033"/>
                  </a:cubicBezTo>
                  <a:close/>
                  <a:moveTo>
                    <a:pt x="266754" y="16413"/>
                  </a:moveTo>
                  <a:cubicBezTo>
                    <a:pt x="255011" y="17586"/>
                    <a:pt x="243269" y="19930"/>
                    <a:pt x="231526" y="23448"/>
                  </a:cubicBezTo>
                  <a:cubicBezTo>
                    <a:pt x="223306" y="25792"/>
                    <a:pt x="211563" y="32827"/>
                    <a:pt x="204517" y="38688"/>
                  </a:cubicBezTo>
                  <a:cubicBezTo>
                    <a:pt x="171638" y="72687"/>
                    <a:pt x="137584" y="105514"/>
                    <a:pt x="104705" y="139513"/>
                  </a:cubicBezTo>
                  <a:cubicBezTo>
                    <a:pt x="88265" y="155926"/>
                    <a:pt x="71825" y="171167"/>
                    <a:pt x="55385" y="187580"/>
                  </a:cubicBezTo>
                  <a:cubicBezTo>
                    <a:pt x="48340" y="193442"/>
                    <a:pt x="41294" y="205166"/>
                    <a:pt x="38945" y="213372"/>
                  </a:cubicBezTo>
                  <a:cubicBezTo>
                    <a:pt x="36597" y="222751"/>
                    <a:pt x="34248" y="233303"/>
                    <a:pt x="33074" y="243854"/>
                  </a:cubicBezTo>
                  <a:cubicBezTo>
                    <a:pt x="31900" y="252061"/>
                    <a:pt x="36597" y="254405"/>
                    <a:pt x="42468" y="248544"/>
                  </a:cubicBezTo>
                  <a:cubicBezTo>
                    <a:pt x="47165" y="242682"/>
                    <a:pt x="53037" y="237992"/>
                    <a:pt x="57734" y="233303"/>
                  </a:cubicBezTo>
                  <a:cubicBezTo>
                    <a:pt x="63605" y="227441"/>
                    <a:pt x="69476" y="220407"/>
                    <a:pt x="70651" y="218062"/>
                  </a:cubicBezTo>
                  <a:cubicBezTo>
                    <a:pt x="70651" y="216889"/>
                    <a:pt x="71825" y="215717"/>
                    <a:pt x="71825" y="214545"/>
                  </a:cubicBezTo>
                  <a:cubicBezTo>
                    <a:pt x="85916" y="178201"/>
                    <a:pt x="104705" y="150064"/>
                    <a:pt x="132887" y="121927"/>
                  </a:cubicBezTo>
                  <a:cubicBezTo>
                    <a:pt x="168115" y="85583"/>
                    <a:pt x="225655" y="60964"/>
                    <a:pt x="276148" y="57446"/>
                  </a:cubicBezTo>
                  <a:cubicBezTo>
                    <a:pt x="304331" y="56274"/>
                    <a:pt x="333687" y="58619"/>
                    <a:pt x="361870" y="65653"/>
                  </a:cubicBezTo>
                  <a:cubicBezTo>
                    <a:pt x="371264" y="67998"/>
                    <a:pt x="378310" y="69170"/>
                    <a:pt x="379484" y="69170"/>
                  </a:cubicBezTo>
                  <a:cubicBezTo>
                    <a:pt x="379484" y="69170"/>
                    <a:pt x="379484" y="69170"/>
                    <a:pt x="380658" y="69170"/>
                  </a:cubicBezTo>
                  <a:cubicBezTo>
                    <a:pt x="380658" y="69170"/>
                    <a:pt x="381832" y="69170"/>
                    <a:pt x="381832" y="69170"/>
                  </a:cubicBezTo>
                  <a:cubicBezTo>
                    <a:pt x="383007" y="69170"/>
                    <a:pt x="383007" y="70343"/>
                    <a:pt x="383007" y="70343"/>
                  </a:cubicBezTo>
                  <a:cubicBezTo>
                    <a:pt x="383007" y="71515"/>
                    <a:pt x="386529" y="72687"/>
                    <a:pt x="392401" y="75032"/>
                  </a:cubicBezTo>
                  <a:cubicBezTo>
                    <a:pt x="398272" y="77377"/>
                    <a:pt x="404143" y="77377"/>
                    <a:pt x="405318" y="75032"/>
                  </a:cubicBezTo>
                  <a:cubicBezTo>
                    <a:pt x="407666" y="72687"/>
                    <a:pt x="411189" y="71515"/>
                    <a:pt x="412363" y="72687"/>
                  </a:cubicBezTo>
                  <a:cubicBezTo>
                    <a:pt x="414712" y="72687"/>
                    <a:pt x="413538" y="75032"/>
                    <a:pt x="411189" y="77377"/>
                  </a:cubicBezTo>
                  <a:cubicBezTo>
                    <a:pt x="408841" y="79722"/>
                    <a:pt x="412363" y="83239"/>
                    <a:pt x="417060" y="86756"/>
                  </a:cubicBezTo>
                  <a:cubicBezTo>
                    <a:pt x="422932" y="89101"/>
                    <a:pt x="429977" y="89101"/>
                    <a:pt x="433500" y="85583"/>
                  </a:cubicBezTo>
                  <a:cubicBezTo>
                    <a:pt x="437023" y="80894"/>
                    <a:pt x="444069" y="79722"/>
                    <a:pt x="447591" y="80894"/>
                  </a:cubicBezTo>
                  <a:cubicBezTo>
                    <a:pt x="451114" y="82066"/>
                    <a:pt x="449940" y="85583"/>
                    <a:pt x="445243" y="90273"/>
                  </a:cubicBezTo>
                  <a:cubicBezTo>
                    <a:pt x="440546" y="94962"/>
                    <a:pt x="440546" y="100824"/>
                    <a:pt x="445243" y="104341"/>
                  </a:cubicBezTo>
                  <a:cubicBezTo>
                    <a:pt x="449940" y="107859"/>
                    <a:pt x="458160" y="106686"/>
                    <a:pt x="462857" y="101997"/>
                  </a:cubicBezTo>
                  <a:cubicBezTo>
                    <a:pt x="468728" y="97307"/>
                    <a:pt x="468728" y="87928"/>
                    <a:pt x="461683" y="82066"/>
                  </a:cubicBezTo>
                  <a:cubicBezTo>
                    <a:pt x="424106" y="49240"/>
                    <a:pt x="377135" y="26965"/>
                    <a:pt x="323119" y="17586"/>
                  </a:cubicBezTo>
                  <a:cubicBezTo>
                    <a:pt x="314899" y="16413"/>
                    <a:pt x="305505" y="17586"/>
                    <a:pt x="303156" y="21103"/>
                  </a:cubicBezTo>
                  <a:cubicBezTo>
                    <a:pt x="300808" y="23448"/>
                    <a:pt x="292588" y="26965"/>
                    <a:pt x="284368" y="30482"/>
                  </a:cubicBezTo>
                  <a:cubicBezTo>
                    <a:pt x="276148" y="32827"/>
                    <a:pt x="269102" y="36344"/>
                    <a:pt x="260883" y="39861"/>
                  </a:cubicBezTo>
                  <a:cubicBezTo>
                    <a:pt x="253837" y="43378"/>
                    <a:pt x="252663" y="42206"/>
                    <a:pt x="258534" y="36344"/>
                  </a:cubicBezTo>
                  <a:cubicBezTo>
                    <a:pt x="263231" y="32827"/>
                    <a:pt x="266754" y="29309"/>
                    <a:pt x="271451" y="25792"/>
                  </a:cubicBezTo>
                  <a:cubicBezTo>
                    <a:pt x="277322" y="19930"/>
                    <a:pt x="274974" y="15241"/>
                    <a:pt x="266754" y="16413"/>
                  </a:cubicBezTo>
                  <a:close/>
                  <a:moveTo>
                    <a:pt x="300808" y="0"/>
                  </a:moveTo>
                  <a:cubicBezTo>
                    <a:pt x="301982" y="0"/>
                    <a:pt x="301982" y="0"/>
                    <a:pt x="303156" y="0"/>
                  </a:cubicBezTo>
                  <a:cubicBezTo>
                    <a:pt x="304331" y="0"/>
                    <a:pt x="312550" y="0"/>
                    <a:pt x="320770" y="1172"/>
                  </a:cubicBezTo>
                  <a:cubicBezTo>
                    <a:pt x="479297" y="16413"/>
                    <a:pt x="616686" y="157098"/>
                    <a:pt x="583807" y="324748"/>
                  </a:cubicBezTo>
                  <a:cubicBezTo>
                    <a:pt x="556798" y="464261"/>
                    <a:pt x="431152" y="574464"/>
                    <a:pt x="284368" y="568602"/>
                  </a:cubicBezTo>
                  <a:cubicBezTo>
                    <a:pt x="119970" y="561568"/>
                    <a:pt x="-29162" y="417366"/>
                    <a:pt x="4892" y="243854"/>
                  </a:cubicBezTo>
                  <a:cubicBezTo>
                    <a:pt x="33074" y="97307"/>
                    <a:pt x="154024" y="5862"/>
                    <a:pt x="300808" y="0"/>
                  </a:cubicBezTo>
                  <a:close/>
                </a:path>
              </a:pathLst>
            </a:custGeom>
            <a:solidFill>
              <a:schemeClr val="bg1"/>
            </a:solidFill>
            <a:ln>
              <a:noFill/>
            </a:ln>
            <a:effectLst>
              <a:outerShdw blurRad="63500" sx="102000" sy="102000" algn="ctr" rotWithShape="0">
                <a:prstClr val="black">
                  <a:alpha val="40000"/>
                </a:prstClr>
              </a:outerShdw>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49" name="矩形 48">
              <a:extLst>
                <a:ext uri="{FF2B5EF4-FFF2-40B4-BE49-F238E27FC236}">
                  <a16:creationId xmlns:a16="http://schemas.microsoft.com/office/drawing/2014/main" id="{A6E66E37-B166-435E-A3FE-0305C54992F8}"/>
                </a:ext>
              </a:extLst>
            </p:cNvPr>
            <p:cNvSpPr/>
            <p:nvPr/>
          </p:nvSpPr>
          <p:spPr>
            <a:xfrm>
              <a:off x="1028700" y="139985"/>
              <a:ext cx="7711440" cy="369332"/>
            </a:xfrm>
            <a:prstGeom prst="rect">
              <a:avLst/>
            </a:prstGeom>
          </p:spPr>
          <p:txBody>
            <a:bodyPr wrap="square">
              <a:spAutoFit/>
            </a:bodyPr>
            <a:lstStyle/>
            <a:p>
              <a:r>
                <a:rPr lang="zh-CN" altLang="en-US" dirty="0">
                  <a:solidFill>
                    <a:schemeClr val="bg1"/>
                  </a:solidFill>
                </a:rPr>
                <a:t>支持实现变体的设计模式恢复方法</a:t>
              </a:r>
              <a:endParaRPr lang="en-US" altLang="zh-CN" dirty="0">
                <a:solidFill>
                  <a:schemeClr val="bg1"/>
                </a:solidFill>
              </a:endParaRPr>
            </a:p>
          </p:txBody>
        </p:sp>
      </p:grpSp>
    </p:spTree>
    <p:extLst>
      <p:ext uri="{BB962C8B-B14F-4D97-AF65-F5344CB8AC3E}">
        <p14:creationId xmlns:p14="http://schemas.microsoft.com/office/powerpoint/2010/main" val="8041261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2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37" presetClass="entr" presetSubtype="0" fill="hold" nodeType="withEffect">
                                  <p:stCondLst>
                                    <p:cond delay="20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anim calcmode="lin" valueType="num">
                                      <p:cBhvr>
                                        <p:cTn id="16" dur="1000" fill="hold"/>
                                        <p:tgtEl>
                                          <p:spTgt spid="7"/>
                                        </p:tgtEl>
                                        <p:attrNameLst>
                                          <p:attrName>ppt_x</p:attrName>
                                        </p:attrNameLst>
                                      </p:cBhvr>
                                      <p:tavLst>
                                        <p:tav tm="0">
                                          <p:val>
                                            <p:strVal val="#ppt_x"/>
                                          </p:val>
                                        </p:tav>
                                        <p:tav tm="100000">
                                          <p:val>
                                            <p:strVal val="#ppt_x"/>
                                          </p:val>
                                        </p:tav>
                                      </p:tavLst>
                                    </p:anim>
                                    <p:anim calcmode="lin" valueType="num">
                                      <p:cBhvr>
                                        <p:cTn id="17" dur="900" decel="100000" fill="hold"/>
                                        <p:tgtEl>
                                          <p:spTgt spid="7"/>
                                        </p:tgtEl>
                                        <p:attrNameLst>
                                          <p:attrName>ppt_y</p:attrName>
                                        </p:attrNameLst>
                                      </p:cBhvr>
                                      <p:tavLst>
                                        <p:tav tm="0">
                                          <p:val>
                                            <p:strVal val="#ppt_y+1"/>
                                          </p:val>
                                        </p:tav>
                                        <p:tav tm="100000">
                                          <p:val>
                                            <p:strVal val="#ppt_y-.03"/>
                                          </p:val>
                                        </p:tav>
                                      </p:tavLst>
                                    </p:anim>
                                    <p:anim calcmode="lin" valueType="num">
                                      <p:cBhvr>
                                        <p:cTn id="18"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par>
                                <p:cTn id="19" presetID="37" presetClass="entr" presetSubtype="0" fill="hold" nodeType="withEffect">
                                  <p:stCondLst>
                                    <p:cond delay="50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900" decel="100000" fill="hold"/>
                                        <p:tgtEl>
                                          <p:spTgt spid="8"/>
                                        </p:tgtEl>
                                        <p:attrNameLst>
                                          <p:attrName>ppt_y</p:attrName>
                                        </p:attrNameLst>
                                      </p:cBhvr>
                                      <p:tavLst>
                                        <p:tav tm="0">
                                          <p:val>
                                            <p:strVal val="#ppt_y+1"/>
                                          </p:val>
                                        </p:tav>
                                        <p:tav tm="100000">
                                          <p:val>
                                            <p:strVal val="#ppt_y-.03"/>
                                          </p:val>
                                        </p:tav>
                                      </p:tavLst>
                                    </p:anim>
                                    <p:anim calcmode="lin" valueType="num">
                                      <p:cBhvr>
                                        <p:cTn id="24" dur="100" accel="100000" fill="hold">
                                          <p:stCondLst>
                                            <p:cond delay="900"/>
                                          </p:stCondLst>
                                        </p:cTn>
                                        <p:tgtEl>
                                          <p:spTgt spid="8"/>
                                        </p:tgtEl>
                                        <p:attrNameLst>
                                          <p:attrName>ppt_y</p:attrName>
                                        </p:attrNameLst>
                                      </p:cBhvr>
                                      <p:tavLst>
                                        <p:tav tm="0">
                                          <p:val>
                                            <p:strVal val="#ppt_y-.03"/>
                                          </p:val>
                                        </p:tav>
                                        <p:tav tm="100000">
                                          <p:val>
                                            <p:strVal val="#ppt_y"/>
                                          </p:val>
                                        </p:tav>
                                      </p:tavLst>
                                    </p:anim>
                                  </p:childTnLst>
                                </p:cTn>
                              </p:par>
                              <p:par>
                                <p:cTn id="25" presetID="37" presetClass="entr" presetSubtype="0" fill="hold" nodeType="withEffect">
                                  <p:stCondLst>
                                    <p:cond delay="9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900" decel="100000" fill="hold"/>
                                        <p:tgtEl>
                                          <p:spTgt spid="9"/>
                                        </p:tgtEl>
                                        <p:attrNameLst>
                                          <p:attrName>ppt_y</p:attrName>
                                        </p:attrNameLst>
                                      </p:cBhvr>
                                      <p:tavLst>
                                        <p:tav tm="0">
                                          <p:val>
                                            <p:strVal val="#ppt_y+1"/>
                                          </p:val>
                                        </p:tav>
                                        <p:tav tm="100000">
                                          <p:val>
                                            <p:strVal val="#ppt_y-.03"/>
                                          </p:val>
                                        </p:tav>
                                      </p:tavLst>
                                    </p:anim>
                                    <p:anim calcmode="lin" valueType="num">
                                      <p:cBhvr>
                                        <p:cTn id="30" dur="100" accel="100000" fill="hold">
                                          <p:stCondLst>
                                            <p:cond delay="900"/>
                                          </p:stCondLst>
                                        </p:cTn>
                                        <p:tgtEl>
                                          <p:spTgt spid="9"/>
                                        </p:tgtEl>
                                        <p:attrNameLst>
                                          <p:attrName>ppt_y</p:attrName>
                                        </p:attrNameLst>
                                      </p:cBhvr>
                                      <p:tavLst>
                                        <p:tav tm="0">
                                          <p:val>
                                            <p:strVal val="#ppt_y-.03"/>
                                          </p:val>
                                        </p:tav>
                                        <p:tav tm="100000">
                                          <p:val>
                                            <p:strVal val="#ppt_y"/>
                                          </p:val>
                                        </p:tav>
                                      </p:tavLst>
                                    </p:anim>
                                  </p:childTnLst>
                                </p:cTn>
                              </p:par>
                              <p:par>
                                <p:cTn id="31" presetID="37" presetClass="entr" presetSubtype="0" fill="hold" nodeType="withEffect">
                                  <p:stCondLst>
                                    <p:cond delay="20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1000"/>
                                        <p:tgtEl>
                                          <p:spTgt spid="10"/>
                                        </p:tgtEl>
                                      </p:cBhvr>
                                    </p:animEffect>
                                    <p:anim calcmode="lin" valueType="num">
                                      <p:cBhvr>
                                        <p:cTn id="34" dur="1000" fill="hold"/>
                                        <p:tgtEl>
                                          <p:spTgt spid="10"/>
                                        </p:tgtEl>
                                        <p:attrNameLst>
                                          <p:attrName>ppt_x</p:attrName>
                                        </p:attrNameLst>
                                      </p:cBhvr>
                                      <p:tavLst>
                                        <p:tav tm="0">
                                          <p:val>
                                            <p:strVal val="#ppt_x"/>
                                          </p:val>
                                        </p:tav>
                                        <p:tav tm="100000">
                                          <p:val>
                                            <p:strVal val="#ppt_x"/>
                                          </p:val>
                                        </p:tav>
                                      </p:tavLst>
                                    </p:anim>
                                    <p:anim calcmode="lin" valueType="num">
                                      <p:cBhvr>
                                        <p:cTn id="35" dur="900" decel="100000" fill="hold"/>
                                        <p:tgtEl>
                                          <p:spTgt spid="10"/>
                                        </p:tgtEl>
                                        <p:attrNameLst>
                                          <p:attrName>ppt_y</p:attrName>
                                        </p:attrNameLst>
                                      </p:cBhvr>
                                      <p:tavLst>
                                        <p:tav tm="0">
                                          <p:val>
                                            <p:strVal val="#ppt_y+1"/>
                                          </p:val>
                                        </p:tav>
                                        <p:tav tm="100000">
                                          <p:val>
                                            <p:strVal val="#ppt_y-.03"/>
                                          </p:val>
                                        </p:tav>
                                      </p:tavLst>
                                    </p:anim>
                                    <p:anim calcmode="lin" valueType="num">
                                      <p:cBhvr>
                                        <p:cTn id="36" dur="100" accel="100000" fill="hold">
                                          <p:stCondLst>
                                            <p:cond delay="900"/>
                                          </p:stCondLst>
                                        </p:cTn>
                                        <p:tgtEl>
                                          <p:spTgt spid="10"/>
                                        </p:tgtEl>
                                        <p:attrNameLst>
                                          <p:attrName>ppt_y</p:attrName>
                                        </p:attrNameLst>
                                      </p:cBhvr>
                                      <p:tavLst>
                                        <p:tav tm="0">
                                          <p:val>
                                            <p:strVal val="#ppt_y-.03"/>
                                          </p:val>
                                        </p:tav>
                                        <p:tav tm="100000">
                                          <p:val>
                                            <p:strVal val="#ppt_y"/>
                                          </p:val>
                                        </p:tav>
                                      </p:tavLst>
                                    </p:anim>
                                  </p:childTnLst>
                                </p:cTn>
                              </p:par>
                              <p:par>
                                <p:cTn id="37" presetID="37" presetClass="entr" presetSubtype="0" fill="hold" nodeType="withEffect">
                                  <p:stCondLst>
                                    <p:cond delay="50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1000"/>
                                        <p:tgtEl>
                                          <p:spTgt spid="11"/>
                                        </p:tgtEl>
                                      </p:cBhvr>
                                    </p:animEffect>
                                    <p:anim calcmode="lin" valueType="num">
                                      <p:cBhvr>
                                        <p:cTn id="40" dur="1000" fill="hold"/>
                                        <p:tgtEl>
                                          <p:spTgt spid="11"/>
                                        </p:tgtEl>
                                        <p:attrNameLst>
                                          <p:attrName>ppt_x</p:attrName>
                                        </p:attrNameLst>
                                      </p:cBhvr>
                                      <p:tavLst>
                                        <p:tav tm="0">
                                          <p:val>
                                            <p:strVal val="#ppt_x"/>
                                          </p:val>
                                        </p:tav>
                                        <p:tav tm="100000">
                                          <p:val>
                                            <p:strVal val="#ppt_x"/>
                                          </p:val>
                                        </p:tav>
                                      </p:tavLst>
                                    </p:anim>
                                    <p:anim calcmode="lin" valueType="num">
                                      <p:cBhvr>
                                        <p:cTn id="41" dur="900" decel="100000" fill="hold"/>
                                        <p:tgtEl>
                                          <p:spTgt spid="11"/>
                                        </p:tgtEl>
                                        <p:attrNameLst>
                                          <p:attrName>ppt_y</p:attrName>
                                        </p:attrNameLst>
                                      </p:cBhvr>
                                      <p:tavLst>
                                        <p:tav tm="0">
                                          <p:val>
                                            <p:strVal val="#ppt_y+1"/>
                                          </p:val>
                                        </p:tav>
                                        <p:tav tm="100000">
                                          <p:val>
                                            <p:strVal val="#ppt_y-.03"/>
                                          </p:val>
                                        </p:tav>
                                      </p:tavLst>
                                    </p:anim>
                                    <p:anim calcmode="lin" valueType="num">
                                      <p:cBhvr>
                                        <p:cTn id="42" dur="100" accel="100000" fill="hold">
                                          <p:stCondLst>
                                            <p:cond delay="900"/>
                                          </p:stCondLst>
                                        </p:cTn>
                                        <p:tgtEl>
                                          <p:spTgt spid="11"/>
                                        </p:tgtEl>
                                        <p:attrNameLst>
                                          <p:attrName>ppt_y</p:attrName>
                                        </p:attrNameLst>
                                      </p:cBhvr>
                                      <p:tavLst>
                                        <p:tav tm="0">
                                          <p:val>
                                            <p:strVal val="#ppt_y-.03"/>
                                          </p:val>
                                        </p:tav>
                                        <p:tav tm="100000">
                                          <p:val>
                                            <p:strVal val="#ppt_y"/>
                                          </p:val>
                                        </p:tav>
                                      </p:tavLst>
                                    </p:anim>
                                  </p:childTnLst>
                                </p:cTn>
                              </p:par>
                              <p:par>
                                <p:cTn id="43" presetID="37" presetClass="entr" presetSubtype="0" fill="hold" nodeType="withEffect">
                                  <p:stCondLst>
                                    <p:cond delay="9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1000"/>
                                        <p:tgtEl>
                                          <p:spTgt spid="12"/>
                                        </p:tgtEl>
                                      </p:cBhvr>
                                    </p:animEffect>
                                    <p:anim calcmode="lin" valueType="num">
                                      <p:cBhvr>
                                        <p:cTn id="46" dur="1000" fill="hold"/>
                                        <p:tgtEl>
                                          <p:spTgt spid="12"/>
                                        </p:tgtEl>
                                        <p:attrNameLst>
                                          <p:attrName>ppt_x</p:attrName>
                                        </p:attrNameLst>
                                      </p:cBhvr>
                                      <p:tavLst>
                                        <p:tav tm="0">
                                          <p:val>
                                            <p:strVal val="#ppt_x"/>
                                          </p:val>
                                        </p:tav>
                                        <p:tav tm="100000">
                                          <p:val>
                                            <p:strVal val="#ppt_x"/>
                                          </p:val>
                                        </p:tav>
                                      </p:tavLst>
                                    </p:anim>
                                    <p:anim calcmode="lin" valueType="num">
                                      <p:cBhvr>
                                        <p:cTn id="47" dur="900" decel="100000" fill="hold"/>
                                        <p:tgtEl>
                                          <p:spTgt spid="12"/>
                                        </p:tgtEl>
                                        <p:attrNameLst>
                                          <p:attrName>ppt_y</p:attrName>
                                        </p:attrNameLst>
                                      </p:cBhvr>
                                      <p:tavLst>
                                        <p:tav tm="0">
                                          <p:val>
                                            <p:strVal val="#ppt_y+1"/>
                                          </p:val>
                                        </p:tav>
                                        <p:tav tm="100000">
                                          <p:val>
                                            <p:strVal val="#ppt_y-.03"/>
                                          </p:val>
                                        </p:tav>
                                      </p:tavLst>
                                    </p:anim>
                                    <p:anim calcmode="lin" valueType="num">
                                      <p:cBhvr>
                                        <p:cTn id="48" dur="100" accel="100000" fill="hold">
                                          <p:stCondLst>
                                            <p:cond delay="900"/>
                                          </p:stCondLst>
                                        </p:cTn>
                                        <p:tgtEl>
                                          <p:spTgt spid="12"/>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9AD81192-8577-466A-851D-07CEB381863A}"/>
              </a:ext>
            </a:extLst>
          </p:cNvPr>
          <p:cNvGrpSpPr/>
          <p:nvPr/>
        </p:nvGrpSpPr>
        <p:grpSpPr>
          <a:xfrm flipH="1" flipV="1">
            <a:off x="0" y="506412"/>
            <a:ext cx="5189538" cy="6351588"/>
            <a:chOff x="7002463" y="0"/>
            <a:chExt cx="5189538" cy="6351588"/>
          </a:xfrm>
        </p:grpSpPr>
        <p:sp>
          <p:nvSpPr>
            <p:cNvPr id="6" name="Freeform 8">
              <a:extLst>
                <a:ext uri="{FF2B5EF4-FFF2-40B4-BE49-F238E27FC236}">
                  <a16:creationId xmlns:a16="http://schemas.microsoft.com/office/drawing/2014/main" id="{D294170D-9208-4629-B6E7-5BDB1C209B24}"/>
                </a:ext>
              </a:extLst>
            </p:cNvPr>
            <p:cNvSpPr>
              <a:spLocks/>
            </p:cNvSpPr>
            <p:nvPr userDrawn="1"/>
          </p:nvSpPr>
          <p:spPr bwMode="auto">
            <a:xfrm>
              <a:off x="7237413" y="0"/>
              <a:ext cx="4954588" cy="4941888"/>
            </a:xfrm>
            <a:custGeom>
              <a:avLst/>
              <a:gdLst>
                <a:gd name="T0" fmla="*/ 1501 w 1501"/>
                <a:gd name="T1" fmla="*/ 0 h 1500"/>
                <a:gd name="T2" fmla="*/ 267 w 1501"/>
                <a:gd name="T3" fmla="*/ 0 h 1500"/>
                <a:gd name="T4" fmla="*/ 517 w 1501"/>
                <a:gd name="T5" fmla="*/ 960 h 1500"/>
                <a:gd name="T6" fmla="*/ 1501 w 1501"/>
                <a:gd name="T7" fmla="*/ 1500 h 1500"/>
                <a:gd name="T8" fmla="*/ 1501 w 1501"/>
                <a:gd name="T9" fmla="*/ 0 h 1500"/>
              </a:gdLst>
              <a:ahLst/>
              <a:cxnLst>
                <a:cxn ang="0">
                  <a:pos x="T0" y="T1"/>
                </a:cxn>
                <a:cxn ang="0">
                  <a:pos x="T2" y="T3"/>
                </a:cxn>
                <a:cxn ang="0">
                  <a:pos x="T4" y="T5"/>
                </a:cxn>
                <a:cxn ang="0">
                  <a:pos x="T6" y="T7"/>
                </a:cxn>
                <a:cxn ang="0">
                  <a:pos x="T8" y="T9"/>
                </a:cxn>
              </a:cxnLst>
              <a:rect l="0" t="0" r="r" b="b"/>
              <a:pathLst>
                <a:path w="1501" h="1500">
                  <a:moveTo>
                    <a:pt x="1501" y="0"/>
                  </a:moveTo>
                  <a:cubicBezTo>
                    <a:pt x="267" y="0"/>
                    <a:pt x="267" y="0"/>
                    <a:pt x="267" y="0"/>
                  </a:cubicBezTo>
                  <a:cubicBezTo>
                    <a:pt x="102" y="234"/>
                    <a:pt x="0" y="599"/>
                    <a:pt x="517" y="960"/>
                  </a:cubicBezTo>
                  <a:cubicBezTo>
                    <a:pt x="894" y="1224"/>
                    <a:pt x="1236" y="1393"/>
                    <a:pt x="1501" y="1500"/>
                  </a:cubicBezTo>
                  <a:lnTo>
                    <a:pt x="1501" y="0"/>
                  </a:lnTo>
                  <a:close/>
                </a:path>
              </a:pathLst>
            </a:custGeom>
            <a:solidFill>
              <a:srgbClr val="113583">
                <a:alpha val="30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7" name="Freeform 7">
              <a:extLst>
                <a:ext uri="{FF2B5EF4-FFF2-40B4-BE49-F238E27FC236}">
                  <a16:creationId xmlns:a16="http://schemas.microsoft.com/office/drawing/2014/main" id="{6C73C419-FD7C-4460-95FA-136BC575F219}"/>
                </a:ext>
              </a:extLst>
            </p:cNvPr>
            <p:cNvSpPr>
              <a:spLocks/>
            </p:cNvSpPr>
            <p:nvPr userDrawn="1"/>
          </p:nvSpPr>
          <p:spPr bwMode="auto">
            <a:xfrm>
              <a:off x="7332663" y="0"/>
              <a:ext cx="4859338" cy="6351588"/>
            </a:xfrm>
            <a:custGeom>
              <a:avLst/>
              <a:gdLst>
                <a:gd name="T0" fmla="*/ 1472 w 1472"/>
                <a:gd name="T1" fmla="*/ 0 h 1928"/>
                <a:gd name="T2" fmla="*/ 372 w 1472"/>
                <a:gd name="T3" fmla="*/ 0 h 1928"/>
                <a:gd name="T4" fmla="*/ 284 w 1472"/>
                <a:gd name="T5" fmla="*/ 296 h 1928"/>
                <a:gd name="T6" fmla="*/ 404 w 1472"/>
                <a:gd name="T7" fmla="*/ 1260 h 1928"/>
                <a:gd name="T8" fmla="*/ 1140 w 1472"/>
                <a:gd name="T9" fmla="*/ 1900 h 1928"/>
                <a:gd name="T10" fmla="*/ 1472 w 1472"/>
                <a:gd name="T11" fmla="*/ 1796 h 1928"/>
                <a:gd name="T12" fmla="*/ 1472 w 1472"/>
                <a:gd name="T13" fmla="*/ 0 h 1928"/>
              </a:gdLst>
              <a:ahLst/>
              <a:cxnLst>
                <a:cxn ang="0">
                  <a:pos x="T0" y="T1"/>
                </a:cxn>
                <a:cxn ang="0">
                  <a:pos x="T2" y="T3"/>
                </a:cxn>
                <a:cxn ang="0">
                  <a:pos x="T4" y="T5"/>
                </a:cxn>
                <a:cxn ang="0">
                  <a:pos x="T6" y="T7"/>
                </a:cxn>
                <a:cxn ang="0">
                  <a:pos x="T8" y="T9"/>
                </a:cxn>
                <a:cxn ang="0">
                  <a:pos x="T10" y="T11"/>
                </a:cxn>
                <a:cxn ang="0">
                  <a:pos x="T12" y="T13"/>
                </a:cxn>
              </a:cxnLst>
              <a:rect l="0" t="0" r="r" b="b"/>
              <a:pathLst>
                <a:path w="1472" h="1928">
                  <a:moveTo>
                    <a:pt x="1472" y="0"/>
                  </a:moveTo>
                  <a:cubicBezTo>
                    <a:pt x="372" y="0"/>
                    <a:pt x="372" y="0"/>
                    <a:pt x="372" y="0"/>
                  </a:cubicBezTo>
                  <a:cubicBezTo>
                    <a:pt x="409" y="90"/>
                    <a:pt x="410" y="200"/>
                    <a:pt x="284" y="296"/>
                  </a:cubicBezTo>
                  <a:cubicBezTo>
                    <a:pt x="16" y="500"/>
                    <a:pt x="0" y="1068"/>
                    <a:pt x="404" y="1260"/>
                  </a:cubicBezTo>
                  <a:cubicBezTo>
                    <a:pt x="808" y="1452"/>
                    <a:pt x="760" y="1928"/>
                    <a:pt x="1140" y="1900"/>
                  </a:cubicBezTo>
                  <a:cubicBezTo>
                    <a:pt x="1246" y="1892"/>
                    <a:pt x="1361" y="1851"/>
                    <a:pt x="1472" y="1796"/>
                  </a:cubicBezTo>
                  <a:lnTo>
                    <a:pt x="1472" y="0"/>
                  </a:lnTo>
                  <a:close/>
                </a:path>
              </a:pathLst>
            </a:custGeom>
            <a:solidFill>
              <a:srgbClr val="113583">
                <a:alpha val="75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8" name="Freeform 6">
              <a:extLst>
                <a:ext uri="{FF2B5EF4-FFF2-40B4-BE49-F238E27FC236}">
                  <a16:creationId xmlns:a16="http://schemas.microsoft.com/office/drawing/2014/main" id="{ECD7F23E-934C-4D69-9DA4-39AE21B2C0BF}"/>
                </a:ext>
              </a:extLst>
            </p:cNvPr>
            <p:cNvSpPr>
              <a:spLocks/>
            </p:cNvSpPr>
            <p:nvPr userDrawn="1"/>
          </p:nvSpPr>
          <p:spPr bwMode="auto">
            <a:xfrm>
              <a:off x="7094538" y="0"/>
              <a:ext cx="5097463" cy="6064250"/>
            </a:xfrm>
            <a:custGeom>
              <a:avLst/>
              <a:gdLst>
                <a:gd name="T0" fmla="*/ 888 w 1544"/>
                <a:gd name="T1" fmla="*/ 112 h 1841"/>
                <a:gd name="T2" fmla="*/ 280 w 1544"/>
                <a:gd name="T3" fmla="*/ 972 h 1841"/>
                <a:gd name="T4" fmla="*/ 624 w 1544"/>
                <a:gd name="T5" fmla="*/ 1784 h 1841"/>
                <a:gd name="T6" fmla="*/ 1544 w 1544"/>
                <a:gd name="T7" fmla="*/ 1554 h 1841"/>
                <a:gd name="T8" fmla="*/ 1544 w 1544"/>
                <a:gd name="T9" fmla="*/ 0 h 1841"/>
                <a:gd name="T10" fmla="*/ 1248 w 1544"/>
                <a:gd name="T11" fmla="*/ 0 h 1841"/>
                <a:gd name="T12" fmla="*/ 888 w 1544"/>
                <a:gd name="T13" fmla="*/ 112 h 1841"/>
              </a:gdLst>
              <a:ahLst/>
              <a:cxnLst>
                <a:cxn ang="0">
                  <a:pos x="T0" y="T1"/>
                </a:cxn>
                <a:cxn ang="0">
                  <a:pos x="T2" y="T3"/>
                </a:cxn>
                <a:cxn ang="0">
                  <a:pos x="T4" y="T5"/>
                </a:cxn>
                <a:cxn ang="0">
                  <a:pos x="T6" y="T7"/>
                </a:cxn>
                <a:cxn ang="0">
                  <a:pos x="T8" y="T9"/>
                </a:cxn>
                <a:cxn ang="0">
                  <a:pos x="T10" y="T11"/>
                </a:cxn>
                <a:cxn ang="0">
                  <a:pos x="T12" y="T13"/>
                </a:cxn>
              </a:cxnLst>
              <a:rect l="0" t="0" r="r" b="b"/>
              <a:pathLst>
                <a:path w="1544" h="1841">
                  <a:moveTo>
                    <a:pt x="888" y="112"/>
                  </a:moveTo>
                  <a:cubicBezTo>
                    <a:pt x="360" y="164"/>
                    <a:pt x="256" y="764"/>
                    <a:pt x="280" y="972"/>
                  </a:cubicBezTo>
                  <a:cubicBezTo>
                    <a:pt x="304" y="1180"/>
                    <a:pt x="0" y="1696"/>
                    <a:pt x="624" y="1784"/>
                  </a:cubicBezTo>
                  <a:cubicBezTo>
                    <a:pt x="1031" y="1841"/>
                    <a:pt x="1322" y="1647"/>
                    <a:pt x="1544" y="1554"/>
                  </a:cubicBezTo>
                  <a:cubicBezTo>
                    <a:pt x="1544" y="0"/>
                    <a:pt x="1544" y="0"/>
                    <a:pt x="1544" y="0"/>
                  </a:cubicBezTo>
                  <a:cubicBezTo>
                    <a:pt x="1248" y="0"/>
                    <a:pt x="1248" y="0"/>
                    <a:pt x="1248" y="0"/>
                  </a:cubicBezTo>
                  <a:cubicBezTo>
                    <a:pt x="1170" y="52"/>
                    <a:pt x="1056" y="95"/>
                    <a:pt x="888" y="112"/>
                  </a:cubicBezTo>
                  <a:close/>
                </a:path>
              </a:pathLst>
            </a:custGeom>
            <a:solidFill>
              <a:srgbClr val="113583">
                <a:alpha val="54000"/>
              </a:srgb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9" name="Freeform 5">
              <a:extLst>
                <a:ext uri="{FF2B5EF4-FFF2-40B4-BE49-F238E27FC236}">
                  <a16:creationId xmlns:a16="http://schemas.microsoft.com/office/drawing/2014/main" id="{76E9A841-7528-46C5-B426-69BA830CFD2A}"/>
                </a:ext>
              </a:extLst>
            </p:cNvPr>
            <p:cNvSpPr>
              <a:spLocks/>
            </p:cNvSpPr>
            <p:nvPr userDrawn="1"/>
          </p:nvSpPr>
          <p:spPr bwMode="auto">
            <a:xfrm>
              <a:off x="7332663" y="231663"/>
              <a:ext cx="4859337" cy="5521325"/>
            </a:xfrm>
            <a:custGeom>
              <a:avLst/>
              <a:gdLst>
                <a:gd name="T0" fmla="*/ 1572 w 1572"/>
                <a:gd name="T1" fmla="*/ 397 h 1676"/>
                <a:gd name="T2" fmla="*/ 748 w 1572"/>
                <a:gd name="T3" fmla="*/ 192 h 1676"/>
                <a:gd name="T4" fmla="*/ 900 w 1572"/>
                <a:gd name="T5" fmla="*/ 1504 h 1676"/>
                <a:gd name="T6" fmla="*/ 1572 w 1572"/>
                <a:gd name="T7" fmla="*/ 1281 h 1676"/>
                <a:gd name="T8" fmla="*/ 1572 w 1572"/>
                <a:gd name="T9" fmla="*/ 397 h 1676"/>
              </a:gdLst>
              <a:ahLst/>
              <a:cxnLst>
                <a:cxn ang="0">
                  <a:pos x="T0" y="T1"/>
                </a:cxn>
                <a:cxn ang="0">
                  <a:pos x="T2" y="T3"/>
                </a:cxn>
                <a:cxn ang="0">
                  <a:pos x="T4" y="T5"/>
                </a:cxn>
                <a:cxn ang="0">
                  <a:pos x="T6" y="T7"/>
                </a:cxn>
                <a:cxn ang="0">
                  <a:pos x="T8" y="T9"/>
                </a:cxn>
              </a:cxnLst>
              <a:rect l="0" t="0" r="r" b="b"/>
              <a:pathLst>
                <a:path w="1572" h="1676">
                  <a:moveTo>
                    <a:pt x="1572" y="397"/>
                  </a:moveTo>
                  <a:cubicBezTo>
                    <a:pt x="1343" y="225"/>
                    <a:pt x="964" y="0"/>
                    <a:pt x="748" y="192"/>
                  </a:cubicBezTo>
                  <a:cubicBezTo>
                    <a:pt x="424" y="480"/>
                    <a:pt x="0" y="1676"/>
                    <a:pt x="900" y="1504"/>
                  </a:cubicBezTo>
                  <a:cubicBezTo>
                    <a:pt x="1201" y="1447"/>
                    <a:pt x="1417" y="1364"/>
                    <a:pt x="1572" y="1281"/>
                  </a:cubicBezTo>
                  <a:lnTo>
                    <a:pt x="1572" y="397"/>
                  </a:lnTo>
                  <a:close/>
                </a:path>
              </a:pathLst>
            </a:custGeom>
            <a:solidFill>
              <a:srgbClr val="263183">
                <a:alpha val="28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 name="Freeform 5">
              <a:extLst>
                <a:ext uri="{FF2B5EF4-FFF2-40B4-BE49-F238E27FC236}">
                  <a16:creationId xmlns:a16="http://schemas.microsoft.com/office/drawing/2014/main" id="{3546EDC0-8B2B-4604-A581-B31898B1DE1A}"/>
                </a:ext>
              </a:extLst>
            </p:cNvPr>
            <p:cNvSpPr>
              <a:spLocks/>
            </p:cNvSpPr>
            <p:nvPr userDrawn="1"/>
          </p:nvSpPr>
          <p:spPr bwMode="auto">
            <a:xfrm>
              <a:off x="7002463" y="487363"/>
              <a:ext cx="5189538" cy="5521325"/>
            </a:xfrm>
            <a:custGeom>
              <a:avLst/>
              <a:gdLst>
                <a:gd name="T0" fmla="*/ 1572 w 1572"/>
                <a:gd name="T1" fmla="*/ 397 h 1676"/>
                <a:gd name="T2" fmla="*/ 748 w 1572"/>
                <a:gd name="T3" fmla="*/ 192 h 1676"/>
                <a:gd name="T4" fmla="*/ 900 w 1572"/>
                <a:gd name="T5" fmla="*/ 1504 h 1676"/>
                <a:gd name="T6" fmla="*/ 1572 w 1572"/>
                <a:gd name="T7" fmla="*/ 1281 h 1676"/>
                <a:gd name="T8" fmla="*/ 1572 w 1572"/>
                <a:gd name="T9" fmla="*/ 397 h 1676"/>
              </a:gdLst>
              <a:ahLst/>
              <a:cxnLst>
                <a:cxn ang="0">
                  <a:pos x="T0" y="T1"/>
                </a:cxn>
                <a:cxn ang="0">
                  <a:pos x="T2" y="T3"/>
                </a:cxn>
                <a:cxn ang="0">
                  <a:pos x="T4" y="T5"/>
                </a:cxn>
                <a:cxn ang="0">
                  <a:pos x="T6" y="T7"/>
                </a:cxn>
                <a:cxn ang="0">
                  <a:pos x="T8" y="T9"/>
                </a:cxn>
              </a:cxnLst>
              <a:rect l="0" t="0" r="r" b="b"/>
              <a:pathLst>
                <a:path w="1572" h="1676">
                  <a:moveTo>
                    <a:pt x="1572" y="397"/>
                  </a:moveTo>
                  <a:cubicBezTo>
                    <a:pt x="1343" y="225"/>
                    <a:pt x="964" y="0"/>
                    <a:pt x="748" y="192"/>
                  </a:cubicBezTo>
                  <a:cubicBezTo>
                    <a:pt x="424" y="480"/>
                    <a:pt x="0" y="1676"/>
                    <a:pt x="900" y="1504"/>
                  </a:cubicBezTo>
                  <a:cubicBezTo>
                    <a:pt x="1201" y="1447"/>
                    <a:pt x="1417" y="1364"/>
                    <a:pt x="1572" y="1281"/>
                  </a:cubicBezTo>
                  <a:lnTo>
                    <a:pt x="1572" y="397"/>
                  </a:lnTo>
                  <a:close/>
                </a:path>
              </a:pathLst>
            </a:custGeom>
            <a:solidFill>
              <a:srgbClr val="113583"/>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1" name="标题 4">
            <a:extLst>
              <a:ext uri="{FF2B5EF4-FFF2-40B4-BE49-F238E27FC236}">
                <a16:creationId xmlns:a16="http://schemas.microsoft.com/office/drawing/2014/main" id="{D2AF9585-2FA9-4606-BD0E-33ECAF4F446F}"/>
              </a:ext>
            </a:extLst>
          </p:cNvPr>
          <p:cNvSpPr txBox="1">
            <a:spLocks/>
          </p:cNvSpPr>
          <p:nvPr/>
        </p:nvSpPr>
        <p:spPr>
          <a:xfrm>
            <a:off x="6098599" y="3022505"/>
            <a:ext cx="6024821" cy="451837"/>
          </a:xfrm>
          <a:prstGeom prst="rect">
            <a:avLst/>
          </a:prstGeom>
        </p:spPr>
        <p:txBody>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2000" dirty="0"/>
              <a:t>适配器和观察者设计模式的实现变体的规范 </a:t>
            </a:r>
          </a:p>
        </p:txBody>
      </p:sp>
      <p:sp>
        <p:nvSpPr>
          <p:cNvPr id="13" name="文本框 12">
            <a:extLst>
              <a:ext uri="{FF2B5EF4-FFF2-40B4-BE49-F238E27FC236}">
                <a16:creationId xmlns:a16="http://schemas.microsoft.com/office/drawing/2014/main" id="{D7DB50D5-9612-4C1A-839F-3B1FABB41201}"/>
              </a:ext>
            </a:extLst>
          </p:cNvPr>
          <p:cNvSpPr txBox="1"/>
          <p:nvPr/>
        </p:nvSpPr>
        <p:spPr>
          <a:xfrm>
            <a:off x="673100" y="2622086"/>
            <a:ext cx="2141996" cy="1862386"/>
          </a:xfrm>
          <a:prstGeom prst="rect">
            <a:avLst/>
          </a:prstGeom>
          <a:noFill/>
          <a:ln w="117475">
            <a:noFill/>
          </a:ln>
        </p:spPr>
        <p:txBody>
          <a:bodyPr wrap="none" rtlCol="0">
            <a:prstTxWarp prst="textPlain">
              <a:avLst/>
            </a:prstTxWarp>
            <a:spAutoFit/>
          </a:bodyPr>
          <a:lstStyle/>
          <a:p>
            <a:r>
              <a:rPr lang="en-US" altLang="zh-CN" spc="100" dirty="0">
                <a:solidFill>
                  <a:schemeClr val="accent1">
                    <a:lumMod val="20000"/>
                    <a:lumOff val="80000"/>
                  </a:schemeClr>
                </a:solidFill>
                <a:latin typeface="Impact" panose="020B0806030902050204" pitchFamily="34" charset="0"/>
                <a:cs typeface="Arial" panose="020B0604020202020204" pitchFamily="34" charset="0"/>
              </a:rPr>
              <a:t>/02</a:t>
            </a:r>
            <a:endParaRPr lang="zh-CN" altLang="en-US" spc="100" dirty="0">
              <a:solidFill>
                <a:schemeClr val="accent1">
                  <a:lumMod val="20000"/>
                  <a:lumOff val="80000"/>
                </a:schemeClr>
              </a:solidFill>
              <a:latin typeface="Impact" panose="020B0806030902050204" pitchFamily="34" charset="0"/>
              <a:cs typeface="Arial" panose="020B0604020202020204" pitchFamily="34" charset="0"/>
            </a:endParaRPr>
          </a:p>
        </p:txBody>
      </p:sp>
      <p:sp>
        <p:nvSpPr>
          <p:cNvPr id="14" name="ïṥ1iḓe">
            <a:extLst>
              <a:ext uri="{FF2B5EF4-FFF2-40B4-BE49-F238E27FC236}">
                <a16:creationId xmlns:a16="http://schemas.microsoft.com/office/drawing/2014/main" id="{CCD5F6C5-8FA2-4C01-AD2C-F434A2BE84E5}"/>
              </a:ext>
            </a:extLst>
          </p:cNvPr>
          <p:cNvSpPr/>
          <p:nvPr/>
        </p:nvSpPr>
        <p:spPr bwMode="auto">
          <a:xfrm>
            <a:off x="5092350" y="2957671"/>
            <a:ext cx="944084" cy="942658"/>
          </a:xfrm>
          <a:custGeom>
            <a:avLst/>
            <a:gdLst>
              <a:gd name="T0" fmla="*/ 5980 w 6635"/>
              <a:gd name="T1" fmla="*/ 2663 h 6635"/>
              <a:gd name="T2" fmla="*/ 5420 w 6635"/>
              <a:gd name="T3" fmla="*/ 2986 h 6635"/>
              <a:gd name="T4" fmla="*/ 4403 w 6635"/>
              <a:gd name="T5" fmla="*/ 2986 h 6635"/>
              <a:gd name="T6" fmla="*/ 4229 w 6635"/>
              <a:gd name="T7" fmla="*/ 2640 h 6635"/>
              <a:gd name="T8" fmla="*/ 5219 w 6635"/>
              <a:gd name="T9" fmla="*/ 1650 h 6635"/>
              <a:gd name="T10" fmla="*/ 5663 w 6635"/>
              <a:gd name="T11" fmla="*/ 1558 h 6635"/>
              <a:gd name="T12" fmla="*/ 5663 w 6635"/>
              <a:gd name="T13" fmla="*/ 972 h 6635"/>
              <a:gd name="T14" fmla="*/ 5077 w 6635"/>
              <a:gd name="T15" fmla="*/ 972 h 6635"/>
              <a:gd name="T16" fmla="*/ 4984 w 6635"/>
              <a:gd name="T17" fmla="*/ 1416 h 6635"/>
              <a:gd name="T18" fmla="*/ 3995 w 6635"/>
              <a:gd name="T19" fmla="*/ 2405 h 6635"/>
              <a:gd name="T20" fmla="*/ 3649 w 6635"/>
              <a:gd name="T21" fmla="*/ 2232 h 6635"/>
              <a:gd name="T22" fmla="*/ 3649 w 6635"/>
              <a:gd name="T23" fmla="*/ 1215 h 6635"/>
              <a:gd name="T24" fmla="*/ 3972 w 6635"/>
              <a:gd name="T25" fmla="*/ 654 h 6635"/>
              <a:gd name="T26" fmla="*/ 3317 w 6635"/>
              <a:gd name="T27" fmla="*/ 0 h 6635"/>
              <a:gd name="T28" fmla="*/ 2663 w 6635"/>
              <a:gd name="T29" fmla="*/ 654 h 6635"/>
              <a:gd name="T30" fmla="*/ 2986 w 6635"/>
              <a:gd name="T31" fmla="*/ 1215 h 6635"/>
              <a:gd name="T32" fmla="*/ 2986 w 6635"/>
              <a:gd name="T33" fmla="*/ 2232 h 6635"/>
              <a:gd name="T34" fmla="*/ 2640 w 6635"/>
              <a:gd name="T35" fmla="*/ 2405 h 6635"/>
              <a:gd name="T36" fmla="*/ 1650 w 6635"/>
              <a:gd name="T37" fmla="*/ 1416 h 6635"/>
              <a:gd name="T38" fmla="*/ 1558 w 6635"/>
              <a:gd name="T39" fmla="*/ 972 h 6635"/>
              <a:gd name="T40" fmla="*/ 972 w 6635"/>
              <a:gd name="T41" fmla="*/ 972 h 6635"/>
              <a:gd name="T42" fmla="*/ 972 w 6635"/>
              <a:gd name="T43" fmla="*/ 1558 h 6635"/>
              <a:gd name="T44" fmla="*/ 1416 w 6635"/>
              <a:gd name="T45" fmla="*/ 1651 h 6635"/>
              <a:gd name="T46" fmla="*/ 2405 w 6635"/>
              <a:gd name="T47" fmla="*/ 2640 h 6635"/>
              <a:gd name="T48" fmla="*/ 2232 w 6635"/>
              <a:gd name="T49" fmla="*/ 2986 h 6635"/>
              <a:gd name="T50" fmla="*/ 1215 w 6635"/>
              <a:gd name="T51" fmla="*/ 2986 h 6635"/>
              <a:gd name="T52" fmla="*/ 654 w 6635"/>
              <a:gd name="T53" fmla="*/ 2663 h 6635"/>
              <a:gd name="T54" fmla="*/ 0 w 6635"/>
              <a:gd name="T55" fmla="*/ 3317 h 6635"/>
              <a:gd name="T56" fmla="*/ 654 w 6635"/>
              <a:gd name="T57" fmla="*/ 3972 h 6635"/>
              <a:gd name="T58" fmla="*/ 1215 w 6635"/>
              <a:gd name="T59" fmla="*/ 3649 h 6635"/>
              <a:gd name="T60" fmla="*/ 2232 w 6635"/>
              <a:gd name="T61" fmla="*/ 3649 h 6635"/>
              <a:gd name="T62" fmla="*/ 2405 w 6635"/>
              <a:gd name="T63" fmla="*/ 3995 h 6635"/>
              <a:gd name="T64" fmla="*/ 1416 w 6635"/>
              <a:gd name="T65" fmla="*/ 4984 h 6635"/>
              <a:gd name="T66" fmla="*/ 972 w 6635"/>
              <a:gd name="T67" fmla="*/ 5077 h 6635"/>
              <a:gd name="T68" fmla="*/ 972 w 6635"/>
              <a:gd name="T69" fmla="*/ 5663 h 6635"/>
              <a:gd name="T70" fmla="*/ 1558 w 6635"/>
              <a:gd name="T71" fmla="*/ 5663 h 6635"/>
              <a:gd name="T72" fmla="*/ 1651 w 6635"/>
              <a:gd name="T73" fmla="*/ 5219 h 6635"/>
              <a:gd name="T74" fmla="*/ 2640 w 6635"/>
              <a:gd name="T75" fmla="*/ 4230 h 6635"/>
              <a:gd name="T76" fmla="*/ 2986 w 6635"/>
              <a:gd name="T77" fmla="*/ 4403 h 6635"/>
              <a:gd name="T78" fmla="*/ 2986 w 6635"/>
              <a:gd name="T79" fmla="*/ 5419 h 6635"/>
              <a:gd name="T80" fmla="*/ 2663 w 6635"/>
              <a:gd name="T81" fmla="*/ 5980 h 6635"/>
              <a:gd name="T82" fmla="*/ 3317 w 6635"/>
              <a:gd name="T83" fmla="*/ 6635 h 6635"/>
              <a:gd name="T84" fmla="*/ 3972 w 6635"/>
              <a:gd name="T85" fmla="*/ 5980 h 6635"/>
              <a:gd name="T86" fmla="*/ 3649 w 6635"/>
              <a:gd name="T87" fmla="*/ 5420 h 6635"/>
              <a:gd name="T88" fmla="*/ 3649 w 6635"/>
              <a:gd name="T89" fmla="*/ 4403 h 6635"/>
              <a:gd name="T90" fmla="*/ 3995 w 6635"/>
              <a:gd name="T91" fmla="*/ 4229 h 6635"/>
              <a:gd name="T92" fmla="*/ 4984 w 6635"/>
              <a:gd name="T93" fmla="*/ 5219 h 6635"/>
              <a:gd name="T94" fmla="*/ 5077 w 6635"/>
              <a:gd name="T95" fmla="*/ 5663 h 6635"/>
              <a:gd name="T96" fmla="*/ 5663 w 6635"/>
              <a:gd name="T97" fmla="*/ 5663 h 6635"/>
              <a:gd name="T98" fmla="*/ 5663 w 6635"/>
              <a:gd name="T99" fmla="*/ 5077 h 6635"/>
              <a:gd name="T100" fmla="*/ 5219 w 6635"/>
              <a:gd name="T101" fmla="*/ 4984 h 6635"/>
              <a:gd name="T102" fmla="*/ 4229 w 6635"/>
              <a:gd name="T103" fmla="*/ 3995 h 6635"/>
              <a:gd name="T104" fmla="*/ 4403 w 6635"/>
              <a:gd name="T105" fmla="*/ 3649 h 6635"/>
              <a:gd name="T106" fmla="*/ 5420 w 6635"/>
              <a:gd name="T107" fmla="*/ 3649 h 6635"/>
              <a:gd name="T108" fmla="*/ 5981 w 6635"/>
              <a:gd name="T109" fmla="*/ 3972 h 6635"/>
              <a:gd name="T110" fmla="*/ 6635 w 6635"/>
              <a:gd name="T111" fmla="*/ 3317 h 6635"/>
              <a:gd name="T112" fmla="*/ 5980 w 6635"/>
              <a:gd name="T113" fmla="*/ 2663 h 6635"/>
              <a:gd name="T114" fmla="*/ 3317 w 6635"/>
              <a:gd name="T115" fmla="*/ 4016 h 6635"/>
              <a:gd name="T116" fmla="*/ 2619 w 6635"/>
              <a:gd name="T117" fmla="*/ 3317 h 6635"/>
              <a:gd name="T118" fmla="*/ 3317 w 6635"/>
              <a:gd name="T119" fmla="*/ 2619 h 6635"/>
              <a:gd name="T120" fmla="*/ 4015 w 6635"/>
              <a:gd name="T121" fmla="*/ 3317 h 6635"/>
              <a:gd name="T122" fmla="*/ 3317 w 6635"/>
              <a:gd name="T123" fmla="*/ 4016 h 6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35" h="6635">
                <a:moveTo>
                  <a:pt x="5980" y="2663"/>
                </a:moveTo>
                <a:cubicBezTo>
                  <a:pt x="5741" y="2663"/>
                  <a:pt x="5533" y="2793"/>
                  <a:pt x="5420" y="2986"/>
                </a:cubicBezTo>
                <a:lnTo>
                  <a:pt x="4403" y="2986"/>
                </a:lnTo>
                <a:cubicBezTo>
                  <a:pt x="4364" y="2860"/>
                  <a:pt x="4306" y="2743"/>
                  <a:pt x="4229" y="2640"/>
                </a:cubicBezTo>
                <a:lnTo>
                  <a:pt x="5219" y="1650"/>
                </a:lnTo>
                <a:cubicBezTo>
                  <a:pt x="5368" y="1709"/>
                  <a:pt x="5543" y="1678"/>
                  <a:pt x="5663" y="1558"/>
                </a:cubicBezTo>
                <a:cubicBezTo>
                  <a:pt x="5825" y="1396"/>
                  <a:pt x="5825" y="1134"/>
                  <a:pt x="5663" y="972"/>
                </a:cubicBezTo>
                <a:cubicBezTo>
                  <a:pt x="5501" y="810"/>
                  <a:pt x="5239" y="810"/>
                  <a:pt x="5077" y="972"/>
                </a:cubicBezTo>
                <a:cubicBezTo>
                  <a:pt x="4957" y="1092"/>
                  <a:pt x="4926" y="1267"/>
                  <a:pt x="4984" y="1416"/>
                </a:cubicBezTo>
                <a:lnTo>
                  <a:pt x="3995" y="2405"/>
                </a:lnTo>
                <a:cubicBezTo>
                  <a:pt x="3892" y="2328"/>
                  <a:pt x="3775" y="2271"/>
                  <a:pt x="3649" y="2232"/>
                </a:cubicBezTo>
                <a:lnTo>
                  <a:pt x="3649" y="1215"/>
                </a:lnTo>
                <a:cubicBezTo>
                  <a:pt x="3841" y="1101"/>
                  <a:pt x="3972" y="894"/>
                  <a:pt x="3972" y="654"/>
                </a:cubicBezTo>
                <a:cubicBezTo>
                  <a:pt x="3972" y="293"/>
                  <a:pt x="3679" y="0"/>
                  <a:pt x="3317" y="0"/>
                </a:cubicBezTo>
                <a:cubicBezTo>
                  <a:pt x="2956" y="0"/>
                  <a:pt x="2663" y="293"/>
                  <a:pt x="2663" y="654"/>
                </a:cubicBezTo>
                <a:cubicBezTo>
                  <a:pt x="2663" y="894"/>
                  <a:pt x="2793" y="1101"/>
                  <a:pt x="2986" y="1215"/>
                </a:cubicBezTo>
                <a:lnTo>
                  <a:pt x="2986" y="2232"/>
                </a:lnTo>
                <a:cubicBezTo>
                  <a:pt x="2860" y="2271"/>
                  <a:pt x="2743" y="2328"/>
                  <a:pt x="2640" y="2405"/>
                </a:cubicBezTo>
                <a:lnTo>
                  <a:pt x="1650" y="1416"/>
                </a:lnTo>
                <a:cubicBezTo>
                  <a:pt x="1709" y="1267"/>
                  <a:pt x="1678" y="1092"/>
                  <a:pt x="1558" y="972"/>
                </a:cubicBezTo>
                <a:cubicBezTo>
                  <a:pt x="1396" y="810"/>
                  <a:pt x="1133" y="810"/>
                  <a:pt x="972" y="972"/>
                </a:cubicBezTo>
                <a:cubicBezTo>
                  <a:pt x="810" y="1134"/>
                  <a:pt x="810" y="1396"/>
                  <a:pt x="972" y="1558"/>
                </a:cubicBezTo>
                <a:cubicBezTo>
                  <a:pt x="1092" y="1678"/>
                  <a:pt x="1267" y="1709"/>
                  <a:pt x="1416" y="1651"/>
                </a:cubicBezTo>
                <a:lnTo>
                  <a:pt x="2405" y="2640"/>
                </a:lnTo>
                <a:cubicBezTo>
                  <a:pt x="2328" y="2743"/>
                  <a:pt x="2271" y="2860"/>
                  <a:pt x="2232" y="2986"/>
                </a:cubicBezTo>
                <a:lnTo>
                  <a:pt x="1215" y="2986"/>
                </a:lnTo>
                <a:cubicBezTo>
                  <a:pt x="1101" y="2793"/>
                  <a:pt x="894" y="2663"/>
                  <a:pt x="654" y="2663"/>
                </a:cubicBezTo>
                <a:cubicBezTo>
                  <a:pt x="293" y="2663"/>
                  <a:pt x="0" y="2956"/>
                  <a:pt x="0" y="3317"/>
                </a:cubicBezTo>
                <a:cubicBezTo>
                  <a:pt x="0" y="3679"/>
                  <a:pt x="293" y="3972"/>
                  <a:pt x="654" y="3972"/>
                </a:cubicBezTo>
                <a:cubicBezTo>
                  <a:pt x="894" y="3972"/>
                  <a:pt x="1101" y="3842"/>
                  <a:pt x="1215" y="3649"/>
                </a:cubicBezTo>
                <a:lnTo>
                  <a:pt x="2232" y="3649"/>
                </a:lnTo>
                <a:cubicBezTo>
                  <a:pt x="2271" y="3775"/>
                  <a:pt x="2328" y="3892"/>
                  <a:pt x="2405" y="3995"/>
                </a:cubicBezTo>
                <a:lnTo>
                  <a:pt x="1416" y="4984"/>
                </a:lnTo>
                <a:cubicBezTo>
                  <a:pt x="1267" y="4926"/>
                  <a:pt x="1092" y="4956"/>
                  <a:pt x="972" y="5077"/>
                </a:cubicBezTo>
                <a:cubicBezTo>
                  <a:pt x="810" y="5238"/>
                  <a:pt x="810" y="5501"/>
                  <a:pt x="972" y="5663"/>
                </a:cubicBezTo>
                <a:cubicBezTo>
                  <a:pt x="1134" y="5825"/>
                  <a:pt x="1396" y="5825"/>
                  <a:pt x="1558" y="5663"/>
                </a:cubicBezTo>
                <a:cubicBezTo>
                  <a:pt x="1678" y="5543"/>
                  <a:pt x="1709" y="5367"/>
                  <a:pt x="1651" y="5219"/>
                </a:cubicBezTo>
                <a:lnTo>
                  <a:pt x="2640" y="4230"/>
                </a:lnTo>
                <a:cubicBezTo>
                  <a:pt x="2743" y="4307"/>
                  <a:pt x="2860" y="4364"/>
                  <a:pt x="2986" y="4403"/>
                </a:cubicBezTo>
                <a:lnTo>
                  <a:pt x="2986" y="5419"/>
                </a:lnTo>
                <a:cubicBezTo>
                  <a:pt x="2793" y="5533"/>
                  <a:pt x="2663" y="5741"/>
                  <a:pt x="2663" y="5980"/>
                </a:cubicBezTo>
                <a:cubicBezTo>
                  <a:pt x="2663" y="6342"/>
                  <a:pt x="2956" y="6635"/>
                  <a:pt x="3317" y="6635"/>
                </a:cubicBezTo>
                <a:cubicBezTo>
                  <a:pt x="3679" y="6635"/>
                  <a:pt x="3972" y="6342"/>
                  <a:pt x="3972" y="5980"/>
                </a:cubicBezTo>
                <a:cubicBezTo>
                  <a:pt x="3972" y="5741"/>
                  <a:pt x="3841" y="5533"/>
                  <a:pt x="3649" y="5420"/>
                </a:cubicBezTo>
                <a:lnTo>
                  <a:pt x="3649" y="4403"/>
                </a:lnTo>
                <a:cubicBezTo>
                  <a:pt x="3775" y="4364"/>
                  <a:pt x="3892" y="4307"/>
                  <a:pt x="3995" y="4229"/>
                </a:cubicBezTo>
                <a:lnTo>
                  <a:pt x="4984" y="5219"/>
                </a:lnTo>
                <a:cubicBezTo>
                  <a:pt x="4926" y="5367"/>
                  <a:pt x="4957" y="5543"/>
                  <a:pt x="5077" y="5663"/>
                </a:cubicBezTo>
                <a:cubicBezTo>
                  <a:pt x="5239" y="5825"/>
                  <a:pt x="5501" y="5825"/>
                  <a:pt x="5663" y="5663"/>
                </a:cubicBezTo>
                <a:cubicBezTo>
                  <a:pt x="5825" y="5501"/>
                  <a:pt x="5825" y="5238"/>
                  <a:pt x="5663" y="5077"/>
                </a:cubicBezTo>
                <a:cubicBezTo>
                  <a:pt x="5543" y="4956"/>
                  <a:pt x="5367" y="4926"/>
                  <a:pt x="5219" y="4984"/>
                </a:cubicBezTo>
                <a:lnTo>
                  <a:pt x="4229" y="3995"/>
                </a:lnTo>
                <a:cubicBezTo>
                  <a:pt x="4307" y="3892"/>
                  <a:pt x="4364" y="3775"/>
                  <a:pt x="4403" y="3649"/>
                </a:cubicBezTo>
                <a:lnTo>
                  <a:pt x="5420" y="3649"/>
                </a:lnTo>
                <a:cubicBezTo>
                  <a:pt x="5534" y="3842"/>
                  <a:pt x="5741" y="3972"/>
                  <a:pt x="5981" y="3972"/>
                </a:cubicBezTo>
                <a:cubicBezTo>
                  <a:pt x="6342" y="3972"/>
                  <a:pt x="6635" y="3679"/>
                  <a:pt x="6635" y="3317"/>
                </a:cubicBezTo>
                <a:cubicBezTo>
                  <a:pt x="6635" y="2956"/>
                  <a:pt x="6342" y="2663"/>
                  <a:pt x="5980" y="2663"/>
                </a:cubicBezTo>
                <a:close/>
                <a:moveTo>
                  <a:pt x="3317" y="4016"/>
                </a:moveTo>
                <a:cubicBezTo>
                  <a:pt x="2932" y="4016"/>
                  <a:pt x="2619" y="3702"/>
                  <a:pt x="2619" y="3317"/>
                </a:cubicBezTo>
                <a:cubicBezTo>
                  <a:pt x="2619" y="2932"/>
                  <a:pt x="2932" y="2619"/>
                  <a:pt x="3317" y="2619"/>
                </a:cubicBezTo>
                <a:cubicBezTo>
                  <a:pt x="3702" y="2619"/>
                  <a:pt x="4015" y="2932"/>
                  <a:pt x="4015" y="3317"/>
                </a:cubicBezTo>
                <a:cubicBezTo>
                  <a:pt x="4015" y="3702"/>
                  <a:pt x="3702" y="4016"/>
                  <a:pt x="3317" y="4016"/>
                </a:cubicBezTo>
                <a:close/>
              </a:path>
            </a:pathLst>
          </a:custGeom>
          <a:solidFill>
            <a:schemeClr val="accent5">
              <a:lumMod val="60000"/>
              <a:lumOff val="40000"/>
            </a:schemeClr>
          </a:solidFill>
          <a:ln>
            <a:noFill/>
          </a:ln>
          <a:effectLst>
            <a:outerShdw blurRad="63500" sx="102000" sy="102000" algn="ctr" rotWithShape="0">
              <a:prstClr val="black">
                <a:alpha val="40000"/>
              </a:prstClr>
            </a:outerShdw>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 name="文本占位符 5">
            <a:extLst>
              <a:ext uri="{FF2B5EF4-FFF2-40B4-BE49-F238E27FC236}">
                <a16:creationId xmlns:a16="http://schemas.microsoft.com/office/drawing/2014/main" id="{730415A2-A75C-4B24-829A-AEA482DC9F1A}"/>
              </a:ext>
            </a:extLst>
          </p:cNvPr>
          <p:cNvSpPr txBox="1">
            <a:spLocks/>
          </p:cNvSpPr>
          <p:nvPr/>
        </p:nvSpPr>
        <p:spPr>
          <a:xfrm>
            <a:off x="6099715" y="3560836"/>
            <a:ext cx="5419185" cy="371021"/>
          </a:xfrm>
          <a:prstGeom prst="rect">
            <a:avLst/>
          </a:prstGeom>
        </p:spPr>
        <p:txBody>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000" dirty="0"/>
              <a:t>Specification For Implementation Variants Of The Adapter And Observer.</a:t>
            </a:r>
          </a:p>
        </p:txBody>
      </p:sp>
      <p:sp>
        <p:nvSpPr>
          <p:cNvPr id="16" name="文本占位符 5">
            <a:extLst>
              <a:ext uri="{FF2B5EF4-FFF2-40B4-BE49-F238E27FC236}">
                <a16:creationId xmlns:a16="http://schemas.microsoft.com/office/drawing/2014/main" id="{3D1C5C57-4040-4DC4-9455-7D0F9234CFCA}"/>
              </a:ext>
            </a:extLst>
          </p:cNvPr>
          <p:cNvSpPr txBox="1">
            <a:spLocks/>
          </p:cNvSpPr>
          <p:nvPr/>
        </p:nvSpPr>
        <p:spPr>
          <a:xfrm>
            <a:off x="6099716" y="3865674"/>
            <a:ext cx="5189538" cy="371021"/>
          </a:xfrm>
          <a:prstGeom prst="rect">
            <a:avLst/>
          </a:prstGeom>
        </p:spPr>
        <p:txBody>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dist">
              <a:buNone/>
            </a:pPr>
            <a:r>
              <a:rPr lang="en-US" altLang="zh-CN" sz="1000" dirty="0"/>
              <a:t>////////////////////////////////////////////////////////////////////////////</a:t>
            </a:r>
            <a:endParaRPr lang="en-US" altLang="zh-CN" dirty="0"/>
          </a:p>
        </p:txBody>
      </p:sp>
    </p:spTree>
    <p:extLst>
      <p:ext uri="{BB962C8B-B14F-4D97-AF65-F5344CB8AC3E}">
        <p14:creationId xmlns:p14="http://schemas.microsoft.com/office/powerpoint/2010/main" val="374034227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2" presetClass="entr" presetSubtype="8" accel="4000" fill="hold" grpId="0" nodeType="withEffect" p14:presetBounceEnd="30000">
                                      <p:stCondLst>
                                        <p:cond delay="300"/>
                                      </p:stCondLst>
                                      <p:childTnLst>
                                        <p:set>
                                          <p:cBhvr>
                                            <p:cTn id="9" dur="1" fill="hold">
                                              <p:stCondLst>
                                                <p:cond delay="0"/>
                                              </p:stCondLst>
                                            </p:cTn>
                                            <p:tgtEl>
                                              <p:spTgt spid="13"/>
                                            </p:tgtEl>
                                            <p:attrNameLst>
                                              <p:attrName>style.visibility</p:attrName>
                                            </p:attrNameLst>
                                          </p:cBhvr>
                                          <p:to>
                                            <p:strVal val="visible"/>
                                          </p:to>
                                        </p:set>
                                        <p:anim calcmode="lin" valueType="num" p14:bounceEnd="30000">
                                          <p:cBhvr additive="base">
                                            <p:cTn id="10" dur="500" fill="hold"/>
                                            <p:tgtEl>
                                              <p:spTgt spid="13"/>
                                            </p:tgtEl>
                                            <p:attrNameLst>
                                              <p:attrName>ppt_x</p:attrName>
                                            </p:attrNameLst>
                                          </p:cBhvr>
                                          <p:tavLst>
                                            <p:tav tm="0">
                                              <p:val>
                                                <p:strVal val="0-#ppt_w/2"/>
                                              </p:val>
                                            </p:tav>
                                            <p:tav tm="100000">
                                              <p:val>
                                                <p:strVal val="#ppt_x"/>
                                              </p:val>
                                            </p:tav>
                                          </p:tavLst>
                                        </p:anim>
                                        <p:anim calcmode="lin" valueType="num" p14:bounceEnd="30000">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6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2" presetClass="entr" presetSubtype="2" accel="4000" fill="hold" grpId="0" nodeType="withEffect" p14:presetBounceEnd="30000">
                                      <p:stCondLst>
                                        <p:cond delay="900"/>
                                      </p:stCondLst>
                                      <p:childTnLst>
                                        <p:set>
                                          <p:cBhvr>
                                            <p:cTn id="16" dur="1" fill="hold">
                                              <p:stCondLst>
                                                <p:cond delay="0"/>
                                              </p:stCondLst>
                                            </p:cTn>
                                            <p:tgtEl>
                                              <p:spTgt spid="11"/>
                                            </p:tgtEl>
                                            <p:attrNameLst>
                                              <p:attrName>style.visibility</p:attrName>
                                            </p:attrNameLst>
                                          </p:cBhvr>
                                          <p:to>
                                            <p:strVal val="visible"/>
                                          </p:to>
                                        </p:set>
                                        <p:anim calcmode="lin" valueType="num" p14:bounceEnd="30000">
                                          <p:cBhvr additive="base">
                                            <p:cTn id="17" dur="500" fill="hold"/>
                                            <p:tgtEl>
                                              <p:spTgt spid="11"/>
                                            </p:tgtEl>
                                            <p:attrNameLst>
                                              <p:attrName>ppt_x</p:attrName>
                                            </p:attrNameLst>
                                          </p:cBhvr>
                                          <p:tavLst>
                                            <p:tav tm="0">
                                              <p:val>
                                                <p:strVal val="1+#ppt_w/2"/>
                                              </p:val>
                                            </p:tav>
                                            <p:tav tm="100000">
                                              <p:val>
                                                <p:strVal val="#ppt_x"/>
                                              </p:val>
                                            </p:tav>
                                          </p:tavLst>
                                        </p:anim>
                                        <p:anim calcmode="lin" valueType="num" p14:bounceEnd="30000">
                                          <p:cBhvr additive="base">
                                            <p:cTn id="18" dur="5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accel="4000" fill="hold" grpId="0" nodeType="withEffect" p14:presetBounceEnd="30000">
                                      <p:stCondLst>
                                        <p:cond delay="1300"/>
                                      </p:stCondLst>
                                      <p:childTnLst>
                                        <p:set>
                                          <p:cBhvr>
                                            <p:cTn id="20" dur="1" fill="hold">
                                              <p:stCondLst>
                                                <p:cond delay="0"/>
                                              </p:stCondLst>
                                            </p:cTn>
                                            <p:tgtEl>
                                              <p:spTgt spid="15"/>
                                            </p:tgtEl>
                                            <p:attrNameLst>
                                              <p:attrName>style.visibility</p:attrName>
                                            </p:attrNameLst>
                                          </p:cBhvr>
                                          <p:to>
                                            <p:strVal val="visible"/>
                                          </p:to>
                                        </p:set>
                                        <p:anim calcmode="lin" valueType="num" p14:bounceEnd="30000">
                                          <p:cBhvr additive="base">
                                            <p:cTn id="21" dur="500" fill="hold"/>
                                            <p:tgtEl>
                                              <p:spTgt spid="15"/>
                                            </p:tgtEl>
                                            <p:attrNameLst>
                                              <p:attrName>ppt_x</p:attrName>
                                            </p:attrNameLst>
                                          </p:cBhvr>
                                          <p:tavLst>
                                            <p:tav tm="0">
                                              <p:val>
                                                <p:strVal val="1+#ppt_w/2"/>
                                              </p:val>
                                            </p:tav>
                                            <p:tav tm="100000">
                                              <p:val>
                                                <p:strVal val="#ppt_x"/>
                                              </p:val>
                                            </p:tav>
                                          </p:tavLst>
                                        </p:anim>
                                        <p:anim calcmode="lin" valueType="num" p14:bounceEnd="30000">
                                          <p:cBhvr additive="base">
                                            <p:cTn id="22" dur="500" fill="hold"/>
                                            <p:tgtEl>
                                              <p:spTgt spid="15"/>
                                            </p:tgtEl>
                                            <p:attrNameLst>
                                              <p:attrName>ppt_y</p:attrName>
                                            </p:attrNameLst>
                                          </p:cBhvr>
                                          <p:tavLst>
                                            <p:tav tm="0">
                                              <p:val>
                                                <p:strVal val="#ppt_y"/>
                                              </p:val>
                                            </p:tav>
                                            <p:tav tm="100000">
                                              <p:val>
                                                <p:strVal val="#ppt_y"/>
                                              </p:val>
                                            </p:tav>
                                          </p:tavLst>
                                        </p:anim>
                                      </p:childTnLst>
                                    </p:cTn>
                                  </p:par>
                                  <p:par>
                                    <p:cTn id="23" presetID="2" presetClass="entr" presetSubtype="2" accel="4000" fill="hold" grpId="0" nodeType="withEffect" p14:presetBounceEnd="30000">
                                      <p:stCondLst>
                                        <p:cond delay="1500"/>
                                      </p:stCondLst>
                                      <p:childTnLst>
                                        <p:set>
                                          <p:cBhvr>
                                            <p:cTn id="24" dur="1" fill="hold">
                                              <p:stCondLst>
                                                <p:cond delay="0"/>
                                              </p:stCondLst>
                                            </p:cTn>
                                            <p:tgtEl>
                                              <p:spTgt spid="16"/>
                                            </p:tgtEl>
                                            <p:attrNameLst>
                                              <p:attrName>style.visibility</p:attrName>
                                            </p:attrNameLst>
                                          </p:cBhvr>
                                          <p:to>
                                            <p:strVal val="visible"/>
                                          </p:to>
                                        </p:set>
                                        <p:anim calcmode="lin" valueType="num" p14:bounceEnd="30000">
                                          <p:cBhvr additive="base">
                                            <p:cTn id="25" dur="500" fill="hold"/>
                                            <p:tgtEl>
                                              <p:spTgt spid="16"/>
                                            </p:tgtEl>
                                            <p:attrNameLst>
                                              <p:attrName>ppt_x</p:attrName>
                                            </p:attrNameLst>
                                          </p:cBhvr>
                                          <p:tavLst>
                                            <p:tav tm="0">
                                              <p:val>
                                                <p:strVal val="1+#ppt_w/2"/>
                                              </p:val>
                                            </p:tav>
                                            <p:tav tm="100000">
                                              <p:val>
                                                <p:strVal val="#ppt_x"/>
                                              </p:val>
                                            </p:tav>
                                          </p:tavLst>
                                        </p:anim>
                                        <p:anim calcmode="lin" valueType="num" p14:bounceEnd="30000">
                                          <p:cBhvr additive="base">
                                            <p:cTn id="2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animBg="1"/>
          <p:bldP spid="15" grpId="0"/>
          <p:bldP spid="16"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2" presetClass="entr" presetSubtype="8" accel="4000" fill="hold" grpId="0" nodeType="withEffect">
                                      <p:stCondLst>
                                        <p:cond delay="30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0" presetClass="entr" presetSubtype="0" fill="hold" grpId="0" nodeType="withEffect">
                                      <p:stCondLst>
                                        <p:cond delay="6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2" presetClass="entr" presetSubtype="2" accel="4000" fill="hold" grpId="0" nodeType="withEffect">
                                      <p:stCondLst>
                                        <p:cond delay="90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1+#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par>
                                    <p:cTn id="19" presetID="2" presetClass="entr" presetSubtype="2" accel="4000" fill="hold" grpId="0" nodeType="withEffect">
                                      <p:stCondLst>
                                        <p:cond delay="130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500" fill="hold"/>
                                            <p:tgtEl>
                                              <p:spTgt spid="15"/>
                                            </p:tgtEl>
                                            <p:attrNameLst>
                                              <p:attrName>ppt_x</p:attrName>
                                            </p:attrNameLst>
                                          </p:cBhvr>
                                          <p:tavLst>
                                            <p:tav tm="0">
                                              <p:val>
                                                <p:strVal val="1+#ppt_w/2"/>
                                              </p:val>
                                            </p:tav>
                                            <p:tav tm="100000">
                                              <p:val>
                                                <p:strVal val="#ppt_x"/>
                                              </p:val>
                                            </p:tav>
                                          </p:tavLst>
                                        </p:anim>
                                        <p:anim calcmode="lin" valueType="num">
                                          <p:cBhvr additive="base">
                                            <p:cTn id="22" dur="500" fill="hold"/>
                                            <p:tgtEl>
                                              <p:spTgt spid="15"/>
                                            </p:tgtEl>
                                            <p:attrNameLst>
                                              <p:attrName>ppt_y</p:attrName>
                                            </p:attrNameLst>
                                          </p:cBhvr>
                                          <p:tavLst>
                                            <p:tav tm="0">
                                              <p:val>
                                                <p:strVal val="#ppt_y"/>
                                              </p:val>
                                            </p:tav>
                                            <p:tav tm="100000">
                                              <p:val>
                                                <p:strVal val="#ppt_y"/>
                                              </p:val>
                                            </p:tav>
                                          </p:tavLst>
                                        </p:anim>
                                      </p:childTnLst>
                                    </p:cTn>
                                  </p:par>
                                  <p:par>
                                    <p:cTn id="23" presetID="2" presetClass="entr" presetSubtype="2" accel="4000" fill="hold" grpId="0" nodeType="withEffect">
                                      <p:stCondLst>
                                        <p:cond delay="150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1+#ppt_w/2"/>
                                              </p:val>
                                            </p:tav>
                                            <p:tav tm="100000">
                                              <p:val>
                                                <p:strVal val="#ppt_x"/>
                                              </p:val>
                                            </p:tav>
                                          </p:tavLst>
                                        </p:anim>
                                        <p:anim calcmode="lin" valueType="num">
                                          <p:cBhvr additive="base">
                                            <p:cTn id="2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animBg="1"/>
          <p:bldP spid="15" grpId="0"/>
          <p:bldP spid="16" grpId="0"/>
        </p:bldLst>
      </p:timing>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FF5B2882-A044-423D-90FB-F955FED432BF}"/>
              </a:ext>
            </a:extLst>
          </p:cNvPr>
          <p:cNvSpPr txBox="1"/>
          <p:nvPr/>
        </p:nvSpPr>
        <p:spPr>
          <a:xfrm>
            <a:off x="693023" y="1785323"/>
            <a:ext cx="3593114" cy="461665"/>
          </a:xfrm>
          <a:prstGeom prst="rect">
            <a:avLst/>
          </a:prstGeom>
          <a:noFill/>
        </p:spPr>
        <p:txBody>
          <a:bodyPr wrap="square" rtlCol="0">
            <a:spAutoFit/>
          </a:bodyPr>
          <a:lstStyle/>
          <a:p>
            <a:r>
              <a:rPr lang="zh-CN" altLang="en-US" sz="1200" dirty="0">
                <a:solidFill>
                  <a:schemeClr val="tx1">
                    <a:lumMod val="75000"/>
                    <a:lumOff val="25000"/>
                  </a:schemeClr>
                </a:solidFill>
              </a:rPr>
              <a:t>设计模式变体指的是在偏离标准规范的软件系统中实现的设计模式的实例。</a:t>
            </a:r>
          </a:p>
        </p:txBody>
      </p:sp>
      <p:sp>
        <p:nvSpPr>
          <p:cNvPr id="12" name="矩形 11">
            <a:extLst>
              <a:ext uri="{FF2B5EF4-FFF2-40B4-BE49-F238E27FC236}">
                <a16:creationId xmlns:a16="http://schemas.microsoft.com/office/drawing/2014/main" id="{DE8F5BB8-BCAB-4185-99ED-ABD90F8BB974}"/>
              </a:ext>
            </a:extLst>
          </p:cNvPr>
          <p:cNvSpPr/>
          <p:nvPr/>
        </p:nvSpPr>
        <p:spPr>
          <a:xfrm>
            <a:off x="762001" y="1361431"/>
            <a:ext cx="2895600" cy="369332"/>
          </a:xfrm>
          <a:prstGeom prst="rect">
            <a:avLst/>
          </a:prstGeom>
        </p:spPr>
        <p:txBody>
          <a:bodyPr wrap="square">
            <a:spAutoFit/>
          </a:bodyPr>
          <a:lstStyle/>
          <a:p>
            <a:r>
              <a:rPr lang="zh-CN" altLang="en-US" b="1" dirty="0"/>
              <a:t>设计模式变体</a:t>
            </a:r>
            <a:endParaRPr lang="en-US" altLang="zh-CN" b="1" dirty="0"/>
          </a:p>
        </p:txBody>
      </p:sp>
      <p:pic>
        <p:nvPicPr>
          <p:cNvPr id="16" name="图片 15">
            <a:extLst>
              <a:ext uri="{FF2B5EF4-FFF2-40B4-BE49-F238E27FC236}">
                <a16:creationId xmlns:a16="http://schemas.microsoft.com/office/drawing/2014/main" id="{33F01A2B-98FE-45D7-AA7B-88722920E0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5097" y="2246988"/>
            <a:ext cx="4267202" cy="3174436"/>
          </a:xfrm>
          <a:prstGeom prst="rect">
            <a:avLst/>
          </a:prstGeom>
        </p:spPr>
      </p:pic>
      <p:pic>
        <p:nvPicPr>
          <p:cNvPr id="17" name="图片 16">
            <a:extLst>
              <a:ext uri="{FF2B5EF4-FFF2-40B4-BE49-F238E27FC236}">
                <a16:creationId xmlns:a16="http://schemas.microsoft.com/office/drawing/2014/main" id="{153C1EEC-B58E-464C-823D-0E23C3A6B50F}"/>
              </a:ext>
            </a:extLst>
          </p:cNvPr>
          <p:cNvPicPr>
            <a:picLocks noChangeAspect="1"/>
          </p:cNvPicPr>
          <p:nvPr/>
        </p:nvPicPr>
        <p:blipFill>
          <a:blip r:embed="rId4"/>
          <a:stretch>
            <a:fillRect/>
          </a:stretch>
        </p:blipFill>
        <p:spPr>
          <a:xfrm>
            <a:off x="7643177" y="2508541"/>
            <a:ext cx="4461755" cy="2811929"/>
          </a:xfrm>
          <a:prstGeom prst="rect">
            <a:avLst/>
          </a:prstGeom>
        </p:spPr>
      </p:pic>
      <p:sp>
        <p:nvSpPr>
          <p:cNvPr id="18" name="文本框 17">
            <a:extLst>
              <a:ext uri="{FF2B5EF4-FFF2-40B4-BE49-F238E27FC236}">
                <a16:creationId xmlns:a16="http://schemas.microsoft.com/office/drawing/2014/main" id="{8EBE6983-C579-498A-A4F9-4A59934E35D3}"/>
              </a:ext>
            </a:extLst>
          </p:cNvPr>
          <p:cNvSpPr txBox="1"/>
          <p:nvPr/>
        </p:nvSpPr>
        <p:spPr>
          <a:xfrm>
            <a:off x="693023" y="3571979"/>
            <a:ext cx="3357542" cy="646331"/>
          </a:xfrm>
          <a:prstGeom prst="rect">
            <a:avLst/>
          </a:prstGeom>
          <a:noFill/>
        </p:spPr>
        <p:txBody>
          <a:bodyPr wrap="square" rtlCol="0">
            <a:spAutoFit/>
          </a:bodyPr>
          <a:lstStyle/>
          <a:p>
            <a:r>
              <a:rPr lang="zh-CN" altLang="en-US" sz="1200" dirty="0">
                <a:solidFill>
                  <a:schemeClr val="tx1">
                    <a:lumMod val="75000"/>
                    <a:lumOff val="25000"/>
                  </a:schemeClr>
                </a:solidFill>
              </a:rPr>
              <a:t>为适配器和观察者模式定义</a:t>
            </a:r>
            <a:r>
              <a:rPr lang="en-US" altLang="zh-CN" sz="1200" dirty="0">
                <a:solidFill>
                  <a:schemeClr val="tx1">
                    <a:lumMod val="75000"/>
                    <a:lumOff val="25000"/>
                  </a:schemeClr>
                </a:solidFill>
              </a:rPr>
              <a:t>16</a:t>
            </a:r>
            <a:r>
              <a:rPr lang="zh-CN" altLang="en-US" sz="1200" dirty="0">
                <a:solidFill>
                  <a:schemeClr val="tx1">
                    <a:lumMod val="75000"/>
                    <a:lumOff val="25000"/>
                  </a:schemeClr>
                </a:solidFill>
              </a:rPr>
              <a:t>种不同的实现变体。之所以选择它们，是因为它们可以被视为结构和行为设计模式类的代表。</a:t>
            </a:r>
          </a:p>
        </p:txBody>
      </p:sp>
      <p:sp>
        <p:nvSpPr>
          <p:cNvPr id="19" name="text-quotes_13895">
            <a:extLst>
              <a:ext uri="{FF2B5EF4-FFF2-40B4-BE49-F238E27FC236}">
                <a16:creationId xmlns:a16="http://schemas.microsoft.com/office/drawing/2014/main" id="{CBF9BDD7-19F1-4678-BFC5-5F0035244806}"/>
              </a:ext>
            </a:extLst>
          </p:cNvPr>
          <p:cNvSpPr>
            <a:spLocks noChangeAspect="1"/>
          </p:cNvSpPr>
          <p:nvPr/>
        </p:nvSpPr>
        <p:spPr bwMode="auto">
          <a:xfrm rot="10800000">
            <a:off x="487680" y="3033700"/>
            <a:ext cx="609685" cy="391270"/>
          </a:xfrm>
          <a:custGeom>
            <a:avLst/>
            <a:gdLst>
              <a:gd name="connsiteX0" fmla="*/ 439987 w 568260"/>
              <a:gd name="connsiteY0" fmla="*/ 0 h 364686"/>
              <a:gd name="connsiteX1" fmla="*/ 568260 w 568260"/>
              <a:gd name="connsiteY1" fmla="*/ 130771 h 364686"/>
              <a:gd name="connsiteX2" fmla="*/ 568260 w 568260"/>
              <a:gd name="connsiteY2" fmla="*/ 131692 h 364686"/>
              <a:gd name="connsiteX3" fmla="*/ 337553 w 568260"/>
              <a:gd name="connsiteY3" fmla="*/ 364686 h 364686"/>
              <a:gd name="connsiteX4" fmla="*/ 308023 w 568260"/>
              <a:gd name="connsiteY4" fmla="*/ 331533 h 364686"/>
              <a:gd name="connsiteX5" fmla="*/ 340322 w 568260"/>
              <a:gd name="connsiteY5" fmla="*/ 299301 h 364686"/>
              <a:gd name="connsiteX6" fmla="*/ 444601 w 568260"/>
              <a:gd name="connsiteY6" fmla="*/ 262464 h 364686"/>
              <a:gd name="connsiteX7" fmla="*/ 441833 w 568260"/>
              <a:gd name="connsiteY7" fmla="*/ 262464 h 364686"/>
              <a:gd name="connsiteX8" fmla="*/ 309869 w 568260"/>
              <a:gd name="connsiteY8" fmla="*/ 131692 h 364686"/>
              <a:gd name="connsiteX9" fmla="*/ 439987 w 568260"/>
              <a:gd name="connsiteY9" fmla="*/ 0 h 364686"/>
              <a:gd name="connsiteX10" fmla="*/ 131871 w 568260"/>
              <a:gd name="connsiteY10" fmla="*/ 0 h 364686"/>
              <a:gd name="connsiteX11" fmla="*/ 260976 w 568260"/>
              <a:gd name="connsiteY11" fmla="*/ 130771 h 364686"/>
              <a:gd name="connsiteX12" fmla="*/ 260976 w 568260"/>
              <a:gd name="connsiteY12" fmla="*/ 131692 h 364686"/>
              <a:gd name="connsiteX13" fmla="*/ 30432 w 568260"/>
              <a:gd name="connsiteY13" fmla="*/ 364686 h 364686"/>
              <a:gd name="connsiteX14" fmla="*/ 0 w 568260"/>
              <a:gd name="connsiteY14" fmla="*/ 331533 h 364686"/>
              <a:gd name="connsiteX15" fmla="*/ 33198 w 568260"/>
              <a:gd name="connsiteY15" fmla="*/ 299301 h 364686"/>
              <a:gd name="connsiteX16" fmla="*/ 136482 w 568260"/>
              <a:gd name="connsiteY16" fmla="*/ 262464 h 364686"/>
              <a:gd name="connsiteX17" fmla="*/ 134638 w 568260"/>
              <a:gd name="connsiteY17" fmla="*/ 262464 h 364686"/>
              <a:gd name="connsiteX18" fmla="*/ 1844 w 568260"/>
              <a:gd name="connsiteY18" fmla="*/ 131692 h 364686"/>
              <a:gd name="connsiteX19" fmla="*/ 131871 w 568260"/>
              <a:gd name="connsiteY19" fmla="*/ 0 h 36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8260" h="364686">
                <a:moveTo>
                  <a:pt x="439987" y="0"/>
                </a:moveTo>
                <a:cubicBezTo>
                  <a:pt x="511968" y="0"/>
                  <a:pt x="568260" y="58939"/>
                  <a:pt x="568260" y="130771"/>
                </a:cubicBezTo>
                <a:lnTo>
                  <a:pt x="568260" y="131692"/>
                </a:lnTo>
                <a:cubicBezTo>
                  <a:pt x="568260" y="259701"/>
                  <a:pt x="466749" y="364686"/>
                  <a:pt x="337553" y="364686"/>
                </a:cubicBezTo>
                <a:cubicBezTo>
                  <a:pt x="319097" y="364686"/>
                  <a:pt x="308023" y="349951"/>
                  <a:pt x="308023" y="331533"/>
                </a:cubicBezTo>
                <a:cubicBezTo>
                  <a:pt x="308023" y="313114"/>
                  <a:pt x="322788" y="299301"/>
                  <a:pt x="340322" y="299301"/>
                </a:cubicBezTo>
                <a:cubicBezTo>
                  <a:pt x="380003" y="299301"/>
                  <a:pt x="415994" y="285487"/>
                  <a:pt x="444601" y="262464"/>
                </a:cubicBezTo>
                <a:cubicBezTo>
                  <a:pt x="443678" y="262464"/>
                  <a:pt x="442756" y="262464"/>
                  <a:pt x="441833" y="262464"/>
                </a:cubicBezTo>
                <a:cubicBezTo>
                  <a:pt x="369852" y="262464"/>
                  <a:pt x="309869" y="203524"/>
                  <a:pt x="309869" y="131692"/>
                </a:cubicBezTo>
                <a:cubicBezTo>
                  <a:pt x="309869" y="58939"/>
                  <a:pt x="367084" y="0"/>
                  <a:pt x="439987" y="0"/>
                </a:cubicBezTo>
                <a:close/>
                <a:moveTo>
                  <a:pt x="131871" y="0"/>
                </a:moveTo>
                <a:cubicBezTo>
                  <a:pt x="204723" y="0"/>
                  <a:pt x="260976" y="58939"/>
                  <a:pt x="260976" y="130771"/>
                </a:cubicBezTo>
                <a:lnTo>
                  <a:pt x="260976" y="131692"/>
                </a:lnTo>
                <a:cubicBezTo>
                  <a:pt x="260976" y="259701"/>
                  <a:pt x="158614" y="364686"/>
                  <a:pt x="30432" y="364686"/>
                </a:cubicBezTo>
                <a:cubicBezTo>
                  <a:pt x="11988" y="364686"/>
                  <a:pt x="0" y="349951"/>
                  <a:pt x="0" y="331533"/>
                </a:cubicBezTo>
                <a:cubicBezTo>
                  <a:pt x="0" y="313114"/>
                  <a:pt x="14755" y="299301"/>
                  <a:pt x="33198" y="299301"/>
                </a:cubicBezTo>
                <a:cubicBezTo>
                  <a:pt x="71930" y="299301"/>
                  <a:pt x="107895" y="285487"/>
                  <a:pt x="136482" y="262464"/>
                </a:cubicBezTo>
                <a:cubicBezTo>
                  <a:pt x="136482" y="262464"/>
                  <a:pt x="134638" y="262464"/>
                  <a:pt x="134638" y="262464"/>
                </a:cubicBezTo>
                <a:cubicBezTo>
                  <a:pt x="61786" y="262464"/>
                  <a:pt x="1844" y="203524"/>
                  <a:pt x="1844" y="131692"/>
                </a:cubicBezTo>
                <a:cubicBezTo>
                  <a:pt x="1844" y="58939"/>
                  <a:pt x="59941" y="0"/>
                  <a:pt x="131871" y="0"/>
                </a:cubicBezTo>
                <a:close/>
              </a:path>
            </a:pathLst>
          </a:custGeom>
          <a:solidFill>
            <a:schemeClr val="accent1"/>
          </a:solidFill>
          <a:ln>
            <a:noFill/>
          </a:ln>
        </p:spPr>
      </p:sp>
      <p:grpSp>
        <p:nvGrpSpPr>
          <p:cNvPr id="2" name="组合 1">
            <a:extLst>
              <a:ext uri="{FF2B5EF4-FFF2-40B4-BE49-F238E27FC236}">
                <a16:creationId xmlns:a16="http://schemas.microsoft.com/office/drawing/2014/main" id="{2D970109-BC54-463C-B9D8-F76012900DBF}"/>
              </a:ext>
            </a:extLst>
          </p:cNvPr>
          <p:cNvGrpSpPr/>
          <p:nvPr/>
        </p:nvGrpSpPr>
        <p:grpSpPr>
          <a:xfrm>
            <a:off x="586740" y="1352750"/>
            <a:ext cx="159426" cy="378013"/>
            <a:chOff x="586740" y="1352750"/>
            <a:chExt cx="159426" cy="378013"/>
          </a:xfrm>
        </p:grpSpPr>
        <p:sp>
          <p:nvSpPr>
            <p:cNvPr id="21" name="矩形 20">
              <a:extLst>
                <a:ext uri="{FF2B5EF4-FFF2-40B4-BE49-F238E27FC236}">
                  <a16:creationId xmlns:a16="http://schemas.microsoft.com/office/drawing/2014/main" id="{B46A7A4C-4434-4DBF-8BAE-F9BD8A4FC1C2}"/>
                </a:ext>
              </a:extLst>
            </p:cNvPr>
            <p:cNvSpPr/>
            <p:nvPr/>
          </p:nvSpPr>
          <p:spPr>
            <a:xfrm>
              <a:off x="639882" y="1352750"/>
              <a:ext cx="106284" cy="37801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a:extLst>
                <a:ext uri="{FF2B5EF4-FFF2-40B4-BE49-F238E27FC236}">
                  <a16:creationId xmlns:a16="http://schemas.microsoft.com/office/drawing/2014/main" id="{52CC7C1F-DA5F-419F-87FC-70E736062E4F}"/>
                </a:ext>
              </a:extLst>
            </p:cNvPr>
            <p:cNvSpPr/>
            <p:nvPr/>
          </p:nvSpPr>
          <p:spPr>
            <a:xfrm>
              <a:off x="586740" y="1352750"/>
              <a:ext cx="106284" cy="378013"/>
            </a:xfrm>
            <a:prstGeom prst="rect">
              <a:avLst/>
            </a:prstGeom>
            <a:solidFill>
              <a:srgbClr val="113583">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3" name="组合 22">
            <a:extLst>
              <a:ext uri="{FF2B5EF4-FFF2-40B4-BE49-F238E27FC236}">
                <a16:creationId xmlns:a16="http://schemas.microsoft.com/office/drawing/2014/main" id="{DD0E1B40-9ABC-4B1F-ABC1-F5562BB35E17}"/>
              </a:ext>
            </a:extLst>
          </p:cNvPr>
          <p:cNvGrpSpPr/>
          <p:nvPr/>
        </p:nvGrpSpPr>
        <p:grpSpPr>
          <a:xfrm>
            <a:off x="-43962" y="-2"/>
            <a:ext cx="12265321" cy="1081456"/>
            <a:chOff x="-43962" y="-2"/>
            <a:chExt cx="12265321" cy="1081456"/>
          </a:xfrm>
        </p:grpSpPr>
        <p:grpSp>
          <p:nvGrpSpPr>
            <p:cNvPr id="5" name="组合 4">
              <a:extLst>
                <a:ext uri="{FF2B5EF4-FFF2-40B4-BE49-F238E27FC236}">
                  <a16:creationId xmlns:a16="http://schemas.microsoft.com/office/drawing/2014/main" id="{17ED8D7A-3AA5-4B4E-A151-8B586DC4C3FB}"/>
                </a:ext>
              </a:extLst>
            </p:cNvPr>
            <p:cNvGrpSpPr/>
            <p:nvPr/>
          </p:nvGrpSpPr>
          <p:grpSpPr>
            <a:xfrm rot="10800000">
              <a:off x="-43962" y="-2"/>
              <a:ext cx="12265321" cy="1081456"/>
              <a:chOff x="1" y="5010588"/>
              <a:chExt cx="12265322" cy="1905823"/>
            </a:xfrm>
          </p:grpSpPr>
          <p:sp>
            <p:nvSpPr>
              <p:cNvPr id="6" name="îṧļiḑe">
                <a:extLst>
                  <a:ext uri="{FF2B5EF4-FFF2-40B4-BE49-F238E27FC236}">
                    <a16:creationId xmlns:a16="http://schemas.microsoft.com/office/drawing/2014/main" id="{E107242F-B757-418F-B6BD-A64B29251F79}"/>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îṩľiḑê">
                <a:extLst>
                  <a:ext uri="{FF2B5EF4-FFF2-40B4-BE49-F238E27FC236}">
                    <a16:creationId xmlns:a16="http://schemas.microsoft.com/office/drawing/2014/main" id="{2BEC40B0-424C-4DA3-8322-DD9AD124CE22}"/>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grpSp>
        <p:sp>
          <p:nvSpPr>
            <p:cNvPr id="9" name="矩形 8">
              <a:extLst>
                <a:ext uri="{FF2B5EF4-FFF2-40B4-BE49-F238E27FC236}">
                  <a16:creationId xmlns:a16="http://schemas.microsoft.com/office/drawing/2014/main" id="{B95F87D7-4C82-43B0-ABCA-AABD64928F2B}"/>
                </a:ext>
              </a:extLst>
            </p:cNvPr>
            <p:cNvSpPr/>
            <p:nvPr/>
          </p:nvSpPr>
          <p:spPr>
            <a:xfrm>
              <a:off x="1028700" y="139985"/>
              <a:ext cx="7711440" cy="369332"/>
            </a:xfrm>
            <a:prstGeom prst="rect">
              <a:avLst/>
            </a:prstGeom>
          </p:spPr>
          <p:txBody>
            <a:bodyPr wrap="square">
              <a:spAutoFit/>
            </a:bodyPr>
            <a:lstStyle/>
            <a:p>
              <a:r>
                <a:rPr lang="zh-CN" altLang="en-US" dirty="0">
                  <a:solidFill>
                    <a:schemeClr val="bg1"/>
                  </a:solidFill>
                </a:rPr>
                <a:t>设计模式实现变体</a:t>
              </a:r>
              <a:endParaRPr lang="en-US" altLang="zh-CN" dirty="0">
                <a:solidFill>
                  <a:schemeClr val="bg1"/>
                </a:solidFill>
              </a:endParaRPr>
            </a:p>
          </p:txBody>
        </p:sp>
        <p:sp>
          <p:nvSpPr>
            <p:cNvPr id="22" name="ïṥ1iḓe">
              <a:extLst>
                <a:ext uri="{FF2B5EF4-FFF2-40B4-BE49-F238E27FC236}">
                  <a16:creationId xmlns:a16="http://schemas.microsoft.com/office/drawing/2014/main" id="{4CE0E852-BE8E-407E-A5D6-1F19BBBA8AA1}"/>
                </a:ext>
              </a:extLst>
            </p:cNvPr>
            <p:cNvSpPr/>
            <p:nvPr/>
          </p:nvSpPr>
          <p:spPr bwMode="auto">
            <a:xfrm>
              <a:off x="434340" y="65577"/>
              <a:ext cx="539484" cy="538668"/>
            </a:xfrm>
            <a:custGeom>
              <a:avLst/>
              <a:gdLst>
                <a:gd name="T0" fmla="*/ 5980 w 6635"/>
                <a:gd name="T1" fmla="*/ 2663 h 6635"/>
                <a:gd name="T2" fmla="*/ 5420 w 6635"/>
                <a:gd name="T3" fmla="*/ 2986 h 6635"/>
                <a:gd name="T4" fmla="*/ 4403 w 6635"/>
                <a:gd name="T5" fmla="*/ 2986 h 6635"/>
                <a:gd name="T6" fmla="*/ 4229 w 6635"/>
                <a:gd name="T7" fmla="*/ 2640 h 6635"/>
                <a:gd name="T8" fmla="*/ 5219 w 6635"/>
                <a:gd name="T9" fmla="*/ 1650 h 6635"/>
                <a:gd name="T10" fmla="*/ 5663 w 6635"/>
                <a:gd name="T11" fmla="*/ 1558 h 6635"/>
                <a:gd name="T12" fmla="*/ 5663 w 6635"/>
                <a:gd name="T13" fmla="*/ 972 h 6635"/>
                <a:gd name="T14" fmla="*/ 5077 w 6635"/>
                <a:gd name="T15" fmla="*/ 972 h 6635"/>
                <a:gd name="T16" fmla="*/ 4984 w 6635"/>
                <a:gd name="T17" fmla="*/ 1416 h 6635"/>
                <a:gd name="T18" fmla="*/ 3995 w 6635"/>
                <a:gd name="T19" fmla="*/ 2405 h 6635"/>
                <a:gd name="T20" fmla="*/ 3649 w 6635"/>
                <a:gd name="T21" fmla="*/ 2232 h 6635"/>
                <a:gd name="T22" fmla="*/ 3649 w 6635"/>
                <a:gd name="T23" fmla="*/ 1215 h 6635"/>
                <a:gd name="T24" fmla="*/ 3972 w 6635"/>
                <a:gd name="T25" fmla="*/ 654 h 6635"/>
                <a:gd name="T26" fmla="*/ 3317 w 6635"/>
                <a:gd name="T27" fmla="*/ 0 h 6635"/>
                <a:gd name="T28" fmla="*/ 2663 w 6635"/>
                <a:gd name="T29" fmla="*/ 654 h 6635"/>
                <a:gd name="T30" fmla="*/ 2986 w 6635"/>
                <a:gd name="T31" fmla="*/ 1215 h 6635"/>
                <a:gd name="T32" fmla="*/ 2986 w 6635"/>
                <a:gd name="T33" fmla="*/ 2232 h 6635"/>
                <a:gd name="T34" fmla="*/ 2640 w 6635"/>
                <a:gd name="T35" fmla="*/ 2405 h 6635"/>
                <a:gd name="T36" fmla="*/ 1650 w 6635"/>
                <a:gd name="T37" fmla="*/ 1416 h 6635"/>
                <a:gd name="T38" fmla="*/ 1558 w 6635"/>
                <a:gd name="T39" fmla="*/ 972 h 6635"/>
                <a:gd name="T40" fmla="*/ 972 w 6635"/>
                <a:gd name="T41" fmla="*/ 972 h 6635"/>
                <a:gd name="T42" fmla="*/ 972 w 6635"/>
                <a:gd name="T43" fmla="*/ 1558 h 6635"/>
                <a:gd name="T44" fmla="*/ 1416 w 6635"/>
                <a:gd name="T45" fmla="*/ 1651 h 6635"/>
                <a:gd name="T46" fmla="*/ 2405 w 6635"/>
                <a:gd name="T47" fmla="*/ 2640 h 6635"/>
                <a:gd name="T48" fmla="*/ 2232 w 6635"/>
                <a:gd name="T49" fmla="*/ 2986 h 6635"/>
                <a:gd name="T50" fmla="*/ 1215 w 6635"/>
                <a:gd name="T51" fmla="*/ 2986 h 6635"/>
                <a:gd name="T52" fmla="*/ 654 w 6635"/>
                <a:gd name="T53" fmla="*/ 2663 h 6635"/>
                <a:gd name="T54" fmla="*/ 0 w 6635"/>
                <a:gd name="T55" fmla="*/ 3317 h 6635"/>
                <a:gd name="T56" fmla="*/ 654 w 6635"/>
                <a:gd name="T57" fmla="*/ 3972 h 6635"/>
                <a:gd name="T58" fmla="*/ 1215 w 6635"/>
                <a:gd name="T59" fmla="*/ 3649 h 6635"/>
                <a:gd name="T60" fmla="*/ 2232 w 6635"/>
                <a:gd name="T61" fmla="*/ 3649 h 6635"/>
                <a:gd name="T62" fmla="*/ 2405 w 6635"/>
                <a:gd name="T63" fmla="*/ 3995 h 6635"/>
                <a:gd name="T64" fmla="*/ 1416 w 6635"/>
                <a:gd name="T65" fmla="*/ 4984 h 6635"/>
                <a:gd name="T66" fmla="*/ 972 w 6635"/>
                <a:gd name="T67" fmla="*/ 5077 h 6635"/>
                <a:gd name="T68" fmla="*/ 972 w 6635"/>
                <a:gd name="T69" fmla="*/ 5663 h 6635"/>
                <a:gd name="T70" fmla="*/ 1558 w 6635"/>
                <a:gd name="T71" fmla="*/ 5663 h 6635"/>
                <a:gd name="T72" fmla="*/ 1651 w 6635"/>
                <a:gd name="T73" fmla="*/ 5219 h 6635"/>
                <a:gd name="T74" fmla="*/ 2640 w 6635"/>
                <a:gd name="T75" fmla="*/ 4230 h 6635"/>
                <a:gd name="T76" fmla="*/ 2986 w 6635"/>
                <a:gd name="T77" fmla="*/ 4403 h 6635"/>
                <a:gd name="T78" fmla="*/ 2986 w 6635"/>
                <a:gd name="T79" fmla="*/ 5419 h 6635"/>
                <a:gd name="T80" fmla="*/ 2663 w 6635"/>
                <a:gd name="T81" fmla="*/ 5980 h 6635"/>
                <a:gd name="T82" fmla="*/ 3317 w 6635"/>
                <a:gd name="T83" fmla="*/ 6635 h 6635"/>
                <a:gd name="T84" fmla="*/ 3972 w 6635"/>
                <a:gd name="T85" fmla="*/ 5980 h 6635"/>
                <a:gd name="T86" fmla="*/ 3649 w 6635"/>
                <a:gd name="T87" fmla="*/ 5420 h 6635"/>
                <a:gd name="T88" fmla="*/ 3649 w 6635"/>
                <a:gd name="T89" fmla="*/ 4403 h 6635"/>
                <a:gd name="T90" fmla="*/ 3995 w 6635"/>
                <a:gd name="T91" fmla="*/ 4229 h 6635"/>
                <a:gd name="T92" fmla="*/ 4984 w 6635"/>
                <a:gd name="T93" fmla="*/ 5219 h 6635"/>
                <a:gd name="T94" fmla="*/ 5077 w 6635"/>
                <a:gd name="T95" fmla="*/ 5663 h 6635"/>
                <a:gd name="T96" fmla="*/ 5663 w 6635"/>
                <a:gd name="T97" fmla="*/ 5663 h 6635"/>
                <a:gd name="T98" fmla="*/ 5663 w 6635"/>
                <a:gd name="T99" fmla="*/ 5077 h 6635"/>
                <a:gd name="T100" fmla="*/ 5219 w 6635"/>
                <a:gd name="T101" fmla="*/ 4984 h 6635"/>
                <a:gd name="T102" fmla="*/ 4229 w 6635"/>
                <a:gd name="T103" fmla="*/ 3995 h 6635"/>
                <a:gd name="T104" fmla="*/ 4403 w 6635"/>
                <a:gd name="T105" fmla="*/ 3649 h 6635"/>
                <a:gd name="T106" fmla="*/ 5420 w 6635"/>
                <a:gd name="T107" fmla="*/ 3649 h 6635"/>
                <a:gd name="T108" fmla="*/ 5981 w 6635"/>
                <a:gd name="T109" fmla="*/ 3972 h 6635"/>
                <a:gd name="T110" fmla="*/ 6635 w 6635"/>
                <a:gd name="T111" fmla="*/ 3317 h 6635"/>
                <a:gd name="T112" fmla="*/ 5980 w 6635"/>
                <a:gd name="T113" fmla="*/ 2663 h 6635"/>
                <a:gd name="T114" fmla="*/ 3317 w 6635"/>
                <a:gd name="T115" fmla="*/ 4016 h 6635"/>
                <a:gd name="T116" fmla="*/ 2619 w 6635"/>
                <a:gd name="T117" fmla="*/ 3317 h 6635"/>
                <a:gd name="T118" fmla="*/ 3317 w 6635"/>
                <a:gd name="T119" fmla="*/ 2619 h 6635"/>
                <a:gd name="T120" fmla="*/ 4015 w 6635"/>
                <a:gd name="T121" fmla="*/ 3317 h 6635"/>
                <a:gd name="T122" fmla="*/ 3317 w 6635"/>
                <a:gd name="T123" fmla="*/ 4016 h 6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35" h="6635">
                  <a:moveTo>
                    <a:pt x="5980" y="2663"/>
                  </a:moveTo>
                  <a:cubicBezTo>
                    <a:pt x="5741" y="2663"/>
                    <a:pt x="5533" y="2793"/>
                    <a:pt x="5420" y="2986"/>
                  </a:cubicBezTo>
                  <a:lnTo>
                    <a:pt x="4403" y="2986"/>
                  </a:lnTo>
                  <a:cubicBezTo>
                    <a:pt x="4364" y="2860"/>
                    <a:pt x="4306" y="2743"/>
                    <a:pt x="4229" y="2640"/>
                  </a:cubicBezTo>
                  <a:lnTo>
                    <a:pt x="5219" y="1650"/>
                  </a:lnTo>
                  <a:cubicBezTo>
                    <a:pt x="5368" y="1709"/>
                    <a:pt x="5543" y="1678"/>
                    <a:pt x="5663" y="1558"/>
                  </a:cubicBezTo>
                  <a:cubicBezTo>
                    <a:pt x="5825" y="1396"/>
                    <a:pt x="5825" y="1134"/>
                    <a:pt x="5663" y="972"/>
                  </a:cubicBezTo>
                  <a:cubicBezTo>
                    <a:pt x="5501" y="810"/>
                    <a:pt x="5239" y="810"/>
                    <a:pt x="5077" y="972"/>
                  </a:cubicBezTo>
                  <a:cubicBezTo>
                    <a:pt x="4957" y="1092"/>
                    <a:pt x="4926" y="1267"/>
                    <a:pt x="4984" y="1416"/>
                  </a:cubicBezTo>
                  <a:lnTo>
                    <a:pt x="3995" y="2405"/>
                  </a:lnTo>
                  <a:cubicBezTo>
                    <a:pt x="3892" y="2328"/>
                    <a:pt x="3775" y="2271"/>
                    <a:pt x="3649" y="2232"/>
                  </a:cubicBezTo>
                  <a:lnTo>
                    <a:pt x="3649" y="1215"/>
                  </a:lnTo>
                  <a:cubicBezTo>
                    <a:pt x="3841" y="1101"/>
                    <a:pt x="3972" y="894"/>
                    <a:pt x="3972" y="654"/>
                  </a:cubicBezTo>
                  <a:cubicBezTo>
                    <a:pt x="3972" y="293"/>
                    <a:pt x="3679" y="0"/>
                    <a:pt x="3317" y="0"/>
                  </a:cubicBezTo>
                  <a:cubicBezTo>
                    <a:pt x="2956" y="0"/>
                    <a:pt x="2663" y="293"/>
                    <a:pt x="2663" y="654"/>
                  </a:cubicBezTo>
                  <a:cubicBezTo>
                    <a:pt x="2663" y="894"/>
                    <a:pt x="2793" y="1101"/>
                    <a:pt x="2986" y="1215"/>
                  </a:cubicBezTo>
                  <a:lnTo>
                    <a:pt x="2986" y="2232"/>
                  </a:lnTo>
                  <a:cubicBezTo>
                    <a:pt x="2860" y="2271"/>
                    <a:pt x="2743" y="2328"/>
                    <a:pt x="2640" y="2405"/>
                  </a:cubicBezTo>
                  <a:lnTo>
                    <a:pt x="1650" y="1416"/>
                  </a:lnTo>
                  <a:cubicBezTo>
                    <a:pt x="1709" y="1267"/>
                    <a:pt x="1678" y="1092"/>
                    <a:pt x="1558" y="972"/>
                  </a:cubicBezTo>
                  <a:cubicBezTo>
                    <a:pt x="1396" y="810"/>
                    <a:pt x="1133" y="810"/>
                    <a:pt x="972" y="972"/>
                  </a:cubicBezTo>
                  <a:cubicBezTo>
                    <a:pt x="810" y="1134"/>
                    <a:pt x="810" y="1396"/>
                    <a:pt x="972" y="1558"/>
                  </a:cubicBezTo>
                  <a:cubicBezTo>
                    <a:pt x="1092" y="1678"/>
                    <a:pt x="1267" y="1709"/>
                    <a:pt x="1416" y="1651"/>
                  </a:cubicBezTo>
                  <a:lnTo>
                    <a:pt x="2405" y="2640"/>
                  </a:lnTo>
                  <a:cubicBezTo>
                    <a:pt x="2328" y="2743"/>
                    <a:pt x="2271" y="2860"/>
                    <a:pt x="2232" y="2986"/>
                  </a:cubicBezTo>
                  <a:lnTo>
                    <a:pt x="1215" y="2986"/>
                  </a:lnTo>
                  <a:cubicBezTo>
                    <a:pt x="1101" y="2793"/>
                    <a:pt x="894" y="2663"/>
                    <a:pt x="654" y="2663"/>
                  </a:cubicBezTo>
                  <a:cubicBezTo>
                    <a:pt x="293" y="2663"/>
                    <a:pt x="0" y="2956"/>
                    <a:pt x="0" y="3317"/>
                  </a:cubicBezTo>
                  <a:cubicBezTo>
                    <a:pt x="0" y="3679"/>
                    <a:pt x="293" y="3972"/>
                    <a:pt x="654" y="3972"/>
                  </a:cubicBezTo>
                  <a:cubicBezTo>
                    <a:pt x="894" y="3972"/>
                    <a:pt x="1101" y="3842"/>
                    <a:pt x="1215" y="3649"/>
                  </a:cubicBezTo>
                  <a:lnTo>
                    <a:pt x="2232" y="3649"/>
                  </a:lnTo>
                  <a:cubicBezTo>
                    <a:pt x="2271" y="3775"/>
                    <a:pt x="2328" y="3892"/>
                    <a:pt x="2405" y="3995"/>
                  </a:cubicBezTo>
                  <a:lnTo>
                    <a:pt x="1416" y="4984"/>
                  </a:lnTo>
                  <a:cubicBezTo>
                    <a:pt x="1267" y="4926"/>
                    <a:pt x="1092" y="4956"/>
                    <a:pt x="972" y="5077"/>
                  </a:cubicBezTo>
                  <a:cubicBezTo>
                    <a:pt x="810" y="5238"/>
                    <a:pt x="810" y="5501"/>
                    <a:pt x="972" y="5663"/>
                  </a:cubicBezTo>
                  <a:cubicBezTo>
                    <a:pt x="1134" y="5825"/>
                    <a:pt x="1396" y="5825"/>
                    <a:pt x="1558" y="5663"/>
                  </a:cubicBezTo>
                  <a:cubicBezTo>
                    <a:pt x="1678" y="5543"/>
                    <a:pt x="1709" y="5367"/>
                    <a:pt x="1651" y="5219"/>
                  </a:cubicBezTo>
                  <a:lnTo>
                    <a:pt x="2640" y="4230"/>
                  </a:lnTo>
                  <a:cubicBezTo>
                    <a:pt x="2743" y="4307"/>
                    <a:pt x="2860" y="4364"/>
                    <a:pt x="2986" y="4403"/>
                  </a:cubicBezTo>
                  <a:lnTo>
                    <a:pt x="2986" y="5419"/>
                  </a:lnTo>
                  <a:cubicBezTo>
                    <a:pt x="2793" y="5533"/>
                    <a:pt x="2663" y="5741"/>
                    <a:pt x="2663" y="5980"/>
                  </a:cubicBezTo>
                  <a:cubicBezTo>
                    <a:pt x="2663" y="6342"/>
                    <a:pt x="2956" y="6635"/>
                    <a:pt x="3317" y="6635"/>
                  </a:cubicBezTo>
                  <a:cubicBezTo>
                    <a:pt x="3679" y="6635"/>
                    <a:pt x="3972" y="6342"/>
                    <a:pt x="3972" y="5980"/>
                  </a:cubicBezTo>
                  <a:cubicBezTo>
                    <a:pt x="3972" y="5741"/>
                    <a:pt x="3841" y="5533"/>
                    <a:pt x="3649" y="5420"/>
                  </a:cubicBezTo>
                  <a:lnTo>
                    <a:pt x="3649" y="4403"/>
                  </a:lnTo>
                  <a:cubicBezTo>
                    <a:pt x="3775" y="4364"/>
                    <a:pt x="3892" y="4307"/>
                    <a:pt x="3995" y="4229"/>
                  </a:cubicBezTo>
                  <a:lnTo>
                    <a:pt x="4984" y="5219"/>
                  </a:lnTo>
                  <a:cubicBezTo>
                    <a:pt x="4926" y="5367"/>
                    <a:pt x="4957" y="5543"/>
                    <a:pt x="5077" y="5663"/>
                  </a:cubicBezTo>
                  <a:cubicBezTo>
                    <a:pt x="5239" y="5825"/>
                    <a:pt x="5501" y="5825"/>
                    <a:pt x="5663" y="5663"/>
                  </a:cubicBezTo>
                  <a:cubicBezTo>
                    <a:pt x="5825" y="5501"/>
                    <a:pt x="5825" y="5238"/>
                    <a:pt x="5663" y="5077"/>
                  </a:cubicBezTo>
                  <a:cubicBezTo>
                    <a:pt x="5543" y="4956"/>
                    <a:pt x="5367" y="4926"/>
                    <a:pt x="5219" y="4984"/>
                  </a:cubicBezTo>
                  <a:lnTo>
                    <a:pt x="4229" y="3995"/>
                  </a:lnTo>
                  <a:cubicBezTo>
                    <a:pt x="4307" y="3892"/>
                    <a:pt x="4364" y="3775"/>
                    <a:pt x="4403" y="3649"/>
                  </a:cubicBezTo>
                  <a:lnTo>
                    <a:pt x="5420" y="3649"/>
                  </a:lnTo>
                  <a:cubicBezTo>
                    <a:pt x="5534" y="3842"/>
                    <a:pt x="5741" y="3972"/>
                    <a:pt x="5981" y="3972"/>
                  </a:cubicBezTo>
                  <a:cubicBezTo>
                    <a:pt x="6342" y="3972"/>
                    <a:pt x="6635" y="3679"/>
                    <a:pt x="6635" y="3317"/>
                  </a:cubicBezTo>
                  <a:cubicBezTo>
                    <a:pt x="6635" y="2956"/>
                    <a:pt x="6342" y="2663"/>
                    <a:pt x="5980" y="2663"/>
                  </a:cubicBezTo>
                  <a:close/>
                  <a:moveTo>
                    <a:pt x="3317" y="4016"/>
                  </a:moveTo>
                  <a:cubicBezTo>
                    <a:pt x="2932" y="4016"/>
                    <a:pt x="2619" y="3702"/>
                    <a:pt x="2619" y="3317"/>
                  </a:cubicBezTo>
                  <a:cubicBezTo>
                    <a:pt x="2619" y="2932"/>
                    <a:pt x="2932" y="2619"/>
                    <a:pt x="3317" y="2619"/>
                  </a:cubicBezTo>
                  <a:cubicBezTo>
                    <a:pt x="3702" y="2619"/>
                    <a:pt x="4015" y="2932"/>
                    <a:pt x="4015" y="3317"/>
                  </a:cubicBezTo>
                  <a:cubicBezTo>
                    <a:pt x="4015" y="3702"/>
                    <a:pt x="3702" y="4016"/>
                    <a:pt x="3317" y="4016"/>
                  </a:cubicBezTo>
                  <a:close/>
                </a:path>
              </a:pathLst>
            </a:custGeom>
            <a:solidFill>
              <a:schemeClr val="bg1"/>
            </a:solidFill>
            <a:ln>
              <a:noFill/>
            </a:ln>
            <a:effectLst>
              <a:outerShdw blurRad="63500" sx="102000" sy="102000" algn="ctr" rotWithShape="0">
                <a:prstClr val="black">
                  <a:alpha val="40000"/>
                </a:prstClr>
              </a:outerShdw>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Tree>
    <p:extLst>
      <p:ext uri="{BB962C8B-B14F-4D97-AF65-F5344CB8AC3E}">
        <p14:creationId xmlns:p14="http://schemas.microsoft.com/office/powerpoint/2010/main" val="11380285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anim calcmode="lin" valueType="num">
                                          <p:cBhvr>
                                            <p:cTn id="8" dur="500" fill="hold"/>
                                            <p:tgtEl>
                                              <p:spTgt spid="23"/>
                                            </p:tgtEl>
                                            <p:attrNameLst>
                                              <p:attrName>ppt_x</p:attrName>
                                            </p:attrNameLst>
                                          </p:cBhvr>
                                          <p:tavLst>
                                            <p:tav tm="0">
                                              <p:val>
                                                <p:strVal val="#ppt_x"/>
                                              </p:val>
                                            </p:tav>
                                            <p:tav tm="100000">
                                              <p:val>
                                                <p:strVal val="#ppt_x"/>
                                              </p:val>
                                            </p:tav>
                                          </p:tavLst>
                                        </p:anim>
                                        <p:anim calcmode="lin" valueType="num">
                                          <p:cBhvr>
                                            <p:cTn id="9" dur="500" fill="hold"/>
                                            <p:tgtEl>
                                              <p:spTgt spid="2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 presetClass="entr" presetSubtype="8" accel="4000" fill="hold" nodeType="afterEffect" p14:presetBounceEnd="20000">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14:bounceEnd="20000">
                                          <p:cBhvr additive="base">
                                            <p:cTn id="13" dur="500" fill="hold"/>
                                            <p:tgtEl>
                                              <p:spTgt spid="2"/>
                                            </p:tgtEl>
                                            <p:attrNameLst>
                                              <p:attrName>ppt_x</p:attrName>
                                            </p:attrNameLst>
                                          </p:cBhvr>
                                          <p:tavLst>
                                            <p:tav tm="0">
                                              <p:val>
                                                <p:strVal val="0-#ppt_w/2"/>
                                              </p:val>
                                            </p:tav>
                                            <p:tav tm="100000">
                                              <p:val>
                                                <p:strVal val="#ppt_x"/>
                                              </p:val>
                                            </p:tav>
                                          </p:tavLst>
                                        </p:anim>
                                        <p:anim calcmode="lin" valueType="num" p14:bounceEnd="20000">
                                          <p:cBhvr additive="base">
                                            <p:cTn id="14" dur="500" fill="hold"/>
                                            <p:tgtEl>
                                              <p:spTgt spid="2"/>
                                            </p:tgtEl>
                                            <p:attrNameLst>
                                              <p:attrName>ppt_y</p:attrName>
                                            </p:attrNameLst>
                                          </p:cBhvr>
                                          <p:tavLst>
                                            <p:tav tm="0">
                                              <p:val>
                                                <p:strVal val="#ppt_y"/>
                                              </p:val>
                                            </p:tav>
                                            <p:tav tm="100000">
                                              <p:val>
                                                <p:strVal val="#ppt_y"/>
                                              </p:val>
                                            </p:tav>
                                          </p:tavLst>
                                        </p:anim>
                                      </p:childTnLst>
                                    </p:cTn>
                                  </p:par>
                                  <p:par>
                                    <p:cTn id="15" presetID="2" presetClass="entr" presetSubtype="2" accel="4000" fill="hold" grpId="0" nodeType="withEffect" p14:presetBounceEnd="20000">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14:bounceEnd="20000">
                                          <p:cBhvr additive="base">
                                            <p:cTn id="17" dur="500" fill="hold"/>
                                            <p:tgtEl>
                                              <p:spTgt spid="12"/>
                                            </p:tgtEl>
                                            <p:attrNameLst>
                                              <p:attrName>ppt_x</p:attrName>
                                            </p:attrNameLst>
                                          </p:cBhvr>
                                          <p:tavLst>
                                            <p:tav tm="0">
                                              <p:val>
                                                <p:strVal val="1+#ppt_w/2"/>
                                              </p:val>
                                            </p:tav>
                                            <p:tav tm="100000">
                                              <p:val>
                                                <p:strVal val="#ppt_x"/>
                                              </p:val>
                                            </p:tav>
                                          </p:tavLst>
                                        </p:anim>
                                        <p:anim calcmode="lin" valueType="num" p14:bounceEnd="20000">
                                          <p:cBhvr additive="base">
                                            <p:cTn id="18" dur="500" fill="hold"/>
                                            <p:tgtEl>
                                              <p:spTgt spid="12"/>
                                            </p:tgtEl>
                                            <p:attrNameLst>
                                              <p:attrName>ppt_y</p:attrName>
                                            </p:attrNameLst>
                                          </p:cBhvr>
                                          <p:tavLst>
                                            <p:tav tm="0">
                                              <p:val>
                                                <p:strVal val="#ppt_y"/>
                                              </p:val>
                                            </p:tav>
                                            <p:tav tm="100000">
                                              <p:val>
                                                <p:strVal val="#ppt_y"/>
                                              </p:val>
                                            </p:tav>
                                          </p:tavLst>
                                        </p:anim>
                                      </p:childTnLst>
                                    </p:cTn>
                                  </p:par>
                                  <p:par>
                                    <p:cTn id="19" presetID="2" presetClass="entr" presetSubtype="8" accel="4000" fill="hold" grpId="0" nodeType="withEffect" p14:presetBounceEnd="20000">
                                      <p:stCondLst>
                                        <p:cond delay="200"/>
                                      </p:stCondLst>
                                      <p:childTnLst>
                                        <p:set>
                                          <p:cBhvr>
                                            <p:cTn id="20" dur="1" fill="hold">
                                              <p:stCondLst>
                                                <p:cond delay="0"/>
                                              </p:stCondLst>
                                            </p:cTn>
                                            <p:tgtEl>
                                              <p:spTgt spid="11"/>
                                            </p:tgtEl>
                                            <p:attrNameLst>
                                              <p:attrName>style.visibility</p:attrName>
                                            </p:attrNameLst>
                                          </p:cBhvr>
                                          <p:to>
                                            <p:strVal val="visible"/>
                                          </p:to>
                                        </p:set>
                                        <p:anim calcmode="lin" valueType="num" p14:bounceEnd="20000">
                                          <p:cBhvr additive="base">
                                            <p:cTn id="21" dur="500" fill="hold"/>
                                            <p:tgtEl>
                                              <p:spTgt spid="11"/>
                                            </p:tgtEl>
                                            <p:attrNameLst>
                                              <p:attrName>ppt_x</p:attrName>
                                            </p:attrNameLst>
                                          </p:cBhvr>
                                          <p:tavLst>
                                            <p:tav tm="0">
                                              <p:val>
                                                <p:strVal val="0-#ppt_w/2"/>
                                              </p:val>
                                            </p:tav>
                                            <p:tav tm="100000">
                                              <p:val>
                                                <p:strVal val="#ppt_x"/>
                                              </p:val>
                                            </p:tav>
                                          </p:tavLst>
                                        </p:anim>
                                        <p:anim calcmode="lin" valueType="num" p14:bounceEnd="20000">
                                          <p:cBhvr additive="base">
                                            <p:cTn id="22" dur="500" fill="hold"/>
                                            <p:tgtEl>
                                              <p:spTgt spid="11"/>
                                            </p:tgtEl>
                                            <p:attrNameLst>
                                              <p:attrName>ppt_y</p:attrName>
                                            </p:attrNameLst>
                                          </p:cBhvr>
                                          <p:tavLst>
                                            <p:tav tm="0">
                                              <p:val>
                                                <p:strVal val="#ppt_y"/>
                                              </p:val>
                                            </p:tav>
                                            <p:tav tm="100000">
                                              <p:val>
                                                <p:strVal val="#ppt_y"/>
                                              </p:val>
                                            </p:tav>
                                          </p:tavLst>
                                        </p:anim>
                                      </p:childTnLst>
                                    </p:cTn>
                                  </p:par>
                                  <p:par>
                                    <p:cTn id="23" presetID="10" presetClass="entr" presetSubtype="0" fill="hold" nodeType="withEffect">
                                      <p:stCondLst>
                                        <p:cond delay="30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2" presetClass="entr" presetSubtype="8" accel="4000" fill="hold" grpId="0" nodeType="withEffect" p14:presetBounceEnd="20000">
                                      <p:stCondLst>
                                        <p:cond delay="500"/>
                                      </p:stCondLst>
                                      <p:childTnLst>
                                        <p:set>
                                          <p:cBhvr>
                                            <p:cTn id="27" dur="1" fill="hold">
                                              <p:stCondLst>
                                                <p:cond delay="0"/>
                                              </p:stCondLst>
                                            </p:cTn>
                                            <p:tgtEl>
                                              <p:spTgt spid="18"/>
                                            </p:tgtEl>
                                            <p:attrNameLst>
                                              <p:attrName>style.visibility</p:attrName>
                                            </p:attrNameLst>
                                          </p:cBhvr>
                                          <p:to>
                                            <p:strVal val="visible"/>
                                          </p:to>
                                        </p:set>
                                        <p:anim calcmode="lin" valueType="num" p14:bounceEnd="20000">
                                          <p:cBhvr additive="base">
                                            <p:cTn id="28" dur="500" fill="hold"/>
                                            <p:tgtEl>
                                              <p:spTgt spid="18"/>
                                            </p:tgtEl>
                                            <p:attrNameLst>
                                              <p:attrName>ppt_x</p:attrName>
                                            </p:attrNameLst>
                                          </p:cBhvr>
                                          <p:tavLst>
                                            <p:tav tm="0">
                                              <p:val>
                                                <p:strVal val="0-#ppt_w/2"/>
                                              </p:val>
                                            </p:tav>
                                            <p:tav tm="100000">
                                              <p:val>
                                                <p:strVal val="#ppt_x"/>
                                              </p:val>
                                            </p:tav>
                                          </p:tavLst>
                                        </p:anim>
                                        <p:anim calcmode="lin" valueType="num" p14:bounceEnd="20000">
                                          <p:cBhvr additive="base">
                                            <p:cTn id="29" dur="500" fill="hold"/>
                                            <p:tgtEl>
                                              <p:spTgt spid="18"/>
                                            </p:tgtEl>
                                            <p:attrNameLst>
                                              <p:attrName>ppt_y</p:attrName>
                                            </p:attrNameLst>
                                          </p:cBhvr>
                                          <p:tavLst>
                                            <p:tav tm="0">
                                              <p:val>
                                                <p:strVal val="#ppt_y"/>
                                              </p:val>
                                            </p:tav>
                                            <p:tav tm="100000">
                                              <p:val>
                                                <p:strVal val="#ppt_y"/>
                                              </p:val>
                                            </p:tav>
                                          </p:tavLst>
                                        </p:anim>
                                      </p:childTnLst>
                                    </p:cTn>
                                  </p:par>
                                  <p:par>
                                    <p:cTn id="30" presetID="10" presetClass="entr" presetSubtype="0" fill="hold" nodeType="withEffect">
                                      <p:stCondLst>
                                        <p:cond delay="90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par>
                                    <p:cTn id="33" presetID="10" presetClass="entr" presetSubtype="0" fill="hold" nodeType="withEffect">
                                      <p:stCondLst>
                                        <p:cond delay="12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anim calcmode="lin" valueType="num">
                                          <p:cBhvr>
                                            <p:cTn id="8" dur="500" fill="hold"/>
                                            <p:tgtEl>
                                              <p:spTgt spid="23"/>
                                            </p:tgtEl>
                                            <p:attrNameLst>
                                              <p:attrName>ppt_x</p:attrName>
                                            </p:attrNameLst>
                                          </p:cBhvr>
                                          <p:tavLst>
                                            <p:tav tm="0">
                                              <p:val>
                                                <p:strVal val="#ppt_x"/>
                                              </p:val>
                                            </p:tav>
                                            <p:tav tm="100000">
                                              <p:val>
                                                <p:strVal val="#ppt_x"/>
                                              </p:val>
                                            </p:tav>
                                          </p:tavLst>
                                        </p:anim>
                                        <p:anim calcmode="lin" valueType="num">
                                          <p:cBhvr>
                                            <p:cTn id="9" dur="500" fill="hold"/>
                                            <p:tgtEl>
                                              <p:spTgt spid="2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 presetClass="entr" presetSubtype="8" accel="4000" fill="hold" nodeType="after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0-#ppt_w/2"/>
                                              </p:val>
                                            </p:tav>
                                            <p:tav tm="100000">
                                              <p:val>
                                                <p:strVal val="#ppt_x"/>
                                              </p:val>
                                            </p:tav>
                                          </p:tavLst>
                                        </p:anim>
                                        <p:anim calcmode="lin" valueType="num">
                                          <p:cBhvr additive="base">
                                            <p:cTn id="14" dur="500" fill="hold"/>
                                            <p:tgtEl>
                                              <p:spTgt spid="2"/>
                                            </p:tgtEl>
                                            <p:attrNameLst>
                                              <p:attrName>ppt_y</p:attrName>
                                            </p:attrNameLst>
                                          </p:cBhvr>
                                          <p:tavLst>
                                            <p:tav tm="0">
                                              <p:val>
                                                <p:strVal val="#ppt_y"/>
                                              </p:val>
                                            </p:tav>
                                            <p:tav tm="100000">
                                              <p:val>
                                                <p:strVal val="#ppt_y"/>
                                              </p:val>
                                            </p:tav>
                                          </p:tavLst>
                                        </p:anim>
                                      </p:childTnLst>
                                    </p:cTn>
                                  </p:par>
                                  <p:par>
                                    <p:cTn id="15" presetID="2" presetClass="entr" presetSubtype="2" accel="400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1+#ppt_w/2"/>
                                              </p:val>
                                            </p:tav>
                                            <p:tav tm="100000">
                                              <p:val>
                                                <p:strVal val="#ppt_x"/>
                                              </p:val>
                                            </p:tav>
                                          </p:tavLst>
                                        </p:anim>
                                        <p:anim calcmode="lin" valueType="num">
                                          <p:cBhvr additive="base">
                                            <p:cTn id="18" dur="500" fill="hold"/>
                                            <p:tgtEl>
                                              <p:spTgt spid="12"/>
                                            </p:tgtEl>
                                            <p:attrNameLst>
                                              <p:attrName>ppt_y</p:attrName>
                                            </p:attrNameLst>
                                          </p:cBhvr>
                                          <p:tavLst>
                                            <p:tav tm="0">
                                              <p:val>
                                                <p:strVal val="#ppt_y"/>
                                              </p:val>
                                            </p:tav>
                                            <p:tav tm="100000">
                                              <p:val>
                                                <p:strVal val="#ppt_y"/>
                                              </p:val>
                                            </p:tav>
                                          </p:tavLst>
                                        </p:anim>
                                      </p:childTnLst>
                                    </p:cTn>
                                  </p:par>
                                  <p:par>
                                    <p:cTn id="19" presetID="2" presetClass="entr" presetSubtype="8" accel="4000" fill="hold" grpId="0" nodeType="withEffect">
                                      <p:stCondLst>
                                        <p:cond delay="200"/>
                                      </p:stCondLst>
                                      <p:childTnLst>
                                        <p:set>
                                          <p:cBhvr>
                                            <p:cTn id="20" dur="1" fill="hold">
                                              <p:stCondLst>
                                                <p:cond delay="0"/>
                                              </p:stCondLst>
                                            </p:cTn>
                                            <p:tgtEl>
                                              <p:spTgt spid="11"/>
                                            </p:tgtEl>
                                            <p:attrNameLst>
                                              <p:attrName>style.visibility</p:attrName>
                                            </p:attrNameLst>
                                          </p:cBhvr>
                                          <p:to>
                                            <p:strVal val="visible"/>
                                          </p:to>
                                        </p:set>
                                        <p:anim calcmode="lin" valueType="num">
                                          <p:cBhvr additive="base">
                                            <p:cTn id="21" dur="500" fill="hold"/>
                                            <p:tgtEl>
                                              <p:spTgt spid="11"/>
                                            </p:tgtEl>
                                            <p:attrNameLst>
                                              <p:attrName>ppt_x</p:attrName>
                                            </p:attrNameLst>
                                          </p:cBhvr>
                                          <p:tavLst>
                                            <p:tav tm="0">
                                              <p:val>
                                                <p:strVal val="0-#ppt_w/2"/>
                                              </p:val>
                                            </p:tav>
                                            <p:tav tm="100000">
                                              <p:val>
                                                <p:strVal val="#ppt_x"/>
                                              </p:val>
                                            </p:tav>
                                          </p:tavLst>
                                        </p:anim>
                                        <p:anim calcmode="lin" valueType="num">
                                          <p:cBhvr additive="base">
                                            <p:cTn id="22" dur="500" fill="hold"/>
                                            <p:tgtEl>
                                              <p:spTgt spid="11"/>
                                            </p:tgtEl>
                                            <p:attrNameLst>
                                              <p:attrName>ppt_y</p:attrName>
                                            </p:attrNameLst>
                                          </p:cBhvr>
                                          <p:tavLst>
                                            <p:tav tm="0">
                                              <p:val>
                                                <p:strVal val="#ppt_y"/>
                                              </p:val>
                                            </p:tav>
                                            <p:tav tm="100000">
                                              <p:val>
                                                <p:strVal val="#ppt_y"/>
                                              </p:val>
                                            </p:tav>
                                          </p:tavLst>
                                        </p:anim>
                                      </p:childTnLst>
                                    </p:cTn>
                                  </p:par>
                                  <p:par>
                                    <p:cTn id="23" presetID="10" presetClass="entr" presetSubtype="0" fill="hold" nodeType="withEffect">
                                      <p:stCondLst>
                                        <p:cond delay="30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2" presetClass="entr" presetSubtype="8" accel="4000" fill="hold" grpId="0" nodeType="withEffect">
                                      <p:stCondLst>
                                        <p:cond delay="50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500" fill="hold"/>
                                            <p:tgtEl>
                                              <p:spTgt spid="18"/>
                                            </p:tgtEl>
                                            <p:attrNameLst>
                                              <p:attrName>ppt_x</p:attrName>
                                            </p:attrNameLst>
                                          </p:cBhvr>
                                          <p:tavLst>
                                            <p:tav tm="0">
                                              <p:val>
                                                <p:strVal val="0-#ppt_w/2"/>
                                              </p:val>
                                            </p:tav>
                                            <p:tav tm="100000">
                                              <p:val>
                                                <p:strVal val="#ppt_x"/>
                                              </p:val>
                                            </p:tav>
                                          </p:tavLst>
                                        </p:anim>
                                        <p:anim calcmode="lin" valueType="num">
                                          <p:cBhvr additive="base">
                                            <p:cTn id="29" dur="500" fill="hold"/>
                                            <p:tgtEl>
                                              <p:spTgt spid="18"/>
                                            </p:tgtEl>
                                            <p:attrNameLst>
                                              <p:attrName>ppt_y</p:attrName>
                                            </p:attrNameLst>
                                          </p:cBhvr>
                                          <p:tavLst>
                                            <p:tav tm="0">
                                              <p:val>
                                                <p:strVal val="#ppt_y"/>
                                              </p:val>
                                            </p:tav>
                                            <p:tav tm="100000">
                                              <p:val>
                                                <p:strVal val="#ppt_y"/>
                                              </p:val>
                                            </p:tav>
                                          </p:tavLst>
                                        </p:anim>
                                      </p:childTnLst>
                                    </p:cTn>
                                  </p:par>
                                  <p:par>
                                    <p:cTn id="30" presetID="10" presetClass="entr" presetSubtype="0" fill="hold" nodeType="withEffect">
                                      <p:stCondLst>
                                        <p:cond delay="90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par>
                                    <p:cTn id="33" presetID="10" presetClass="entr" presetSubtype="0" fill="hold" nodeType="withEffect">
                                      <p:stCondLst>
                                        <p:cond delay="120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8" grpId="0"/>
        </p:bldLst>
      </p:timing>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83AEDD75-72AD-4F4A-8000-4999748C3187}"/>
              </a:ext>
            </a:extLst>
          </p:cNvPr>
          <p:cNvGrpSpPr/>
          <p:nvPr/>
        </p:nvGrpSpPr>
        <p:grpSpPr>
          <a:xfrm>
            <a:off x="-43962" y="-2"/>
            <a:ext cx="12265321" cy="1081456"/>
            <a:chOff x="-43962" y="-2"/>
            <a:chExt cx="12265321" cy="1081456"/>
          </a:xfrm>
        </p:grpSpPr>
        <p:grpSp>
          <p:nvGrpSpPr>
            <p:cNvPr id="45" name="组合 44">
              <a:extLst>
                <a:ext uri="{FF2B5EF4-FFF2-40B4-BE49-F238E27FC236}">
                  <a16:creationId xmlns:a16="http://schemas.microsoft.com/office/drawing/2014/main" id="{D69D4B83-E9E5-4134-96CA-29177F372157}"/>
                </a:ext>
              </a:extLst>
            </p:cNvPr>
            <p:cNvGrpSpPr/>
            <p:nvPr/>
          </p:nvGrpSpPr>
          <p:grpSpPr>
            <a:xfrm rot="10800000">
              <a:off x="-43962" y="-2"/>
              <a:ext cx="12265321" cy="1081456"/>
              <a:chOff x="1" y="5010588"/>
              <a:chExt cx="12265322" cy="1905823"/>
            </a:xfrm>
          </p:grpSpPr>
          <p:sp>
            <p:nvSpPr>
              <p:cNvPr id="46" name="îṧļiḑe">
                <a:extLst>
                  <a:ext uri="{FF2B5EF4-FFF2-40B4-BE49-F238E27FC236}">
                    <a16:creationId xmlns:a16="http://schemas.microsoft.com/office/drawing/2014/main" id="{66B1F7C7-A5E3-41DA-BF06-9531D8C5F695}"/>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47" name="îṩľiḑê">
                <a:extLst>
                  <a:ext uri="{FF2B5EF4-FFF2-40B4-BE49-F238E27FC236}">
                    <a16:creationId xmlns:a16="http://schemas.microsoft.com/office/drawing/2014/main" id="{D7555A6C-9804-4F6E-8CD8-B2950D1D4561}"/>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sp>
          <p:nvSpPr>
            <p:cNvPr id="49" name="矩形 48">
              <a:extLst>
                <a:ext uri="{FF2B5EF4-FFF2-40B4-BE49-F238E27FC236}">
                  <a16:creationId xmlns:a16="http://schemas.microsoft.com/office/drawing/2014/main" id="{A6E66E37-B166-435E-A3FE-0305C54992F8}"/>
                </a:ext>
              </a:extLst>
            </p:cNvPr>
            <p:cNvSpPr/>
            <p:nvPr/>
          </p:nvSpPr>
          <p:spPr>
            <a:xfrm>
              <a:off x="1028700" y="139985"/>
              <a:ext cx="9944100" cy="369332"/>
            </a:xfrm>
            <a:prstGeom prst="rect">
              <a:avLst/>
            </a:prstGeom>
          </p:spPr>
          <p:txBody>
            <a:bodyPr wrap="square">
              <a:spAutoFit/>
            </a:bodyPr>
            <a:lstStyle/>
            <a:p>
              <a:r>
                <a:rPr lang="zh-CN" altLang="en-US" dirty="0">
                  <a:solidFill>
                    <a:schemeClr val="bg1"/>
                  </a:solidFill>
                </a:rPr>
                <a:t>适配器和观察者的实现变体的规范</a:t>
              </a:r>
              <a:endParaRPr lang="en-US" altLang="zh-CN" dirty="0">
                <a:solidFill>
                  <a:schemeClr val="bg1"/>
                </a:solidFill>
              </a:endParaRPr>
            </a:p>
          </p:txBody>
        </p:sp>
        <p:sp>
          <p:nvSpPr>
            <p:cNvPr id="66" name="ïṥ1iḓe">
              <a:extLst>
                <a:ext uri="{FF2B5EF4-FFF2-40B4-BE49-F238E27FC236}">
                  <a16:creationId xmlns:a16="http://schemas.microsoft.com/office/drawing/2014/main" id="{E2EB8839-EC54-47AC-A988-9A7C42461661}"/>
                </a:ext>
              </a:extLst>
            </p:cNvPr>
            <p:cNvSpPr/>
            <p:nvPr/>
          </p:nvSpPr>
          <p:spPr bwMode="auto">
            <a:xfrm>
              <a:off x="434340" y="65577"/>
              <a:ext cx="539484" cy="538668"/>
            </a:xfrm>
            <a:custGeom>
              <a:avLst/>
              <a:gdLst>
                <a:gd name="T0" fmla="*/ 5980 w 6635"/>
                <a:gd name="T1" fmla="*/ 2663 h 6635"/>
                <a:gd name="T2" fmla="*/ 5420 w 6635"/>
                <a:gd name="T3" fmla="*/ 2986 h 6635"/>
                <a:gd name="T4" fmla="*/ 4403 w 6635"/>
                <a:gd name="T5" fmla="*/ 2986 h 6635"/>
                <a:gd name="T6" fmla="*/ 4229 w 6635"/>
                <a:gd name="T7" fmla="*/ 2640 h 6635"/>
                <a:gd name="T8" fmla="*/ 5219 w 6635"/>
                <a:gd name="T9" fmla="*/ 1650 h 6635"/>
                <a:gd name="T10" fmla="*/ 5663 w 6635"/>
                <a:gd name="T11" fmla="*/ 1558 h 6635"/>
                <a:gd name="T12" fmla="*/ 5663 w 6635"/>
                <a:gd name="T13" fmla="*/ 972 h 6635"/>
                <a:gd name="T14" fmla="*/ 5077 w 6635"/>
                <a:gd name="T15" fmla="*/ 972 h 6635"/>
                <a:gd name="T16" fmla="*/ 4984 w 6635"/>
                <a:gd name="T17" fmla="*/ 1416 h 6635"/>
                <a:gd name="T18" fmla="*/ 3995 w 6635"/>
                <a:gd name="T19" fmla="*/ 2405 h 6635"/>
                <a:gd name="T20" fmla="*/ 3649 w 6635"/>
                <a:gd name="T21" fmla="*/ 2232 h 6635"/>
                <a:gd name="T22" fmla="*/ 3649 w 6635"/>
                <a:gd name="T23" fmla="*/ 1215 h 6635"/>
                <a:gd name="T24" fmla="*/ 3972 w 6635"/>
                <a:gd name="T25" fmla="*/ 654 h 6635"/>
                <a:gd name="T26" fmla="*/ 3317 w 6635"/>
                <a:gd name="T27" fmla="*/ 0 h 6635"/>
                <a:gd name="T28" fmla="*/ 2663 w 6635"/>
                <a:gd name="T29" fmla="*/ 654 h 6635"/>
                <a:gd name="T30" fmla="*/ 2986 w 6635"/>
                <a:gd name="T31" fmla="*/ 1215 h 6635"/>
                <a:gd name="T32" fmla="*/ 2986 w 6635"/>
                <a:gd name="T33" fmla="*/ 2232 h 6635"/>
                <a:gd name="T34" fmla="*/ 2640 w 6635"/>
                <a:gd name="T35" fmla="*/ 2405 h 6635"/>
                <a:gd name="T36" fmla="*/ 1650 w 6635"/>
                <a:gd name="T37" fmla="*/ 1416 h 6635"/>
                <a:gd name="T38" fmla="*/ 1558 w 6635"/>
                <a:gd name="T39" fmla="*/ 972 h 6635"/>
                <a:gd name="T40" fmla="*/ 972 w 6635"/>
                <a:gd name="T41" fmla="*/ 972 h 6635"/>
                <a:gd name="T42" fmla="*/ 972 w 6635"/>
                <a:gd name="T43" fmla="*/ 1558 h 6635"/>
                <a:gd name="T44" fmla="*/ 1416 w 6635"/>
                <a:gd name="T45" fmla="*/ 1651 h 6635"/>
                <a:gd name="T46" fmla="*/ 2405 w 6635"/>
                <a:gd name="T47" fmla="*/ 2640 h 6635"/>
                <a:gd name="T48" fmla="*/ 2232 w 6635"/>
                <a:gd name="T49" fmla="*/ 2986 h 6635"/>
                <a:gd name="T50" fmla="*/ 1215 w 6635"/>
                <a:gd name="T51" fmla="*/ 2986 h 6635"/>
                <a:gd name="T52" fmla="*/ 654 w 6635"/>
                <a:gd name="T53" fmla="*/ 2663 h 6635"/>
                <a:gd name="T54" fmla="*/ 0 w 6635"/>
                <a:gd name="T55" fmla="*/ 3317 h 6635"/>
                <a:gd name="T56" fmla="*/ 654 w 6635"/>
                <a:gd name="T57" fmla="*/ 3972 h 6635"/>
                <a:gd name="T58" fmla="*/ 1215 w 6635"/>
                <a:gd name="T59" fmla="*/ 3649 h 6635"/>
                <a:gd name="T60" fmla="*/ 2232 w 6635"/>
                <a:gd name="T61" fmla="*/ 3649 h 6635"/>
                <a:gd name="T62" fmla="*/ 2405 w 6635"/>
                <a:gd name="T63" fmla="*/ 3995 h 6635"/>
                <a:gd name="T64" fmla="*/ 1416 w 6635"/>
                <a:gd name="T65" fmla="*/ 4984 h 6635"/>
                <a:gd name="T66" fmla="*/ 972 w 6635"/>
                <a:gd name="T67" fmla="*/ 5077 h 6635"/>
                <a:gd name="T68" fmla="*/ 972 w 6635"/>
                <a:gd name="T69" fmla="*/ 5663 h 6635"/>
                <a:gd name="T70" fmla="*/ 1558 w 6635"/>
                <a:gd name="T71" fmla="*/ 5663 h 6635"/>
                <a:gd name="T72" fmla="*/ 1651 w 6635"/>
                <a:gd name="T73" fmla="*/ 5219 h 6635"/>
                <a:gd name="T74" fmla="*/ 2640 w 6635"/>
                <a:gd name="T75" fmla="*/ 4230 h 6635"/>
                <a:gd name="T76" fmla="*/ 2986 w 6635"/>
                <a:gd name="T77" fmla="*/ 4403 h 6635"/>
                <a:gd name="T78" fmla="*/ 2986 w 6635"/>
                <a:gd name="T79" fmla="*/ 5419 h 6635"/>
                <a:gd name="T80" fmla="*/ 2663 w 6635"/>
                <a:gd name="T81" fmla="*/ 5980 h 6635"/>
                <a:gd name="T82" fmla="*/ 3317 w 6635"/>
                <a:gd name="T83" fmla="*/ 6635 h 6635"/>
                <a:gd name="T84" fmla="*/ 3972 w 6635"/>
                <a:gd name="T85" fmla="*/ 5980 h 6635"/>
                <a:gd name="T86" fmla="*/ 3649 w 6635"/>
                <a:gd name="T87" fmla="*/ 5420 h 6635"/>
                <a:gd name="T88" fmla="*/ 3649 w 6635"/>
                <a:gd name="T89" fmla="*/ 4403 h 6635"/>
                <a:gd name="T90" fmla="*/ 3995 w 6635"/>
                <a:gd name="T91" fmla="*/ 4229 h 6635"/>
                <a:gd name="T92" fmla="*/ 4984 w 6635"/>
                <a:gd name="T93" fmla="*/ 5219 h 6635"/>
                <a:gd name="T94" fmla="*/ 5077 w 6635"/>
                <a:gd name="T95" fmla="*/ 5663 h 6635"/>
                <a:gd name="T96" fmla="*/ 5663 w 6635"/>
                <a:gd name="T97" fmla="*/ 5663 h 6635"/>
                <a:gd name="T98" fmla="*/ 5663 w 6635"/>
                <a:gd name="T99" fmla="*/ 5077 h 6635"/>
                <a:gd name="T100" fmla="*/ 5219 w 6635"/>
                <a:gd name="T101" fmla="*/ 4984 h 6635"/>
                <a:gd name="T102" fmla="*/ 4229 w 6635"/>
                <a:gd name="T103" fmla="*/ 3995 h 6635"/>
                <a:gd name="T104" fmla="*/ 4403 w 6635"/>
                <a:gd name="T105" fmla="*/ 3649 h 6635"/>
                <a:gd name="T106" fmla="*/ 5420 w 6635"/>
                <a:gd name="T107" fmla="*/ 3649 h 6635"/>
                <a:gd name="T108" fmla="*/ 5981 w 6635"/>
                <a:gd name="T109" fmla="*/ 3972 h 6635"/>
                <a:gd name="T110" fmla="*/ 6635 w 6635"/>
                <a:gd name="T111" fmla="*/ 3317 h 6635"/>
                <a:gd name="T112" fmla="*/ 5980 w 6635"/>
                <a:gd name="T113" fmla="*/ 2663 h 6635"/>
                <a:gd name="T114" fmla="*/ 3317 w 6635"/>
                <a:gd name="T115" fmla="*/ 4016 h 6635"/>
                <a:gd name="T116" fmla="*/ 2619 w 6635"/>
                <a:gd name="T117" fmla="*/ 3317 h 6635"/>
                <a:gd name="T118" fmla="*/ 3317 w 6635"/>
                <a:gd name="T119" fmla="*/ 2619 h 6635"/>
                <a:gd name="T120" fmla="*/ 4015 w 6635"/>
                <a:gd name="T121" fmla="*/ 3317 h 6635"/>
                <a:gd name="T122" fmla="*/ 3317 w 6635"/>
                <a:gd name="T123" fmla="*/ 4016 h 6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35" h="6635">
                  <a:moveTo>
                    <a:pt x="5980" y="2663"/>
                  </a:moveTo>
                  <a:cubicBezTo>
                    <a:pt x="5741" y="2663"/>
                    <a:pt x="5533" y="2793"/>
                    <a:pt x="5420" y="2986"/>
                  </a:cubicBezTo>
                  <a:lnTo>
                    <a:pt x="4403" y="2986"/>
                  </a:lnTo>
                  <a:cubicBezTo>
                    <a:pt x="4364" y="2860"/>
                    <a:pt x="4306" y="2743"/>
                    <a:pt x="4229" y="2640"/>
                  </a:cubicBezTo>
                  <a:lnTo>
                    <a:pt x="5219" y="1650"/>
                  </a:lnTo>
                  <a:cubicBezTo>
                    <a:pt x="5368" y="1709"/>
                    <a:pt x="5543" y="1678"/>
                    <a:pt x="5663" y="1558"/>
                  </a:cubicBezTo>
                  <a:cubicBezTo>
                    <a:pt x="5825" y="1396"/>
                    <a:pt x="5825" y="1134"/>
                    <a:pt x="5663" y="972"/>
                  </a:cubicBezTo>
                  <a:cubicBezTo>
                    <a:pt x="5501" y="810"/>
                    <a:pt x="5239" y="810"/>
                    <a:pt x="5077" y="972"/>
                  </a:cubicBezTo>
                  <a:cubicBezTo>
                    <a:pt x="4957" y="1092"/>
                    <a:pt x="4926" y="1267"/>
                    <a:pt x="4984" y="1416"/>
                  </a:cubicBezTo>
                  <a:lnTo>
                    <a:pt x="3995" y="2405"/>
                  </a:lnTo>
                  <a:cubicBezTo>
                    <a:pt x="3892" y="2328"/>
                    <a:pt x="3775" y="2271"/>
                    <a:pt x="3649" y="2232"/>
                  </a:cubicBezTo>
                  <a:lnTo>
                    <a:pt x="3649" y="1215"/>
                  </a:lnTo>
                  <a:cubicBezTo>
                    <a:pt x="3841" y="1101"/>
                    <a:pt x="3972" y="894"/>
                    <a:pt x="3972" y="654"/>
                  </a:cubicBezTo>
                  <a:cubicBezTo>
                    <a:pt x="3972" y="293"/>
                    <a:pt x="3679" y="0"/>
                    <a:pt x="3317" y="0"/>
                  </a:cubicBezTo>
                  <a:cubicBezTo>
                    <a:pt x="2956" y="0"/>
                    <a:pt x="2663" y="293"/>
                    <a:pt x="2663" y="654"/>
                  </a:cubicBezTo>
                  <a:cubicBezTo>
                    <a:pt x="2663" y="894"/>
                    <a:pt x="2793" y="1101"/>
                    <a:pt x="2986" y="1215"/>
                  </a:cubicBezTo>
                  <a:lnTo>
                    <a:pt x="2986" y="2232"/>
                  </a:lnTo>
                  <a:cubicBezTo>
                    <a:pt x="2860" y="2271"/>
                    <a:pt x="2743" y="2328"/>
                    <a:pt x="2640" y="2405"/>
                  </a:cubicBezTo>
                  <a:lnTo>
                    <a:pt x="1650" y="1416"/>
                  </a:lnTo>
                  <a:cubicBezTo>
                    <a:pt x="1709" y="1267"/>
                    <a:pt x="1678" y="1092"/>
                    <a:pt x="1558" y="972"/>
                  </a:cubicBezTo>
                  <a:cubicBezTo>
                    <a:pt x="1396" y="810"/>
                    <a:pt x="1133" y="810"/>
                    <a:pt x="972" y="972"/>
                  </a:cubicBezTo>
                  <a:cubicBezTo>
                    <a:pt x="810" y="1134"/>
                    <a:pt x="810" y="1396"/>
                    <a:pt x="972" y="1558"/>
                  </a:cubicBezTo>
                  <a:cubicBezTo>
                    <a:pt x="1092" y="1678"/>
                    <a:pt x="1267" y="1709"/>
                    <a:pt x="1416" y="1651"/>
                  </a:cubicBezTo>
                  <a:lnTo>
                    <a:pt x="2405" y="2640"/>
                  </a:lnTo>
                  <a:cubicBezTo>
                    <a:pt x="2328" y="2743"/>
                    <a:pt x="2271" y="2860"/>
                    <a:pt x="2232" y="2986"/>
                  </a:cubicBezTo>
                  <a:lnTo>
                    <a:pt x="1215" y="2986"/>
                  </a:lnTo>
                  <a:cubicBezTo>
                    <a:pt x="1101" y="2793"/>
                    <a:pt x="894" y="2663"/>
                    <a:pt x="654" y="2663"/>
                  </a:cubicBezTo>
                  <a:cubicBezTo>
                    <a:pt x="293" y="2663"/>
                    <a:pt x="0" y="2956"/>
                    <a:pt x="0" y="3317"/>
                  </a:cubicBezTo>
                  <a:cubicBezTo>
                    <a:pt x="0" y="3679"/>
                    <a:pt x="293" y="3972"/>
                    <a:pt x="654" y="3972"/>
                  </a:cubicBezTo>
                  <a:cubicBezTo>
                    <a:pt x="894" y="3972"/>
                    <a:pt x="1101" y="3842"/>
                    <a:pt x="1215" y="3649"/>
                  </a:cubicBezTo>
                  <a:lnTo>
                    <a:pt x="2232" y="3649"/>
                  </a:lnTo>
                  <a:cubicBezTo>
                    <a:pt x="2271" y="3775"/>
                    <a:pt x="2328" y="3892"/>
                    <a:pt x="2405" y="3995"/>
                  </a:cubicBezTo>
                  <a:lnTo>
                    <a:pt x="1416" y="4984"/>
                  </a:lnTo>
                  <a:cubicBezTo>
                    <a:pt x="1267" y="4926"/>
                    <a:pt x="1092" y="4956"/>
                    <a:pt x="972" y="5077"/>
                  </a:cubicBezTo>
                  <a:cubicBezTo>
                    <a:pt x="810" y="5238"/>
                    <a:pt x="810" y="5501"/>
                    <a:pt x="972" y="5663"/>
                  </a:cubicBezTo>
                  <a:cubicBezTo>
                    <a:pt x="1134" y="5825"/>
                    <a:pt x="1396" y="5825"/>
                    <a:pt x="1558" y="5663"/>
                  </a:cubicBezTo>
                  <a:cubicBezTo>
                    <a:pt x="1678" y="5543"/>
                    <a:pt x="1709" y="5367"/>
                    <a:pt x="1651" y="5219"/>
                  </a:cubicBezTo>
                  <a:lnTo>
                    <a:pt x="2640" y="4230"/>
                  </a:lnTo>
                  <a:cubicBezTo>
                    <a:pt x="2743" y="4307"/>
                    <a:pt x="2860" y="4364"/>
                    <a:pt x="2986" y="4403"/>
                  </a:cubicBezTo>
                  <a:lnTo>
                    <a:pt x="2986" y="5419"/>
                  </a:lnTo>
                  <a:cubicBezTo>
                    <a:pt x="2793" y="5533"/>
                    <a:pt x="2663" y="5741"/>
                    <a:pt x="2663" y="5980"/>
                  </a:cubicBezTo>
                  <a:cubicBezTo>
                    <a:pt x="2663" y="6342"/>
                    <a:pt x="2956" y="6635"/>
                    <a:pt x="3317" y="6635"/>
                  </a:cubicBezTo>
                  <a:cubicBezTo>
                    <a:pt x="3679" y="6635"/>
                    <a:pt x="3972" y="6342"/>
                    <a:pt x="3972" y="5980"/>
                  </a:cubicBezTo>
                  <a:cubicBezTo>
                    <a:pt x="3972" y="5741"/>
                    <a:pt x="3841" y="5533"/>
                    <a:pt x="3649" y="5420"/>
                  </a:cubicBezTo>
                  <a:lnTo>
                    <a:pt x="3649" y="4403"/>
                  </a:lnTo>
                  <a:cubicBezTo>
                    <a:pt x="3775" y="4364"/>
                    <a:pt x="3892" y="4307"/>
                    <a:pt x="3995" y="4229"/>
                  </a:cubicBezTo>
                  <a:lnTo>
                    <a:pt x="4984" y="5219"/>
                  </a:lnTo>
                  <a:cubicBezTo>
                    <a:pt x="4926" y="5367"/>
                    <a:pt x="4957" y="5543"/>
                    <a:pt x="5077" y="5663"/>
                  </a:cubicBezTo>
                  <a:cubicBezTo>
                    <a:pt x="5239" y="5825"/>
                    <a:pt x="5501" y="5825"/>
                    <a:pt x="5663" y="5663"/>
                  </a:cubicBezTo>
                  <a:cubicBezTo>
                    <a:pt x="5825" y="5501"/>
                    <a:pt x="5825" y="5238"/>
                    <a:pt x="5663" y="5077"/>
                  </a:cubicBezTo>
                  <a:cubicBezTo>
                    <a:pt x="5543" y="4956"/>
                    <a:pt x="5367" y="4926"/>
                    <a:pt x="5219" y="4984"/>
                  </a:cubicBezTo>
                  <a:lnTo>
                    <a:pt x="4229" y="3995"/>
                  </a:lnTo>
                  <a:cubicBezTo>
                    <a:pt x="4307" y="3892"/>
                    <a:pt x="4364" y="3775"/>
                    <a:pt x="4403" y="3649"/>
                  </a:cubicBezTo>
                  <a:lnTo>
                    <a:pt x="5420" y="3649"/>
                  </a:lnTo>
                  <a:cubicBezTo>
                    <a:pt x="5534" y="3842"/>
                    <a:pt x="5741" y="3972"/>
                    <a:pt x="5981" y="3972"/>
                  </a:cubicBezTo>
                  <a:cubicBezTo>
                    <a:pt x="6342" y="3972"/>
                    <a:pt x="6635" y="3679"/>
                    <a:pt x="6635" y="3317"/>
                  </a:cubicBezTo>
                  <a:cubicBezTo>
                    <a:pt x="6635" y="2956"/>
                    <a:pt x="6342" y="2663"/>
                    <a:pt x="5980" y="2663"/>
                  </a:cubicBezTo>
                  <a:close/>
                  <a:moveTo>
                    <a:pt x="3317" y="4016"/>
                  </a:moveTo>
                  <a:cubicBezTo>
                    <a:pt x="2932" y="4016"/>
                    <a:pt x="2619" y="3702"/>
                    <a:pt x="2619" y="3317"/>
                  </a:cubicBezTo>
                  <a:cubicBezTo>
                    <a:pt x="2619" y="2932"/>
                    <a:pt x="2932" y="2619"/>
                    <a:pt x="3317" y="2619"/>
                  </a:cubicBezTo>
                  <a:cubicBezTo>
                    <a:pt x="3702" y="2619"/>
                    <a:pt x="4015" y="2932"/>
                    <a:pt x="4015" y="3317"/>
                  </a:cubicBezTo>
                  <a:cubicBezTo>
                    <a:pt x="4015" y="3702"/>
                    <a:pt x="3702" y="4016"/>
                    <a:pt x="3317" y="4016"/>
                  </a:cubicBezTo>
                  <a:close/>
                </a:path>
              </a:pathLst>
            </a:custGeom>
            <a:solidFill>
              <a:schemeClr val="bg1"/>
            </a:solidFill>
            <a:ln>
              <a:noFill/>
            </a:ln>
            <a:effectLst>
              <a:outerShdw blurRad="63500" sx="102000" sy="102000" algn="ctr" rotWithShape="0">
                <a:prstClr val="black">
                  <a:alpha val="40000"/>
                </a:prstClr>
              </a:outerShdw>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grpSp>
        <p:nvGrpSpPr>
          <p:cNvPr id="24" name="íŝḷiḓé">
            <a:extLst>
              <a:ext uri="{FF2B5EF4-FFF2-40B4-BE49-F238E27FC236}">
                <a16:creationId xmlns:a16="http://schemas.microsoft.com/office/drawing/2014/main" id="{A25CB5F0-9565-42E7-9796-BEF11C84C70C}"/>
              </a:ext>
            </a:extLst>
          </p:cNvPr>
          <p:cNvGrpSpPr/>
          <p:nvPr/>
        </p:nvGrpSpPr>
        <p:grpSpPr>
          <a:xfrm>
            <a:off x="4035103" y="2191361"/>
            <a:ext cx="4109094" cy="2881679"/>
            <a:chOff x="4035103" y="2191361"/>
            <a:chExt cx="4109094" cy="2881679"/>
          </a:xfrm>
        </p:grpSpPr>
        <p:grpSp>
          <p:nvGrpSpPr>
            <p:cNvPr id="31" name="îSļîḋé">
              <a:extLst>
                <a:ext uri="{FF2B5EF4-FFF2-40B4-BE49-F238E27FC236}">
                  <a16:creationId xmlns:a16="http://schemas.microsoft.com/office/drawing/2014/main" id="{172CCFF0-3B1D-4CB3-AF59-BAB05911C6A9}"/>
                </a:ext>
              </a:extLst>
            </p:cNvPr>
            <p:cNvGrpSpPr/>
            <p:nvPr/>
          </p:nvGrpSpPr>
          <p:grpSpPr>
            <a:xfrm>
              <a:off x="7345684" y="2191361"/>
              <a:ext cx="798513" cy="2881679"/>
              <a:chOff x="7339013" y="2190964"/>
              <a:chExt cx="798513" cy="2881679"/>
            </a:xfrm>
          </p:grpSpPr>
          <p:sp>
            <p:nvSpPr>
              <p:cNvPr id="44" name="ïṥļîḋe">
                <a:extLst>
                  <a:ext uri="{FF2B5EF4-FFF2-40B4-BE49-F238E27FC236}">
                    <a16:creationId xmlns:a16="http://schemas.microsoft.com/office/drawing/2014/main" id="{54B98B42-0FC1-477B-9800-DF79A3C92A72}"/>
                  </a:ext>
                </a:extLst>
              </p:cNvPr>
              <p:cNvSpPr/>
              <p:nvPr/>
            </p:nvSpPr>
            <p:spPr bwMode="auto">
              <a:xfrm>
                <a:off x="7345363" y="2190964"/>
                <a:ext cx="792163" cy="519113"/>
              </a:xfrm>
              <a:custGeom>
                <a:avLst/>
                <a:gdLst>
                  <a:gd name="T0" fmla="*/ 458 w 499"/>
                  <a:gd name="T1" fmla="*/ 0 h 327"/>
                  <a:gd name="T2" fmla="*/ 474 w 499"/>
                  <a:gd name="T3" fmla="*/ 3 h 327"/>
                  <a:gd name="T4" fmla="*/ 488 w 499"/>
                  <a:gd name="T5" fmla="*/ 13 h 327"/>
                  <a:gd name="T6" fmla="*/ 496 w 499"/>
                  <a:gd name="T7" fmla="*/ 27 h 327"/>
                  <a:gd name="T8" fmla="*/ 499 w 499"/>
                  <a:gd name="T9" fmla="*/ 43 h 327"/>
                  <a:gd name="T10" fmla="*/ 496 w 499"/>
                  <a:gd name="T11" fmla="*/ 58 h 327"/>
                  <a:gd name="T12" fmla="*/ 488 w 499"/>
                  <a:gd name="T13" fmla="*/ 71 h 327"/>
                  <a:gd name="T14" fmla="*/ 474 w 499"/>
                  <a:gd name="T15" fmla="*/ 81 h 327"/>
                  <a:gd name="T16" fmla="*/ 458 w 499"/>
                  <a:gd name="T17" fmla="*/ 84 h 327"/>
                  <a:gd name="T18" fmla="*/ 440 w 499"/>
                  <a:gd name="T19" fmla="*/ 81 h 327"/>
                  <a:gd name="T20" fmla="*/ 427 w 499"/>
                  <a:gd name="T21" fmla="*/ 69 h 327"/>
                  <a:gd name="T22" fmla="*/ 418 w 499"/>
                  <a:gd name="T23" fmla="*/ 55 h 327"/>
                  <a:gd name="T24" fmla="*/ 379 w 499"/>
                  <a:gd name="T25" fmla="*/ 63 h 327"/>
                  <a:gd name="T26" fmla="*/ 341 w 499"/>
                  <a:gd name="T27" fmla="*/ 76 h 327"/>
                  <a:gd name="T28" fmla="*/ 305 w 499"/>
                  <a:gd name="T29" fmla="*/ 94 h 327"/>
                  <a:gd name="T30" fmla="*/ 272 w 499"/>
                  <a:gd name="T31" fmla="*/ 117 h 327"/>
                  <a:gd name="T32" fmla="*/ 79 w 499"/>
                  <a:gd name="T33" fmla="*/ 267 h 327"/>
                  <a:gd name="T34" fmla="*/ 82 w 499"/>
                  <a:gd name="T35" fmla="*/ 276 h 327"/>
                  <a:gd name="T36" fmla="*/ 84 w 499"/>
                  <a:gd name="T37" fmla="*/ 284 h 327"/>
                  <a:gd name="T38" fmla="*/ 80 w 499"/>
                  <a:gd name="T39" fmla="*/ 300 h 327"/>
                  <a:gd name="T40" fmla="*/ 71 w 499"/>
                  <a:gd name="T41" fmla="*/ 314 h 327"/>
                  <a:gd name="T42" fmla="*/ 57 w 499"/>
                  <a:gd name="T43" fmla="*/ 324 h 327"/>
                  <a:gd name="T44" fmla="*/ 41 w 499"/>
                  <a:gd name="T45" fmla="*/ 327 h 327"/>
                  <a:gd name="T46" fmla="*/ 24 w 499"/>
                  <a:gd name="T47" fmla="*/ 324 h 327"/>
                  <a:gd name="T48" fmla="*/ 11 w 499"/>
                  <a:gd name="T49" fmla="*/ 314 h 327"/>
                  <a:gd name="T50" fmla="*/ 3 w 499"/>
                  <a:gd name="T51" fmla="*/ 300 h 327"/>
                  <a:gd name="T52" fmla="*/ 0 w 499"/>
                  <a:gd name="T53" fmla="*/ 284 h 327"/>
                  <a:gd name="T54" fmla="*/ 3 w 499"/>
                  <a:gd name="T55" fmla="*/ 267 h 327"/>
                  <a:gd name="T56" fmla="*/ 11 w 499"/>
                  <a:gd name="T57" fmla="*/ 254 h 327"/>
                  <a:gd name="T58" fmla="*/ 24 w 499"/>
                  <a:gd name="T59" fmla="*/ 246 h 327"/>
                  <a:gd name="T60" fmla="*/ 41 w 499"/>
                  <a:gd name="T61" fmla="*/ 243 h 327"/>
                  <a:gd name="T62" fmla="*/ 51 w 499"/>
                  <a:gd name="T63" fmla="*/ 244 h 327"/>
                  <a:gd name="T64" fmla="*/ 59 w 499"/>
                  <a:gd name="T65" fmla="*/ 246 h 327"/>
                  <a:gd name="T66" fmla="*/ 67 w 499"/>
                  <a:gd name="T67" fmla="*/ 251 h 327"/>
                  <a:gd name="T68" fmla="*/ 258 w 499"/>
                  <a:gd name="T69" fmla="*/ 101 h 327"/>
                  <a:gd name="T70" fmla="*/ 295 w 499"/>
                  <a:gd name="T71" fmla="*/ 76 h 327"/>
                  <a:gd name="T72" fmla="*/ 333 w 499"/>
                  <a:gd name="T73" fmla="*/ 56 h 327"/>
                  <a:gd name="T74" fmla="*/ 374 w 499"/>
                  <a:gd name="T75" fmla="*/ 43 h 327"/>
                  <a:gd name="T76" fmla="*/ 417 w 499"/>
                  <a:gd name="T77" fmla="*/ 35 h 327"/>
                  <a:gd name="T78" fmla="*/ 423 w 499"/>
                  <a:gd name="T79" fmla="*/ 17 h 327"/>
                  <a:gd name="T80" fmla="*/ 438 w 499"/>
                  <a:gd name="T81" fmla="*/ 5 h 327"/>
                  <a:gd name="T82" fmla="*/ 458 w 499"/>
                  <a:gd name="T83"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9" h="327">
                    <a:moveTo>
                      <a:pt x="458" y="0"/>
                    </a:moveTo>
                    <a:lnTo>
                      <a:pt x="474" y="3"/>
                    </a:lnTo>
                    <a:lnTo>
                      <a:pt x="488" y="13"/>
                    </a:lnTo>
                    <a:lnTo>
                      <a:pt x="496" y="27"/>
                    </a:lnTo>
                    <a:lnTo>
                      <a:pt x="499" y="43"/>
                    </a:lnTo>
                    <a:lnTo>
                      <a:pt x="496" y="58"/>
                    </a:lnTo>
                    <a:lnTo>
                      <a:pt x="488" y="71"/>
                    </a:lnTo>
                    <a:lnTo>
                      <a:pt x="474" y="81"/>
                    </a:lnTo>
                    <a:lnTo>
                      <a:pt x="458" y="84"/>
                    </a:lnTo>
                    <a:lnTo>
                      <a:pt x="440" y="81"/>
                    </a:lnTo>
                    <a:lnTo>
                      <a:pt x="427" y="69"/>
                    </a:lnTo>
                    <a:lnTo>
                      <a:pt x="418" y="55"/>
                    </a:lnTo>
                    <a:lnTo>
                      <a:pt x="379" y="63"/>
                    </a:lnTo>
                    <a:lnTo>
                      <a:pt x="341" y="76"/>
                    </a:lnTo>
                    <a:lnTo>
                      <a:pt x="305" y="94"/>
                    </a:lnTo>
                    <a:lnTo>
                      <a:pt x="272" y="117"/>
                    </a:lnTo>
                    <a:lnTo>
                      <a:pt x="79" y="267"/>
                    </a:lnTo>
                    <a:lnTo>
                      <a:pt x="82" y="276"/>
                    </a:lnTo>
                    <a:lnTo>
                      <a:pt x="84" y="284"/>
                    </a:lnTo>
                    <a:lnTo>
                      <a:pt x="80" y="300"/>
                    </a:lnTo>
                    <a:lnTo>
                      <a:pt x="71" y="314"/>
                    </a:lnTo>
                    <a:lnTo>
                      <a:pt x="57" y="324"/>
                    </a:lnTo>
                    <a:lnTo>
                      <a:pt x="41" y="327"/>
                    </a:lnTo>
                    <a:lnTo>
                      <a:pt x="24" y="324"/>
                    </a:lnTo>
                    <a:lnTo>
                      <a:pt x="11" y="314"/>
                    </a:lnTo>
                    <a:lnTo>
                      <a:pt x="3" y="300"/>
                    </a:lnTo>
                    <a:lnTo>
                      <a:pt x="0" y="284"/>
                    </a:lnTo>
                    <a:lnTo>
                      <a:pt x="3" y="267"/>
                    </a:lnTo>
                    <a:lnTo>
                      <a:pt x="11" y="254"/>
                    </a:lnTo>
                    <a:lnTo>
                      <a:pt x="24" y="246"/>
                    </a:lnTo>
                    <a:lnTo>
                      <a:pt x="41" y="243"/>
                    </a:lnTo>
                    <a:lnTo>
                      <a:pt x="51" y="244"/>
                    </a:lnTo>
                    <a:lnTo>
                      <a:pt x="59" y="246"/>
                    </a:lnTo>
                    <a:lnTo>
                      <a:pt x="67" y="251"/>
                    </a:lnTo>
                    <a:lnTo>
                      <a:pt x="258" y="101"/>
                    </a:lnTo>
                    <a:lnTo>
                      <a:pt x="295" y="76"/>
                    </a:lnTo>
                    <a:lnTo>
                      <a:pt x="333" y="56"/>
                    </a:lnTo>
                    <a:lnTo>
                      <a:pt x="374" y="43"/>
                    </a:lnTo>
                    <a:lnTo>
                      <a:pt x="417" y="35"/>
                    </a:lnTo>
                    <a:lnTo>
                      <a:pt x="423" y="17"/>
                    </a:lnTo>
                    <a:lnTo>
                      <a:pt x="438" y="5"/>
                    </a:lnTo>
                    <a:lnTo>
                      <a:pt x="458"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8" name="iṩlíďe">
                <a:extLst>
                  <a:ext uri="{FF2B5EF4-FFF2-40B4-BE49-F238E27FC236}">
                    <a16:creationId xmlns:a16="http://schemas.microsoft.com/office/drawing/2014/main" id="{21C397A5-990F-4F1E-B3BC-0C8D5674D871}"/>
                  </a:ext>
                </a:extLst>
              </p:cNvPr>
              <p:cNvSpPr/>
              <p:nvPr/>
            </p:nvSpPr>
            <p:spPr bwMode="auto">
              <a:xfrm>
                <a:off x="7450138" y="3566319"/>
                <a:ext cx="677863" cy="131763"/>
              </a:xfrm>
              <a:custGeom>
                <a:avLst/>
                <a:gdLst>
                  <a:gd name="T0" fmla="*/ 42 w 427"/>
                  <a:gd name="T1" fmla="*/ 0 h 83"/>
                  <a:gd name="T2" fmla="*/ 61 w 427"/>
                  <a:gd name="T3" fmla="*/ 3 h 83"/>
                  <a:gd name="T4" fmla="*/ 74 w 427"/>
                  <a:gd name="T5" fmla="*/ 15 h 83"/>
                  <a:gd name="T6" fmla="*/ 82 w 427"/>
                  <a:gd name="T7" fmla="*/ 32 h 83"/>
                  <a:gd name="T8" fmla="*/ 344 w 427"/>
                  <a:gd name="T9" fmla="*/ 32 h 83"/>
                  <a:gd name="T10" fmla="*/ 352 w 427"/>
                  <a:gd name="T11" fmla="*/ 15 h 83"/>
                  <a:gd name="T12" fmla="*/ 367 w 427"/>
                  <a:gd name="T13" fmla="*/ 3 h 83"/>
                  <a:gd name="T14" fmla="*/ 385 w 427"/>
                  <a:gd name="T15" fmla="*/ 0 h 83"/>
                  <a:gd name="T16" fmla="*/ 402 w 427"/>
                  <a:gd name="T17" fmla="*/ 3 h 83"/>
                  <a:gd name="T18" fmla="*/ 415 w 427"/>
                  <a:gd name="T19" fmla="*/ 12 h 83"/>
                  <a:gd name="T20" fmla="*/ 423 w 427"/>
                  <a:gd name="T21" fmla="*/ 25 h 83"/>
                  <a:gd name="T22" fmla="*/ 427 w 427"/>
                  <a:gd name="T23" fmla="*/ 41 h 83"/>
                  <a:gd name="T24" fmla="*/ 423 w 427"/>
                  <a:gd name="T25" fmla="*/ 58 h 83"/>
                  <a:gd name="T26" fmla="*/ 415 w 427"/>
                  <a:gd name="T27" fmla="*/ 71 h 83"/>
                  <a:gd name="T28" fmla="*/ 402 w 427"/>
                  <a:gd name="T29" fmla="*/ 79 h 83"/>
                  <a:gd name="T30" fmla="*/ 385 w 427"/>
                  <a:gd name="T31" fmla="*/ 83 h 83"/>
                  <a:gd name="T32" fmla="*/ 367 w 427"/>
                  <a:gd name="T33" fmla="*/ 79 h 83"/>
                  <a:gd name="T34" fmla="*/ 352 w 427"/>
                  <a:gd name="T35" fmla="*/ 68 h 83"/>
                  <a:gd name="T36" fmla="*/ 344 w 427"/>
                  <a:gd name="T37" fmla="*/ 51 h 83"/>
                  <a:gd name="T38" fmla="*/ 82 w 427"/>
                  <a:gd name="T39" fmla="*/ 51 h 83"/>
                  <a:gd name="T40" fmla="*/ 74 w 427"/>
                  <a:gd name="T41" fmla="*/ 68 h 83"/>
                  <a:gd name="T42" fmla="*/ 61 w 427"/>
                  <a:gd name="T43" fmla="*/ 79 h 83"/>
                  <a:gd name="T44" fmla="*/ 42 w 427"/>
                  <a:gd name="T45" fmla="*/ 83 h 83"/>
                  <a:gd name="T46" fmla="*/ 26 w 427"/>
                  <a:gd name="T47" fmla="*/ 79 h 83"/>
                  <a:gd name="T48" fmla="*/ 13 w 427"/>
                  <a:gd name="T49" fmla="*/ 71 h 83"/>
                  <a:gd name="T50" fmla="*/ 3 w 427"/>
                  <a:gd name="T51" fmla="*/ 58 h 83"/>
                  <a:gd name="T52" fmla="*/ 0 w 427"/>
                  <a:gd name="T53" fmla="*/ 41 h 83"/>
                  <a:gd name="T54" fmla="*/ 3 w 427"/>
                  <a:gd name="T55" fmla="*/ 25 h 83"/>
                  <a:gd name="T56" fmla="*/ 13 w 427"/>
                  <a:gd name="T57" fmla="*/ 12 h 83"/>
                  <a:gd name="T58" fmla="*/ 26 w 427"/>
                  <a:gd name="T59" fmla="*/ 3 h 83"/>
                  <a:gd name="T60" fmla="*/ 42 w 427"/>
                  <a:gd name="T6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7" h="83">
                    <a:moveTo>
                      <a:pt x="42" y="0"/>
                    </a:moveTo>
                    <a:lnTo>
                      <a:pt x="61" y="3"/>
                    </a:lnTo>
                    <a:lnTo>
                      <a:pt x="74" y="15"/>
                    </a:lnTo>
                    <a:lnTo>
                      <a:pt x="82" y="32"/>
                    </a:lnTo>
                    <a:lnTo>
                      <a:pt x="344" y="32"/>
                    </a:lnTo>
                    <a:lnTo>
                      <a:pt x="352" y="15"/>
                    </a:lnTo>
                    <a:lnTo>
                      <a:pt x="367" y="3"/>
                    </a:lnTo>
                    <a:lnTo>
                      <a:pt x="385" y="0"/>
                    </a:lnTo>
                    <a:lnTo>
                      <a:pt x="402" y="3"/>
                    </a:lnTo>
                    <a:lnTo>
                      <a:pt x="415" y="12"/>
                    </a:lnTo>
                    <a:lnTo>
                      <a:pt x="423" y="25"/>
                    </a:lnTo>
                    <a:lnTo>
                      <a:pt x="427" y="41"/>
                    </a:lnTo>
                    <a:lnTo>
                      <a:pt x="423" y="58"/>
                    </a:lnTo>
                    <a:lnTo>
                      <a:pt x="415" y="71"/>
                    </a:lnTo>
                    <a:lnTo>
                      <a:pt x="402" y="79"/>
                    </a:lnTo>
                    <a:lnTo>
                      <a:pt x="385" y="83"/>
                    </a:lnTo>
                    <a:lnTo>
                      <a:pt x="367" y="79"/>
                    </a:lnTo>
                    <a:lnTo>
                      <a:pt x="352" y="68"/>
                    </a:lnTo>
                    <a:lnTo>
                      <a:pt x="344" y="51"/>
                    </a:lnTo>
                    <a:lnTo>
                      <a:pt x="82" y="51"/>
                    </a:lnTo>
                    <a:lnTo>
                      <a:pt x="74" y="68"/>
                    </a:lnTo>
                    <a:lnTo>
                      <a:pt x="61" y="79"/>
                    </a:lnTo>
                    <a:lnTo>
                      <a:pt x="42" y="83"/>
                    </a:lnTo>
                    <a:lnTo>
                      <a:pt x="26" y="79"/>
                    </a:lnTo>
                    <a:lnTo>
                      <a:pt x="13" y="71"/>
                    </a:lnTo>
                    <a:lnTo>
                      <a:pt x="3" y="58"/>
                    </a:lnTo>
                    <a:lnTo>
                      <a:pt x="0" y="41"/>
                    </a:lnTo>
                    <a:lnTo>
                      <a:pt x="3" y="25"/>
                    </a:lnTo>
                    <a:lnTo>
                      <a:pt x="13" y="12"/>
                    </a:lnTo>
                    <a:lnTo>
                      <a:pt x="26" y="3"/>
                    </a:lnTo>
                    <a:lnTo>
                      <a:pt x="42"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0" name="iśļîḋe">
                <a:extLst>
                  <a:ext uri="{FF2B5EF4-FFF2-40B4-BE49-F238E27FC236}">
                    <a16:creationId xmlns:a16="http://schemas.microsoft.com/office/drawing/2014/main" id="{CF2FBD3A-F385-4C01-A8AF-B0A50CDF97E9}"/>
                  </a:ext>
                </a:extLst>
              </p:cNvPr>
              <p:cNvSpPr/>
              <p:nvPr/>
            </p:nvSpPr>
            <p:spPr bwMode="auto">
              <a:xfrm>
                <a:off x="7339013" y="4555118"/>
                <a:ext cx="793750" cy="517525"/>
              </a:xfrm>
              <a:custGeom>
                <a:avLst/>
                <a:gdLst>
                  <a:gd name="T0" fmla="*/ 42 w 500"/>
                  <a:gd name="T1" fmla="*/ 0 h 326"/>
                  <a:gd name="T2" fmla="*/ 58 w 500"/>
                  <a:gd name="T3" fmla="*/ 3 h 326"/>
                  <a:gd name="T4" fmla="*/ 71 w 500"/>
                  <a:gd name="T5" fmla="*/ 13 h 326"/>
                  <a:gd name="T6" fmla="*/ 81 w 500"/>
                  <a:gd name="T7" fmla="*/ 26 h 326"/>
                  <a:gd name="T8" fmla="*/ 84 w 500"/>
                  <a:gd name="T9" fmla="*/ 43 h 326"/>
                  <a:gd name="T10" fmla="*/ 83 w 500"/>
                  <a:gd name="T11" fmla="*/ 51 h 326"/>
                  <a:gd name="T12" fmla="*/ 81 w 500"/>
                  <a:gd name="T13" fmla="*/ 59 h 326"/>
                  <a:gd name="T14" fmla="*/ 272 w 500"/>
                  <a:gd name="T15" fmla="*/ 209 h 326"/>
                  <a:gd name="T16" fmla="*/ 305 w 500"/>
                  <a:gd name="T17" fmla="*/ 232 h 326"/>
                  <a:gd name="T18" fmla="*/ 342 w 500"/>
                  <a:gd name="T19" fmla="*/ 251 h 326"/>
                  <a:gd name="T20" fmla="*/ 379 w 500"/>
                  <a:gd name="T21" fmla="*/ 264 h 326"/>
                  <a:gd name="T22" fmla="*/ 419 w 500"/>
                  <a:gd name="T23" fmla="*/ 272 h 326"/>
                  <a:gd name="T24" fmla="*/ 427 w 500"/>
                  <a:gd name="T25" fmla="*/ 257 h 326"/>
                  <a:gd name="T26" fmla="*/ 440 w 500"/>
                  <a:gd name="T27" fmla="*/ 246 h 326"/>
                  <a:gd name="T28" fmla="*/ 459 w 500"/>
                  <a:gd name="T29" fmla="*/ 242 h 326"/>
                  <a:gd name="T30" fmla="*/ 475 w 500"/>
                  <a:gd name="T31" fmla="*/ 246 h 326"/>
                  <a:gd name="T32" fmla="*/ 488 w 500"/>
                  <a:gd name="T33" fmla="*/ 256 h 326"/>
                  <a:gd name="T34" fmla="*/ 497 w 500"/>
                  <a:gd name="T35" fmla="*/ 269 h 326"/>
                  <a:gd name="T36" fmla="*/ 500 w 500"/>
                  <a:gd name="T37" fmla="*/ 284 h 326"/>
                  <a:gd name="T38" fmla="*/ 497 w 500"/>
                  <a:gd name="T39" fmla="*/ 300 h 326"/>
                  <a:gd name="T40" fmla="*/ 488 w 500"/>
                  <a:gd name="T41" fmla="*/ 313 h 326"/>
                  <a:gd name="T42" fmla="*/ 475 w 500"/>
                  <a:gd name="T43" fmla="*/ 323 h 326"/>
                  <a:gd name="T44" fmla="*/ 459 w 500"/>
                  <a:gd name="T45" fmla="*/ 326 h 326"/>
                  <a:gd name="T46" fmla="*/ 439 w 500"/>
                  <a:gd name="T47" fmla="*/ 322 h 326"/>
                  <a:gd name="T48" fmla="*/ 426 w 500"/>
                  <a:gd name="T49" fmla="*/ 310 h 326"/>
                  <a:gd name="T50" fmla="*/ 417 w 500"/>
                  <a:gd name="T51" fmla="*/ 292 h 326"/>
                  <a:gd name="T52" fmla="*/ 375 w 500"/>
                  <a:gd name="T53" fmla="*/ 284 h 326"/>
                  <a:gd name="T54" fmla="*/ 333 w 500"/>
                  <a:gd name="T55" fmla="*/ 269 h 326"/>
                  <a:gd name="T56" fmla="*/ 295 w 500"/>
                  <a:gd name="T57" fmla="*/ 251 h 326"/>
                  <a:gd name="T58" fmla="*/ 259 w 500"/>
                  <a:gd name="T59" fmla="*/ 226 h 326"/>
                  <a:gd name="T60" fmla="*/ 68 w 500"/>
                  <a:gd name="T61" fmla="*/ 76 h 326"/>
                  <a:gd name="T62" fmla="*/ 60 w 500"/>
                  <a:gd name="T63" fmla="*/ 81 h 326"/>
                  <a:gd name="T64" fmla="*/ 51 w 500"/>
                  <a:gd name="T65" fmla="*/ 82 h 326"/>
                  <a:gd name="T66" fmla="*/ 42 w 500"/>
                  <a:gd name="T67" fmla="*/ 84 h 326"/>
                  <a:gd name="T68" fmla="*/ 27 w 500"/>
                  <a:gd name="T69" fmla="*/ 81 h 326"/>
                  <a:gd name="T70" fmla="*/ 12 w 500"/>
                  <a:gd name="T71" fmla="*/ 72 h 326"/>
                  <a:gd name="T72" fmla="*/ 4 w 500"/>
                  <a:gd name="T73" fmla="*/ 59 h 326"/>
                  <a:gd name="T74" fmla="*/ 0 w 500"/>
                  <a:gd name="T75" fmla="*/ 43 h 326"/>
                  <a:gd name="T76" fmla="*/ 4 w 500"/>
                  <a:gd name="T77" fmla="*/ 26 h 326"/>
                  <a:gd name="T78" fmla="*/ 12 w 500"/>
                  <a:gd name="T79" fmla="*/ 13 h 326"/>
                  <a:gd name="T80" fmla="*/ 27 w 500"/>
                  <a:gd name="T81" fmla="*/ 3 h 326"/>
                  <a:gd name="T82" fmla="*/ 42 w 500"/>
                  <a:gd name="T8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0" h="326">
                    <a:moveTo>
                      <a:pt x="42" y="0"/>
                    </a:moveTo>
                    <a:lnTo>
                      <a:pt x="58" y="3"/>
                    </a:lnTo>
                    <a:lnTo>
                      <a:pt x="71" y="13"/>
                    </a:lnTo>
                    <a:lnTo>
                      <a:pt x="81" y="26"/>
                    </a:lnTo>
                    <a:lnTo>
                      <a:pt x="84" y="43"/>
                    </a:lnTo>
                    <a:lnTo>
                      <a:pt x="83" y="51"/>
                    </a:lnTo>
                    <a:lnTo>
                      <a:pt x="81" y="59"/>
                    </a:lnTo>
                    <a:lnTo>
                      <a:pt x="272" y="209"/>
                    </a:lnTo>
                    <a:lnTo>
                      <a:pt x="305" y="232"/>
                    </a:lnTo>
                    <a:lnTo>
                      <a:pt x="342" y="251"/>
                    </a:lnTo>
                    <a:lnTo>
                      <a:pt x="379" y="264"/>
                    </a:lnTo>
                    <a:lnTo>
                      <a:pt x="419" y="272"/>
                    </a:lnTo>
                    <a:lnTo>
                      <a:pt x="427" y="257"/>
                    </a:lnTo>
                    <a:lnTo>
                      <a:pt x="440" y="246"/>
                    </a:lnTo>
                    <a:lnTo>
                      <a:pt x="459" y="242"/>
                    </a:lnTo>
                    <a:lnTo>
                      <a:pt x="475" y="246"/>
                    </a:lnTo>
                    <a:lnTo>
                      <a:pt x="488" y="256"/>
                    </a:lnTo>
                    <a:lnTo>
                      <a:pt x="497" y="269"/>
                    </a:lnTo>
                    <a:lnTo>
                      <a:pt x="500" y="284"/>
                    </a:lnTo>
                    <a:lnTo>
                      <a:pt x="497" y="300"/>
                    </a:lnTo>
                    <a:lnTo>
                      <a:pt x="488" y="313"/>
                    </a:lnTo>
                    <a:lnTo>
                      <a:pt x="475" y="323"/>
                    </a:lnTo>
                    <a:lnTo>
                      <a:pt x="459" y="326"/>
                    </a:lnTo>
                    <a:lnTo>
                      <a:pt x="439" y="322"/>
                    </a:lnTo>
                    <a:lnTo>
                      <a:pt x="426" y="310"/>
                    </a:lnTo>
                    <a:lnTo>
                      <a:pt x="417" y="292"/>
                    </a:lnTo>
                    <a:lnTo>
                      <a:pt x="375" y="284"/>
                    </a:lnTo>
                    <a:lnTo>
                      <a:pt x="333" y="269"/>
                    </a:lnTo>
                    <a:lnTo>
                      <a:pt x="295" y="251"/>
                    </a:lnTo>
                    <a:lnTo>
                      <a:pt x="259" y="226"/>
                    </a:lnTo>
                    <a:lnTo>
                      <a:pt x="68" y="76"/>
                    </a:lnTo>
                    <a:lnTo>
                      <a:pt x="60" y="81"/>
                    </a:lnTo>
                    <a:lnTo>
                      <a:pt x="51" y="82"/>
                    </a:lnTo>
                    <a:lnTo>
                      <a:pt x="42" y="84"/>
                    </a:lnTo>
                    <a:lnTo>
                      <a:pt x="27" y="81"/>
                    </a:lnTo>
                    <a:lnTo>
                      <a:pt x="12" y="72"/>
                    </a:lnTo>
                    <a:lnTo>
                      <a:pt x="4" y="59"/>
                    </a:lnTo>
                    <a:lnTo>
                      <a:pt x="0" y="43"/>
                    </a:lnTo>
                    <a:lnTo>
                      <a:pt x="4" y="26"/>
                    </a:lnTo>
                    <a:lnTo>
                      <a:pt x="12" y="13"/>
                    </a:lnTo>
                    <a:lnTo>
                      <a:pt x="27" y="3"/>
                    </a:lnTo>
                    <a:lnTo>
                      <a:pt x="42"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nvGrpSpPr>
            <p:cNvPr id="32" name="ïṧ1ïḑe">
              <a:extLst>
                <a:ext uri="{FF2B5EF4-FFF2-40B4-BE49-F238E27FC236}">
                  <a16:creationId xmlns:a16="http://schemas.microsoft.com/office/drawing/2014/main" id="{6F37E485-422B-4C65-8078-7FBF0FF31FD1}"/>
                </a:ext>
              </a:extLst>
            </p:cNvPr>
            <p:cNvGrpSpPr/>
            <p:nvPr/>
          </p:nvGrpSpPr>
          <p:grpSpPr>
            <a:xfrm>
              <a:off x="4035103" y="2191361"/>
              <a:ext cx="800101" cy="2881679"/>
              <a:chOff x="4070351" y="2190964"/>
              <a:chExt cx="800101" cy="2881679"/>
            </a:xfrm>
          </p:grpSpPr>
          <p:sp>
            <p:nvSpPr>
              <p:cNvPr id="41" name="ï$1íḑé">
                <a:extLst>
                  <a:ext uri="{FF2B5EF4-FFF2-40B4-BE49-F238E27FC236}">
                    <a16:creationId xmlns:a16="http://schemas.microsoft.com/office/drawing/2014/main" id="{D40019D2-B724-4AF1-A41D-FFF22DBFBF73}"/>
                  </a:ext>
                </a:extLst>
              </p:cNvPr>
              <p:cNvSpPr/>
              <p:nvPr/>
            </p:nvSpPr>
            <p:spPr bwMode="auto">
              <a:xfrm>
                <a:off x="4078289" y="2190964"/>
                <a:ext cx="792163" cy="519113"/>
              </a:xfrm>
              <a:custGeom>
                <a:avLst/>
                <a:gdLst>
                  <a:gd name="connsiteX0" fmla="*/ 66675 w 793750"/>
                  <a:gd name="connsiteY0" fmla="*/ 0 h 515937"/>
                  <a:gd name="connsiteX1" fmla="*/ 92075 w 793750"/>
                  <a:gd name="connsiteY1" fmla="*/ 4762 h 515937"/>
                  <a:gd name="connsiteX2" fmla="*/ 112712 w 793750"/>
                  <a:gd name="connsiteY2" fmla="*/ 19050 h 515937"/>
                  <a:gd name="connsiteX3" fmla="*/ 128587 w 793750"/>
                  <a:gd name="connsiteY3" fmla="*/ 39687 h 515937"/>
                  <a:gd name="connsiteX4" fmla="*/ 131499 w 793750"/>
                  <a:gd name="connsiteY4" fmla="*/ 55214 h 515937"/>
                  <a:gd name="connsiteX5" fmla="*/ 152400 w 793750"/>
                  <a:gd name="connsiteY5" fmla="*/ 57149 h 515937"/>
                  <a:gd name="connsiteX6" fmla="*/ 233362 w 793750"/>
                  <a:gd name="connsiteY6" fmla="*/ 79374 h 515937"/>
                  <a:gd name="connsiteX7" fmla="*/ 311150 w 793750"/>
                  <a:gd name="connsiteY7" fmla="*/ 112712 h 515937"/>
                  <a:gd name="connsiteX8" fmla="*/ 382588 w 793750"/>
                  <a:gd name="connsiteY8" fmla="*/ 160337 h 515937"/>
                  <a:gd name="connsiteX9" fmla="*/ 688000 w 793750"/>
                  <a:gd name="connsiteY9" fmla="*/ 398940 h 515937"/>
                  <a:gd name="connsiteX10" fmla="*/ 701675 w 793750"/>
                  <a:gd name="connsiteY10" fmla="*/ 390525 h 515937"/>
                  <a:gd name="connsiteX11" fmla="*/ 728663 w 793750"/>
                  <a:gd name="connsiteY11" fmla="*/ 385762 h 515937"/>
                  <a:gd name="connsiteX12" fmla="*/ 754063 w 793750"/>
                  <a:gd name="connsiteY12" fmla="*/ 390525 h 515937"/>
                  <a:gd name="connsiteX13" fmla="*/ 774700 w 793750"/>
                  <a:gd name="connsiteY13" fmla="*/ 403225 h 515937"/>
                  <a:gd name="connsiteX14" fmla="*/ 788988 w 793750"/>
                  <a:gd name="connsiteY14" fmla="*/ 423862 h 515937"/>
                  <a:gd name="connsiteX15" fmla="*/ 793750 w 793750"/>
                  <a:gd name="connsiteY15" fmla="*/ 450850 h 515937"/>
                  <a:gd name="connsiteX16" fmla="*/ 788988 w 793750"/>
                  <a:gd name="connsiteY16" fmla="*/ 476250 h 515937"/>
                  <a:gd name="connsiteX17" fmla="*/ 774700 w 793750"/>
                  <a:gd name="connsiteY17" fmla="*/ 498475 h 515937"/>
                  <a:gd name="connsiteX18" fmla="*/ 754063 w 793750"/>
                  <a:gd name="connsiteY18" fmla="*/ 511175 h 515937"/>
                  <a:gd name="connsiteX19" fmla="*/ 728663 w 793750"/>
                  <a:gd name="connsiteY19" fmla="*/ 515937 h 515937"/>
                  <a:gd name="connsiteX20" fmla="*/ 701675 w 793750"/>
                  <a:gd name="connsiteY20" fmla="*/ 511175 h 515937"/>
                  <a:gd name="connsiteX21" fmla="*/ 681038 w 793750"/>
                  <a:gd name="connsiteY21" fmla="*/ 498475 h 515937"/>
                  <a:gd name="connsiteX22" fmla="*/ 665163 w 793750"/>
                  <a:gd name="connsiteY22" fmla="*/ 476250 h 515937"/>
                  <a:gd name="connsiteX23" fmla="*/ 660400 w 793750"/>
                  <a:gd name="connsiteY23" fmla="*/ 450850 h 515937"/>
                  <a:gd name="connsiteX24" fmla="*/ 665163 w 793750"/>
                  <a:gd name="connsiteY24" fmla="*/ 423862 h 515937"/>
                  <a:gd name="connsiteX25" fmla="*/ 665759 w 793750"/>
                  <a:gd name="connsiteY25" fmla="*/ 423088 h 515937"/>
                  <a:gd name="connsiteX26" fmla="*/ 361950 w 793750"/>
                  <a:gd name="connsiteY26" fmla="*/ 185737 h 515937"/>
                  <a:gd name="connsiteX27" fmla="*/ 296862 w 793750"/>
                  <a:gd name="connsiteY27" fmla="*/ 141287 h 515937"/>
                  <a:gd name="connsiteX28" fmla="*/ 222250 w 793750"/>
                  <a:gd name="connsiteY28" fmla="*/ 109537 h 515937"/>
                  <a:gd name="connsiteX29" fmla="*/ 147637 w 793750"/>
                  <a:gd name="connsiteY29" fmla="*/ 88899 h 515937"/>
                  <a:gd name="connsiteX30" fmla="*/ 129462 w 793750"/>
                  <a:gd name="connsiteY30" fmla="*/ 87118 h 515937"/>
                  <a:gd name="connsiteX31" fmla="*/ 128587 w 793750"/>
                  <a:gd name="connsiteY31" fmla="*/ 92075 h 515937"/>
                  <a:gd name="connsiteX32" fmla="*/ 112712 w 793750"/>
                  <a:gd name="connsiteY32" fmla="*/ 112712 h 515937"/>
                  <a:gd name="connsiteX33" fmla="*/ 92075 w 793750"/>
                  <a:gd name="connsiteY33" fmla="*/ 128587 h 515937"/>
                  <a:gd name="connsiteX34" fmla="*/ 66675 w 793750"/>
                  <a:gd name="connsiteY34" fmla="*/ 133350 h 515937"/>
                  <a:gd name="connsiteX35" fmla="*/ 39687 w 793750"/>
                  <a:gd name="connsiteY35" fmla="*/ 128587 h 515937"/>
                  <a:gd name="connsiteX36" fmla="*/ 19050 w 793750"/>
                  <a:gd name="connsiteY36" fmla="*/ 112712 h 515937"/>
                  <a:gd name="connsiteX37" fmla="*/ 6350 w 793750"/>
                  <a:gd name="connsiteY37" fmla="*/ 92075 h 515937"/>
                  <a:gd name="connsiteX38" fmla="*/ 0 w 793750"/>
                  <a:gd name="connsiteY38" fmla="*/ 65087 h 515937"/>
                  <a:gd name="connsiteX39" fmla="*/ 6350 w 793750"/>
                  <a:gd name="connsiteY39" fmla="*/ 39687 h 515937"/>
                  <a:gd name="connsiteX40" fmla="*/ 19050 w 793750"/>
                  <a:gd name="connsiteY40" fmla="*/ 19050 h 515937"/>
                  <a:gd name="connsiteX41" fmla="*/ 39687 w 793750"/>
                  <a:gd name="connsiteY41" fmla="*/ 4762 h 51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3750" h="515937">
                    <a:moveTo>
                      <a:pt x="66675" y="0"/>
                    </a:moveTo>
                    <a:lnTo>
                      <a:pt x="92075" y="4762"/>
                    </a:lnTo>
                    <a:lnTo>
                      <a:pt x="112712" y="19050"/>
                    </a:lnTo>
                    <a:lnTo>
                      <a:pt x="128587" y="39687"/>
                    </a:lnTo>
                    <a:lnTo>
                      <a:pt x="131499" y="55214"/>
                    </a:lnTo>
                    <a:lnTo>
                      <a:pt x="152400" y="57149"/>
                    </a:lnTo>
                    <a:lnTo>
                      <a:pt x="233362" y="79374"/>
                    </a:lnTo>
                    <a:lnTo>
                      <a:pt x="311150" y="112712"/>
                    </a:lnTo>
                    <a:lnTo>
                      <a:pt x="382588" y="160337"/>
                    </a:lnTo>
                    <a:lnTo>
                      <a:pt x="688000" y="398940"/>
                    </a:lnTo>
                    <a:lnTo>
                      <a:pt x="701675" y="390525"/>
                    </a:lnTo>
                    <a:lnTo>
                      <a:pt x="728663" y="385762"/>
                    </a:lnTo>
                    <a:lnTo>
                      <a:pt x="754063" y="390525"/>
                    </a:lnTo>
                    <a:lnTo>
                      <a:pt x="774700" y="403225"/>
                    </a:lnTo>
                    <a:lnTo>
                      <a:pt x="788988" y="423862"/>
                    </a:lnTo>
                    <a:lnTo>
                      <a:pt x="793750" y="450850"/>
                    </a:lnTo>
                    <a:lnTo>
                      <a:pt x="788988" y="476250"/>
                    </a:lnTo>
                    <a:lnTo>
                      <a:pt x="774700" y="498475"/>
                    </a:lnTo>
                    <a:lnTo>
                      <a:pt x="754063" y="511175"/>
                    </a:lnTo>
                    <a:lnTo>
                      <a:pt x="728663" y="515937"/>
                    </a:lnTo>
                    <a:lnTo>
                      <a:pt x="701675" y="511175"/>
                    </a:lnTo>
                    <a:lnTo>
                      <a:pt x="681038" y="498475"/>
                    </a:lnTo>
                    <a:lnTo>
                      <a:pt x="665163" y="476250"/>
                    </a:lnTo>
                    <a:lnTo>
                      <a:pt x="660400" y="450850"/>
                    </a:lnTo>
                    <a:lnTo>
                      <a:pt x="665163" y="423862"/>
                    </a:lnTo>
                    <a:lnTo>
                      <a:pt x="665759" y="423088"/>
                    </a:lnTo>
                    <a:lnTo>
                      <a:pt x="361950" y="185737"/>
                    </a:lnTo>
                    <a:lnTo>
                      <a:pt x="296862" y="141287"/>
                    </a:lnTo>
                    <a:lnTo>
                      <a:pt x="222250" y="109537"/>
                    </a:lnTo>
                    <a:lnTo>
                      <a:pt x="147637" y="88899"/>
                    </a:lnTo>
                    <a:lnTo>
                      <a:pt x="129462" y="87118"/>
                    </a:lnTo>
                    <a:lnTo>
                      <a:pt x="128587" y="92075"/>
                    </a:lnTo>
                    <a:lnTo>
                      <a:pt x="112712" y="112712"/>
                    </a:lnTo>
                    <a:lnTo>
                      <a:pt x="92075" y="128587"/>
                    </a:lnTo>
                    <a:lnTo>
                      <a:pt x="66675" y="133350"/>
                    </a:lnTo>
                    <a:lnTo>
                      <a:pt x="39687" y="128587"/>
                    </a:lnTo>
                    <a:lnTo>
                      <a:pt x="19050" y="112712"/>
                    </a:lnTo>
                    <a:lnTo>
                      <a:pt x="6350" y="92075"/>
                    </a:lnTo>
                    <a:lnTo>
                      <a:pt x="0" y="65087"/>
                    </a:lnTo>
                    <a:lnTo>
                      <a:pt x="6350" y="39687"/>
                    </a:lnTo>
                    <a:lnTo>
                      <a:pt x="19050" y="19050"/>
                    </a:lnTo>
                    <a:lnTo>
                      <a:pt x="39687" y="4762"/>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2" name="îṡḻïḍé">
                <a:extLst>
                  <a:ext uri="{FF2B5EF4-FFF2-40B4-BE49-F238E27FC236}">
                    <a16:creationId xmlns:a16="http://schemas.microsoft.com/office/drawing/2014/main" id="{2E7C9983-2BB6-47A3-AA3C-D8A117C4C459}"/>
                  </a:ext>
                </a:extLst>
              </p:cNvPr>
              <p:cNvSpPr/>
              <p:nvPr/>
            </p:nvSpPr>
            <p:spPr bwMode="auto">
              <a:xfrm>
                <a:off x="4078288" y="3566319"/>
                <a:ext cx="677863" cy="131763"/>
              </a:xfrm>
              <a:custGeom>
                <a:avLst/>
                <a:gdLst>
                  <a:gd name="T0" fmla="*/ 42 w 427"/>
                  <a:gd name="T1" fmla="*/ 0 h 83"/>
                  <a:gd name="T2" fmla="*/ 60 w 427"/>
                  <a:gd name="T3" fmla="*/ 3 h 83"/>
                  <a:gd name="T4" fmla="*/ 74 w 427"/>
                  <a:gd name="T5" fmla="*/ 15 h 83"/>
                  <a:gd name="T6" fmla="*/ 83 w 427"/>
                  <a:gd name="T7" fmla="*/ 32 h 83"/>
                  <a:gd name="T8" fmla="*/ 345 w 427"/>
                  <a:gd name="T9" fmla="*/ 32 h 83"/>
                  <a:gd name="T10" fmla="*/ 353 w 427"/>
                  <a:gd name="T11" fmla="*/ 15 h 83"/>
                  <a:gd name="T12" fmla="*/ 366 w 427"/>
                  <a:gd name="T13" fmla="*/ 3 h 83"/>
                  <a:gd name="T14" fmla="*/ 384 w 427"/>
                  <a:gd name="T15" fmla="*/ 0 h 83"/>
                  <a:gd name="T16" fmla="*/ 401 w 427"/>
                  <a:gd name="T17" fmla="*/ 3 h 83"/>
                  <a:gd name="T18" fmla="*/ 414 w 427"/>
                  <a:gd name="T19" fmla="*/ 12 h 83"/>
                  <a:gd name="T20" fmla="*/ 424 w 427"/>
                  <a:gd name="T21" fmla="*/ 25 h 83"/>
                  <a:gd name="T22" fmla="*/ 427 w 427"/>
                  <a:gd name="T23" fmla="*/ 41 h 83"/>
                  <a:gd name="T24" fmla="*/ 424 w 427"/>
                  <a:gd name="T25" fmla="*/ 58 h 83"/>
                  <a:gd name="T26" fmla="*/ 414 w 427"/>
                  <a:gd name="T27" fmla="*/ 71 h 83"/>
                  <a:gd name="T28" fmla="*/ 401 w 427"/>
                  <a:gd name="T29" fmla="*/ 79 h 83"/>
                  <a:gd name="T30" fmla="*/ 384 w 427"/>
                  <a:gd name="T31" fmla="*/ 83 h 83"/>
                  <a:gd name="T32" fmla="*/ 366 w 427"/>
                  <a:gd name="T33" fmla="*/ 79 h 83"/>
                  <a:gd name="T34" fmla="*/ 353 w 427"/>
                  <a:gd name="T35" fmla="*/ 68 h 83"/>
                  <a:gd name="T36" fmla="*/ 345 w 427"/>
                  <a:gd name="T37" fmla="*/ 51 h 83"/>
                  <a:gd name="T38" fmla="*/ 83 w 427"/>
                  <a:gd name="T39" fmla="*/ 51 h 83"/>
                  <a:gd name="T40" fmla="*/ 74 w 427"/>
                  <a:gd name="T41" fmla="*/ 68 h 83"/>
                  <a:gd name="T42" fmla="*/ 60 w 427"/>
                  <a:gd name="T43" fmla="*/ 79 h 83"/>
                  <a:gd name="T44" fmla="*/ 42 w 427"/>
                  <a:gd name="T45" fmla="*/ 83 h 83"/>
                  <a:gd name="T46" fmla="*/ 25 w 427"/>
                  <a:gd name="T47" fmla="*/ 79 h 83"/>
                  <a:gd name="T48" fmla="*/ 12 w 427"/>
                  <a:gd name="T49" fmla="*/ 71 h 83"/>
                  <a:gd name="T50" fmla="*/ 4 w 427"/>
                  <a:gd name="T51" fmla="*/ 58 h 83"/>
                  <a:gd name="T52" fmla="*/ 0 w 427"/>
                  <a:gd name="T53" fmla="*/ 41 h 83"/>
                  <a:gd name="T54" fmla="*/ 4 w 427"/>
                  <a:gd name="T55" fmla="*/ 25 h 83"/>
                  <a:gd name="T56" fmla="*/ 12 w 427"/>
                  <a:gd name="T57" fmla="*/ 12 h 83"/>
                  <a:gd name="T58" fmla="*/ 25 w 427"/>
                  <a:gd name="T59" fmla="*/ 3 h 83"/>
                  <a:gd name="T60" fmla="*/ 42 w 427"/>
                  <a:gd name="T6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7" h="83">
                    <a:moveTo>
                      <a:pt x="42" y="0"/>
                    </a:moveTo>
                    <a:lnTo>
                      <a:pt x="60" y="3"/>
                    </a:lnTo>
                    <a:lnTo>
                      <a:pt x="74" y="15"/>
                    </a:lnTo>
                    <a:lnTo>
                      <a:pt x="83" y="32"/>
                    </a:lnTo>
                    <a:lnTo>
                      <a:pt x="345" y="32"/>
                    </a:lnTo>
                    <a:lnTo>
                      <a:pt x="353" y="15"/>
                    </a:lnTo>
                    <a:lnTo>
                      <a:pt x="366" y="3"/>
                    </a:lnTo>
                    <a:lnTo>
                      <a:pt x="384" y="0"/>
                    </a:lnTo>
                    <a:lnTo>
                      <a:pt x="401" y="3"/>
                    </a:lnTo>
                    <a:lnTo>
                      <a:pt x="414" y="12"/>
                    </a:lnTo>
                    <a:lnTo>
                      <a:pt x="424" y="25"/>
                    </a:lnTo>
                    <a:lnTo>
                      <a:pt x="427" y="41"/>
                    </a:lnTo>
                    <a:lnTo>
                      <a:pt x="424" y="58"/>
                    </a:lnTo>
                    <a:lnTo>
                      <a:pt x="414" y="71"/>
                    </a:lnTo>
                    <a:lnTo>
                      <a:pt x="401" y="79"/>
                    </a:lnTo>
                    <a:lnTo>
                      <a:pt x="384" y="83"/>
                    </a:lnTo>
                    <a:lnTo>
                      <a:pt x="366" y="79"/>
                    </a:lnTo>
                    <a:lnTo>
                      <a:pt x="353" y="68"/>
                    </a:lnTo>
                    <a:lnTo>
                      <a:pt x="345" y="51"/>
                    </a:lnTo>
                    <a:lnTo>
                      <a:pt x="83" y="51"/>
                    </a:lnTo>
                    <a:lnTo>
                      <a:pt x="74" y="68"/>
                    </a:lnTo>
                    <a:lnTo>
                      <a:pt x="60" y="79"/>
                    </a:lnTo>
                    <a:lnTo>
                      <a:pt x="42" y="83"/>
                    </a:lnTo>
                    <a:lnTo>
                      <a:pt x="25" y="79"/>
                    </a:lnTo>
                    <a:lnTo>
                      <a:pt x="12" y="71"/>
                    </a:lnTo>
                    <a:lnTo>
                      <a:pt x="4" y="58"/>
                    </a:lnTo>
                    <a:lnTo>
                      <a:pt x="0" y="41"/>
                    </a:lnTo>
                    <a:lnTo>
                      <a:pt x="4" y="25"/>
                    </a:lnTo>
                    <a:lnTo>
                      <a:pt x="12" y="12"/>
                    </a:lnTo>
                    <a:lnTo>
                      <a:pt x="25" y="3"/>
                    </a:lnTo>
                    <a:lnTo>
                      <a:pt x="42"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3" name="ïšlïḑe">
                <a:extLst>
                  <a:ext uri="{FF2B5EF4-FFF2-40B4-BE49-F238E27FC236}">
                    <a16:creationId xmlns:a16="http://schemas.microsoft.com/office/drawing/2014/main" id="{A2245A19-A636-4108-8834-D3CD6D927199}"/>
                  </a:ext>
                </a:extLst>
              </p:cNvPr>
              <p:cNvSpPr/>
              <p:nvPr/>
            </p:nvSpPr>
            <p:spPr bwMode="auto">
              <a:xfrm>
                <a:off x="4070351" y="4555118"/>
                <a:ext cx="793750" cy="517525"/>
              </a:xfrm>
              <a:custGeom>
                <a:avLst/>
                <a:gdLst>
                  <a:gd name="T0" fmla="*/ 459 w 500"/>
                  <a:gd name="T1" fmla="*/ 0 h 327"/>
                  <a:gd name="T2" fmla="*/ 475 w 500"/>
                  <a:gd name="T3" fmla="*/ 4 h 327"/>
                  <a:gd name="T4" fmla="*/ 488 w 500"/>
                  <a:gd name="T5" fmla="*/ 14 h 327"/>
                  <a:gd name="T6" fmla="*/ 497 w 500"/>
                  <a:gd name="T7" fmla="*/ 27 h 327"/>
                  <a:gd name="T8" fmla="*/ 500 w 500"/>
                  <a:gd name="T9" fmla="*/ 43 h 327"/>
                  <a:gd name="T10" fmla="*/ 497 w 500"/>
                  <a:gd name="T11" fmla="*/ 60 h 327"/>
                  <a:gd name="T12" fmla="*/ 488 w 500"/>
                  <a:gd name="T13" fmla="*/ 73 h 327"/>
                  <a:gd name="T14" fmla="*/ 475 w 500"/>
                  <a:gd name="T15" fmla="*/ 81 h 327"/>
                  <a:gd name="T16" fmla="*/ 459 w 500"/>
                  <a:gd name="T17" fmla="*/ 84 h 327"/>
                  <a:gd name="T18" fmla="*/ 449 w 500"/>
                  <a:gd name="T19" fmla="*/ 83 h 327"/>
                  <a:gd name="T20" fmla="*/ 441 w 500"/>
                  <a:gd name="T21" fmla="*/ 81 h 327"/>
                  <a:gd name="T22" fmla="*/ 434 w 500"/>
                  <a:gd name="T23" fmla="*/ 76 h 327"/>
                  <a:gd name="T24" fmla="*/ 241 w 500"/>
                  <a:gd name="T25" fmla="*/ 226 h 327"/>
                  <a:gd name="T26" fmla="*/ 206 w 500"/>
                  <a:gd name="T27" fmla="*/ 251 h 327"/>
                  <a:gd name="T28" fmla="*/ 167 w 500"/>
                  <a:gd name="T29" fmla="*/ 269 h 327"/>
                  <a:gd name="T30" fmla="*/ 126 w 500"/>
                  <a:gd name="T31" fmla="*/ 284 h 327"/>
                  <a:gd name="T32" fmla="*/ 84 w 500"/>
                  <a:gd name="T33" fmla="*/ 292 h 327"/>
                  <a:gd name="T34" fmla="*/ 76 w 500"/>
                  <a:gd name="T35" fmla="*/ 311 h 327"/>
                  <a:gd name="T36" fmla="*/ 61 w 500"/>
                  <a:gd name="T37" fmla="*/ 322 h 327"/>
                  <a:gd name="T38" fmla="*/ 43 w 500"/>
                  <a:gd name="T39" fmla="*/ 327 h 327"/>
                  <a:gd name="T40" fmla="*/ 27 w 500"/>
                  <a:gd name="T41" fmla="*/ 324 h 327"/>
                  <a:gd name="T42" fmla="*/ 14 w 500"/>
                  <a:gd name="T43" fmla="*/ 314 h 327"/>
                  <a:gd name="T44" fmla="*/ 4 w 500"/>
                  <a:gd name="T45" fmla="*/ 301 h 327"/>
                  <a:gd name="T46" fmla="*/ 0 w 500"/>
                  <a:gd name="T47" fmla="*/ 284 h 327"/>
                  <a:gd name="T48" fmla="*/ 4 w 500"/>
                  <a:gd name="T49" fmla="*/ 269 h 327"/>
                  <a:gd name="T50" fmla="*/ 14 w 500"/>
                  <a:gd name="T51" fmla="*/ 254 h 327"/>
                  <a:gd name="T52" fmla="*/ 27 w 500"/>
                  <a:gd name="T53" fmla="*/ 246 h 327"/>
                  <a:gd name="T54" fmla="*/ 43 w 500"/>
                  <a:gd name="T55" fmla="*/ 243 h 327"/>
                  <a:gd name="T56" fmla="*/ 60 w 500"/>
                  <a:gd name="T57" fmla="*/ 246 h 327"/>
                  <a:gd name="T58" fmla="*/ 75 w 500"/>
                  <a:gd name="T59" fmla="*/ 258 h 327"/>
                  <a:gd name="T60" fmla="*/ 83 w 500"/>
                  <a:gd name="T61" fmla="*/ 273 h 327"/>
                  <a:gd name="T62" fmla="*/ 122 w 500"/>
                  <a:gd name="T63" fmla="*/ 264 h 327"/>
                  <a:gd name="T64" fmla="*/ 160 w 500"/>
                  <a:gd name="T65" fmla="*/ 251 h 327"/>
                  <a:gd name="T66" fmla="*/ 195 w 500"/>
                  <a:gd name="T67" fmla="*/ 233 h 327"/>
                  <a:gd name="T68" fmla="*/ 230 w 500"/>
                  <a:gd name="T69" fmla="*/ 210 h 327"/>
                  <a:gd name="T70" fmla="*/ 421 w 500"/>
                  <a:gd name="T71" fmla="*/ 60 h 327"/>
                  <a:gd name="T72" fmla="*/ 417 w 500"/>
                  <a:gd name="T73" fmla="*/ 51 h 327"/>
                  <a:gd name="T74" fmla="*/ 417 w 500"/>
                  <a:gd name="T75" fmla="*/ 43 h 327"/>
                  <a:gd name="T76" fmla="*/ 421 w 500"/>
                  <a:gd name="T77" fmla="*/ 27 h 327"/>
                  <a:gd name="T78" fmla="*/ 429 w 500"/>
                  <a:gd name="T79" fmla="*/ 14 h 327"/>
                  <a:gd name="T80" fmla="*/ 442 w 500"/>
                  <a:gd name="T81" fmla="*/ 4 h 327"/>
                  <a:gd name="T82" fmla="*/ 459 w 500"/>
                  <a:gd name="T83"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0" h="327">
                    <a:moveTo>
                      <a:pt x="459" y="0"/>
                    </a:moveTo>
                    <a:lnTo>
                      <a:pt x="475" y="4"/>
                    </a:lnTo>
                    <a:lnTo>
                      <a:pt x="488" y="14"/>
                    </a:lnTo>
                    <a:lnTo>
                      <a:pt x="497" y="27"/>
                    </a:lnTo>
                    <a:lnTo>
                      <a:pt x="500" y="43"/>
                    </a:lnTo>
                    <a:lnTo>
                      <a:pt x="497" y="60"/>
                    </a:lnTo>
                    <a:lnTo>
                      <a:pt x="488" y="73"/>
                    </a:lnTo>
                    <a:lnTo>
                      <a:pt x="475" y="81"/>
                    </a:lnTo>
                    <a:lnTo>
                      <a:pt x="459" y="84"/>
                    </a:lnTo>
                    <a:lnTo>
                      <a:pt x="449" y="83"/>
                    </a:lnTo>
                    <a:lnTo>
                      <a:pt x="441" y="81"/>
                    </a:lnTo>
                    <a:lnTo>
                      <a:pt x="434" y="76"/>
                    </a:lnTo>
                    <a:lnTo>
                      <a:pt x="241" y="226"/>
                    </a:lnTo>
                    <a:lnTo>
                      <a:pt x="206" y="251"/>
                    </a:lnTo>
                    <a:lnTo>
                      <a:pt x="167" y="269"/>
                    </a:lnTo>
                    <a:lnTo>
                      <a:pt x="126" y="284"/>
                    </a:lnTo>
                    <a:lnTo>
                      <a:pt x="84" y="292"/>
                    </a:lnTo>
                    <a:lnTo>
                      <a:pt x="76" y="311"/>
                    </a:lnTo>
                    <a:lnTo>
                      <a:pt x="61" y="322"/>
                    </a:lnTo>
                    <a:lnTo>
                      <a:pt x="43" y="327"/>
                    </a:lnTo>
                    <a:lnTo>
                      <a:pt x="27" y="324"/>
                    </a:lnTo>
                    <a:lnTo>
                      <a:pt x="14" y="314"/>
                    </a:lnTo>
                    <a:lnTo>
                      <a:pt x="4" y="301"/>
                    </a:lnTo>
                    <a:lnTo>
                      <a:pt x="0" y="284"/>
                    </a:lnTo>
                    <a:lnTo>
                      <a:pt x="4" y="269"/>
                    </a:lnTo>
                    <a:lnTo>
                      <a:pt x="14" y="254"/>
                    </a:lnTo>
                    <a:lnTo>
                      <a:pt x="27" y="246"/>
                    </a:lnTo>
                    <a:lnTo>
                      <a:pt x="43" y="243"/>
                    </a:lnTo>
                    <a:lnTo>
                      <a:pt x="60" y="246"/>
                    </a:lnTo>
                    <a:lnTo>
                      <a:pt x="75" y="258"/>
                    </a:lnTo>
                    <a:lnTo>
                      <a:pt x="83" y="273"/>
                    </a:lnTo>
                    <a:lnTo>
                      <a:pt x="122" y="264"/>
                    </a:lnTo>
                    <a:lnTo>
                      <a:pt x="160" y="251"/>
                    </a:lnTo>
                    <a:lnTo>
                      <a:pt x="195" y="233"/>
                    </a:lnTo>
                    <a:lnTo>
                      <a:pt x="230" y="210"/>
                    </a:lnTo>
                    <a:lnTo>
                      <a:pt x="421" y="60"/>
                    </a:lnTo>
                    <a:lnTo>
                      <a:pt x="417" y="51"/>
                    </a:lnTo>
                    <a:lnTo>
                      <a:pt x="417" y="43"/>
                    </a:lnTo>
                    <a:lnTo>
                      <a:pt x="421" y="27"/>
                    </a:lnTo>
                    <a:lnTo>
                      <a:pt x="429" y="14"/>
                    </a:lnTo>
                    <a:lnTo>
                      <a:pt x="442" y="4"/>
                    </a:lnTo>
                    <a:lnTo>
                      <a:pt x="459"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nvGrpSpPr>
            <p:cNvPr id="33" name="ïṩľîḓe">
              <a:extLst>
                <a:ext uri="{FF2B5EF4-FFF2-40B4-BE49-F238E27FC236}">
                  <a16:creationId xmlns:a16="http://schemas.microsoft.com/office/drawing/2014/main" id="{DBB5E185-5B59-4751-88DF-2B6C1C052DE9}"/>
                </a:ext>
              </a:extLst>
            </p:cNvPr>
            <p:cNvGrpSpPr/>
            <p:nvPr/>
          </p:nvGrpSpPr>
          <p:grpSpPr>
            <a:xfrm>
              <a:off x="4962526" y="2507456"/>
              <a:ext cx="2255838" cy="2249488"/>
              <a:chOff x="4961731" y="2507456"/>
              <a:chExt cx="2255838" cy="2249488"/>
            </a:xfrm>
          </p:grpSpPr>
          <p:sp>
            <p:nvSpPr>
              <p:cNvPr id="34" name="iŝļïḋè">
                <a:extLst>
                  <a:ext uri="{FF2B5EF4-FFF2-40B4-BE49-F238E27FC236}">
                    <a16:creationId xmlns:a16="http://schemas.microsoft.com/office/drawing/2014/main" id="{08F9EB3D-A8D9-476E-9D2F-1DDB3816C710}"/>
                  </a:ext>
                </a:extLst>
              </p:cNvPr>
              <p:cNvSpPr/>
              <p:nvPr/>
            </p:nvSpPr>
            <p:spPr bwMode="auto">
              <a:xfrm>
                <a:off x="6111081" y="2507456"/>
                <a:ext cx="942975" cy="649288"/>
              </a:xfrm>
              <a:custGeom>
                <a:avLst/>
                <a:gdLst>
                  <a:gd name="T0" fmla="*/ 0 w 594"/>
                  <a:gd name="T1" fmla="*/ 0 h 409"/>
                  <a:gd name="T2" fmla="*/ 83 w 594"/>
                  <a:gd name="T3" fmla="*/ 5 h 409"/>
                  <a:gd name="T4" fmla="*/ 162 w 594"/>
                  <a:gd name="T5" fmla="*/ 19 h 409"/>
                  <a:gd name="T6" fmla="*/ 238 w 594"/>
                  <a:gd name="T7" fmla="*/ 43 h 409"/>
                  <a:gd name="T8" fmla="*/ 308 w 594"/>
                  <a:gd name="T9" fmla="*/ 74 h 409"/>
                  <a:gd name="T10" fmla="*/ 376 w 594"/>
                  <a:gd name="T11" fmla="*/ 112 h 409"/>
                  <a:gd name="T12" fmla="*/ 439 w 594"/>
                  <a:gd name="T13" fmla="*/ 158 h 409"/>
                  <a:gd name="T14" fmla="*/ 496 w 594"/>
                  <a:gd name="T15" fmla="*/ 212 h 409"/>
                  <a:gd name="T16" fmla="*/ 547 w 594"/>
                  <a:gd name="T17" fmla="*/ 274 h 409"/>
                  <a:gd name="T18" fmla="*/ 594 w 594"/>
                  <a:gd name="T19" fmla="*/ 341 h 409"/>
                  <a:gd name="T20" fmla="*/ 478 w 594"/>
                  <a:gd name="T21" fmla="*/ 409 h 409"/>
                  <a:gd name="T22" fmla="*/ 437 w 594"/>
                  <a:gd name="T23" fmla="*/ 351 h 409"/>
                  <a:gd name="T24" fmla="*/ 391 w 594"/>
                  <a:gd name="T25" fmla="*/ 298 h 409"/>
                  <a:gd name="T26" fmla="*/ 336 w 594"/>
                  <a:gd name="T27" fmla="*/ 252 h 409"/>
                  <a:gd name="T28" fmla="*/ 279 w 594"/>
                  <a:gd name="T29" fmla="*/ 212 h 409"/>
                  <a:gd name="T30" fmla="*/ 214 w 594"/>
                  <a:gd name="T31" fmla="*/ 179 h 409"/>
                  <a:gd name="T32" fmla="*/ 147 w 594"/>
                  <a:gd name="T33" fmla="*/ 155 h 409"/>
                  <a:gd name="T34" fmla="*/ 76 w 594"/>
                  <a:gd name="T35" fmla="*/ 140 h 409"/>
                  <a:gd name="T36" fmla="*/ 0 w 594"/>
                  <a:gd name="T37" fmla="*/ 133 h 409"/>
                  <a:gd name="T38" fmla="*/ 0 w 594"/>
                  <a:gd name="T39"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4" h="409">
                    <a:moveTo>
                      <a:pt x="0" y="0"/>
                    </a:moveTo>
                    <a:lnTo>
                      <a:pt x="83" y="5"/>
                    </a:lnTo>
                    <a:lnTo>
                      <a:pt x="162" y="19"/>
                    </a:lnTo>
                    <a:lnTo>
                      <a:pt x="238" y="43"/>
                    </a:lnTo>
                    <a:lnTo>
                      <a:pt x="308" y="74"/>
                    </a:lnTo>
                    <a:lnTo>
                      <a:pt x="376" y="112"/>
                    </a:lnTo>
                    <a:lnTo>
                      <a:pt x="439" y="158"/>
                    </a:lnTo>
                    <a:lnTo>
                      <a:pt x="496" y="212"/>
                    </a:lnTo>
                    <a:lnTo>
                      <a:pt x="547" y="274"/>
                    </a:lnTo>
                    <a:lnTo>
                      <a:pt x="594" y="341"/>
                    </a:lnTo>
                    <a:lnTo>
                      <a:pt x="478" y="409"/>
                    </a:lnTo>
                    <a:lnTo>
                      <a:pt x="437" y="351"/>
                    </a:lnTo>
                    <a:lnTo>
                      <a:pt x="391" y="298"/>
                    </a:lnTo>
                    <a:lnTo>
                      <a:pt x="336" y="252"/>
                    </a:lnTo>
                    <a:lnTo>
                      <a:pt x="279" y="212"/>
                    </a:lnTo>
                    <a:lnTo>
                      <a:pt x="214" y="179"/>
                    </a:lnTo>
                    <a:lnTo>
                      <a:pt x="147" y="155"/>
                    </a:lnTo>
                    <a:lnTo>
                      <a:pt x="76" y="140"/>
                    </a:lnTo>
                    <a:lnTo>
                      <a:pt x="0" y="133"/>
                    </a:lnTo>
                    <a:lnTo>
                      <a:pt x="0" y="0"/>
                    </a:lnTo>
                    <a:close/>
                  </a:path>
                </a:pathLst>
              </a:custGeom>
              <a:solidFill>
                <a:srgbClr val="FF6969"/>
              </a:solidFill>
              <a:ln w="0">
                <a:no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5" name="ísļîďè">
                <a:extLst>
                  <a:ext uri="{FF2B5EF4-FFF2-40B4-BE49-F238E27FC236}">
                    <a16:creationId xmlns:a16="http://schemas.microsoft.com/office/drawing/2014/main" id="{EEF2C4A7-C70D-4386-A04C-6DE2E6C43700}"/>
                  </a:ext>
                </a:extLst>
              </p:cNvPr>
              <p:cNvSpPr/>
              <p:nvPr/>
            </p:nvSpPr>
            <p:spPr bwMode="auto">
              <a:xfrm>
                <a:off x="6890544" y="3088481"/>
                <a:ext cx="327025" cy="1087438"/>
              </a:xfrm>
              <a:custGeom>
                <a:avLst/>
                <a:gdLst>
                  <a:gd name="T0" fmla="*/ 117 w 206"/>
                  <a:gd name="T1" fmla="*/ 0 h 685"/>
                  <a:gd name="T2" fmla="*/ 152 w 206"/>
                  <a:gd name="T3" fmla="*/ 74 h 685"/>
                  <a:gd name="T4" fmla="*/ 180 w 206"/>
                  <a:gd name="T5" fmla="*/ 148 h 685"/>
                  <a:gd name="T6" fmla="*/ 198 w 206"/>
                  <a:gd name="T7" fmla="*/ 226 h 685"/>
                  <a:gd name="T8" fmla="*/ 206 w 206"/>
                  <a:gd name="T9" fmla="*/ 304 h 685"/>
                  <a:gd name="T10" fmla="*/ 206 w 206"/>
                  <a:gd name="T11" fmla="*/ 381 h 685"/>
                  <a:gd name="T12" fmla="*/ 198 w 206"/>
                  <a:gd name="T13" fmla="*/ 459 h 685"/>
                  <a:gd name="T14" fmla="*/ 180 w 206"/>
                  <a:gd name="T15" fmla="*/ 536 h 685"/>
                  <a:gd name="T16" fmla="*/ 152 w 206"/>
                  <a:gd name="T17" fmla="*/ 610 h 685"/>
                  <a:gd name="T18" fmla="*/ 117 w 206"/>
                  <a:gd name="T19" fmla="*/ 685 h 685"/>
                  <a:gd name="T20" fmla="*/ 0 w 206"/>
                  <a:gd name="T21" fmla="*/ 619 h 685"/>
                  <a:gd name="T22" fmla="*/ 30 w 206"/>
                  <a:gd name="T23" fmla="*/ 554 h 685"/>
                  <a:gd name="T24" fmla="*/ 53 w 206"/>
                  <a:gd name="T25" fmla="*/ 487 h 685"/>
                  <a:gd name="T26" fmla="*/ 66 w 206"/>
                  <a:gd name="T27" fmla="*/ 416 h 685"/>
                  <a:gd name="T28" fmla="*/ 71 w 206"/>
                  <a:gd name="T29" fmla="*/ 341 h 685"/>
                  <a:gd name="T30" fmla="*/ 66 w 206"/>
                  <a:gd name="T31" fmla="*/ 269 h 685"/>
                  <a:gd name="T32" fmla="*/ 53 w 206"/>
                  <a:gd name="T33" fmla="*/ 198 h 685"/>
                  <a:gd name="T34" fmla="*/ 30 w 206"/>
                  <a:gd name="T35" fmla="*/ 130 h 685"/>
                  <a:gd name="T36" fmla="*/ 0 w 206"/>
                  <a:gd name="T37" fmla="*/ 66 h 685"/>
                  <a:gd name="T38" fmla="*/ 117 w 206"/>
                  <a:gd name="T39" fmla="*/ 0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685">
                    <a:moveTo>
                      <a:pt x="117" y="0"/>
                    </a:moveTo>
                    <a:lnTo>
                      <a:pt x="152" y="74"/>
                    </a:lnTo>
                    <a:lnTo>
                      <a:pt x="180" y="148"/>
                    </a:lnTo>
                    <a:lnTo>
                      <a:pt x="198" y="226"/>
                    </a:lnTo>
                    <a:lnTo>
                      <a:pt x="206" y="304"/>
                    </a:lnTo>
                    <a:lnTo>
                      <a:pt x="206" y="381"/>
                    </a:lnTo>
                    <a:lnTo>
                      <a:pt x="198" y="459"/>
                    </a:lnTo>
                    <a:lnTo>
                      <a:pt x="180" y="536"/>
                    </a:lnTo>
                    <a:lnTo>
                      <a:pt x="152" y="610"/>
                    </a:lnTo>
                    <a:lnTo>
                      <a:pt x="117" y="685"/>
                    </a:lnTo>
                    <a:lnTo>
                      <a:pt x="0" y="619"/>
                    </a:lnTo>
                    <a:lnTo>
                      <a:pt x="30" y="554"/>
                    </a:lnTo>
                    <a:lnTo>
                      <a:pt x="53" y="487"/>
                    </a:lnTo>
                    <a:lnTo>
                      <a:pt x="66" y="416"/>
                    </a:lnTo>
                    <a:lnTo>
                      <a:pt x="71" y="341"/>
                    </a:lnTo>
                    <a:lnTo>
                      <a:pt x="66" y="269"/>
                    </a:lnTo>
                    <a:lnTo>
                      <a:pt x="53" y="198"/>
                    </a:lnTo>
                    <a:lnTo>
                      <a:pt x="30" y="130"/>
                    </a:lnTo>
                    <a:lnTo>
                      <a:pt x="0" y="66"/>
                    </a:lnTo>
                    <a:lnTo>
                      <a:pt x="117"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6" name="îśļïḑè">
                <a:extLst>
                  <a:ext uri="{FF2B5EF4-FFF2-40B4-BE49-F238E27FC236}">
                    <a16:creationId xmlns:a16="http://schemas.microsoft.com/office/drawing/2014/main" id="{BE9B39D4-BBFE-41D1-8D1F-4FBC4BEA568D}"/>
                  </a:ext>
                </a:extLst>
              </p:cNvPr>
              <p:cNvSpPr/>
              <p:nvPr/>
            </p:nvSpPr>
            <p:spPr bwMode="auto">
              <a:xfrm>
                <a:off x="6111081" y="4107656"/>
                <a:ext cx="942975" cy="649288"/>
              </a:xfrm>
              <a:custGeom>
                <a:avLst/>
                <a:gdLst>
                  <a:gd name="T0" fmla="*/ 478 w 594"/>
                  <a:gd name="T1" fmla="*/ 0 h 409"/>
                  <a:gd name="T2" fmla="*/ 594 w 594"/>
                  <a:gd name="T3" fmla="*/ 67 h 409"/>
                  <a:gd name="T4" fmla="*/ 547 w 594"/>
                  <a:gd name="T5" fmla="*/ 135 h 409"/>
                  <a:gd name="T6" fmla="*/ 496 w 594"/>
                  <a:gd name="T7" fmla="*/ 196 h 409"/>
                  <a:gd name="T8" fmla="*/ 439 w 594"/>
                  <a:gd name="T9" fmla="*/ 251 h 409"/>
                  <a:gd name="T10" fmla="*/ 376 w 594"/>
                  <a:gd name="T11" fmla="*/ 297 h 409"/>
                  <a:gd name="T12" fmla="*/ 308 w 594"/>
                  <a:gd name="T13" fmla="*/ 335 h 409"/>
                  <a:gd name="T14" fmla="*/ 238 w 594"/>
                  <a:gd name="T15" fmla="*/ 366 h 409"/>
                  <a:gd name="T16" fmla="*/ 162 w 594"/>
                  <a:gd name="T17" fmla="*/ 389 h 409"/>
                  <a:gd name="T18" fmla="*/ 83 w 594"/>
                  <a:gd name="T19" fmla="*/ 404 h 409"/>
                  <a:gd name="T20" fmla="*/ 0 w 594"/>
                  <a:gd name="T21" fmla="*/ 409 h 409"/>
                  <a:gd name="T22" fmla="*/ 0 w 594"/>
                  <a:gd name="T23" fmla="*/ 275 h 409"/>
                  <a:gd name="T24" fmla="*/ 76 w 594"/>
                  <a:gd name="T25" fmla="*/ 269 h 409"/>
                  <a:gd name="T26" fmla="*/ 147 w 594"/>
                  <a:gd name="T27" fmla="*/ 252 h 409"/>
                  <a:gd name="T28" fmla="*/ 214 w 594"/>
                  <a:gd name="T29" fmla="*/ 229 h 409"/>
                  <a:gd name="T30" fmla="*/ 279 w 594"/>
                  <a:gd name="T31" fmla="*/ 196 h 409"/>
                  <a:gd name="T32" fmla="*/ 336 w 594"/>
                  <a:gd name="T33" fmla="*/ 157 h 409"/>
                  <a:gd name="T34" fmla="*/ 391 w 594"/>
                  <a:gd name="T35" fmla="*/ 110 h 409"/>
                  <a:gd name="T36" fmla="*/ 437 w 594"/>
                  <a:gd name="T37" fmla="*/ 58 h 409"/>
                  <a:gd name="T38" fmla="*/ 478 w 594"/>
                  <a:gd name="T39"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4" h="409">
                    <a:moveTo>
                      <a:pt x="478" y="0"/>
                    </a:moveTo>
                    <a:lnTo>
                      <a:pt x="594" y="67"/>
                    </a:lnTo>
                    <a:lnTo>
                      <a:pt x="547" y="135"/>
                    </a:lnTo>
                    <a:lnTo>
                      <a:pt x="496" y="196"/>
                    </a:lnTo>
                    <a:lnTo>
                      <a:pt x="439" y="251"/>
                    </a:lnTo>
                    <a:lnTo>
                      <a:pt x="376" y="297"/>
                    </a:lnTo>
                    <a:lnTo>
                      <a:pt x="308" y="335"/>
                    </a:lnTo>
                    <a:lnTo>
                      <a:pt x="238" y="366"/>
                    </a:lnTo>
                    <a:lnTo>
                      <a:pt x="162" y="389"/>
                    </a:lnTo>
                    <a:lnTo>
                      <a:pt x="83" y="404"/>
                    </a:lnTo>
                    <a:lnTo>
                      <a:pt x="0" y="409"/>
                    </a:lnTo>
                    <a:lnTo>
                      <a:pt x="0" y="275"/>
                    </a:lnTo>
                    <a:lnTo>
                      <a:pt x="76" y="269"/>
                    </a:lnTo>
                    <a:lnTo>
                      <a:pt x="147" y="252"/>
                    </a:lnTo>
                    <a:lnTo>
                      <a:pt x="214" y="229"/>
                    </a:lnTo>
                    <a:lnTo>
                      <a:pt x="279" y="196"/>
                    </a:lnTo>
                    <a:lnTo>
                      <a:pt x="336" y="157"/>
                    </a:lnTo>
                    <a:lnTo>
                      <a:pt x="391" y="110"/>
                    </a:lnTo>
                    <a:lnTo>
                      <a:pt x="437" y="58"/>
                    </a:lnTo>
                    <a:lnTo>
                      <a:pt x="478" y="0"/>
                    </a:ln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7" name="îṥḻidê">
                <a:extLst>
                  <a:ext uri="{FF2B5EF4-FFF2-40B4-BE49-F238E27FC236}">
                    <a16:creationId xmlns:a16="http://schemas.microsoft.com/office/drawing/2014/main" id="{7D0604E1-23F6-4E92-901B-5A4EDF29B2A8}"/>
                  </a:ext>
                </a:extLst>
              </p:cNvPr>
              <p:cNvSpPr/>
              <p:nvPr/>
            </p:nvSpPr>
            <p:spPr bwMode="auto">
              <a:xfrm>
                <a:off x="5126831" y="4107656"/>
                <a:ext cx="942975" cy="649288"/>
              </a:xfrm>
              <a:custGeom>
                <a:avLst/>
                <a:gdLst>
                  <a:gd name="T0" fmla="*/ 116 w 594"/>
                  <a:gd name="T1" fmla="*/ 0 h 409"/>
                  <a:gd name="T2" fmla="*/ 157 w 594"/>
                  <a:gd name="T3" fmla="*/ 58 h 409"/>
                  <a:gd name="T4" fmla="*/ 205 w 594"/>
                  <a:gd name="T5" fmla="*/ 110 h 409"/>
                  <a:gd name="T6" fmla="*/ 257 w 594"/>
                  <a:gd name="T7" fmla="*/ 157 h 409"/>
                  <a:gd name="T8" fmla="*/ 317 w 594"/>
                  <a:gd name="T9" fmla="*/ 196 h 409"/>
                  <a:gd name="T10" fmla="*/ 379 w 594"/>
                  <a:gd name="T11" fmla="*/ 229 h 409"/>
                  <a:gd name="T12" fmla="*/ 447 w 594"/>
                  <a:gd name="T13" fmla="*/ 254 h 409"/>
                  <a:gd name="T14" fmla="*/ 520 w 594"/>
                  <a:gd name="T15" fmla="*/ 269 h 409"/>
                  <a:gd name="T16" fmla="*/ 594 w 594"/>
                  <a:gd name="T17" fmla="*/ 275 h 409"/>
                  <a:gd name="T18" fmla="*/ 594 w 594"/>
                  <a:gd name="T19" fmla="*/ 409 h 409"/>
                  <a:gd name="T20" fmla="*/ 511 w 594"/>
                  <a:gd name="T21" fmla="*/ 404 h 409"/>
                  <a:gd name="T22" fmla="*/ 432 w 594"/>
                  <a:gd name="T23" fmla="*/ 389 h 409"/>
                  <a:gd name="T24" fmla="*/ 358 w 594"/>
                  <a:gd name="T25" fmla="*/ 366 h 409"/>
                  <a:gd name="T26" fmla="*/ 285 w 594"/>
                  <a:gd name="T27" fmla="*/ 335 h 409"/>
                  <a:gd name="T28" fmla="*/ 218 w 594"/>
                  <a:gd name="T29" fmla="*/ 297 h 409"/>
                  <a:gd name="T30" fmla="*/ 155 w 594"/>
                  <a:gd name="T31" fmla="*/ 251 h 409"/>
                  <a:gd name="T32" fmla="*/ 98 w 594"/>
                  <a:gd name="T33" fmla="*/ 196 h 409"/>
                  <a:gd name="T34" fmla="*/ 46 w 594"/>
                  <a:gd name="T35" fmla="*/ 135 h 409"/>
                  <a:gd name="T36" fmla="*/ 0 w 594"/>
                  <a:gd name="T37" fmla="*/ 67 h 409"/>
                  <a:gd name="T38" fmla="*/ 116 w 594"/>
                  <a:gd name="T39"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4" h="409">
                    <a:moveTo>
                      <a:pt x="116" y="0"/>
                    </a:moveTo>
                    <a:lnTo>
                      <a:pt x="157" y="58"/>
                    </a:lnTo>
                    <a:lnTo>
                      <a:pt x="205" y="110"/>
                    </a:lnTo>
                    <a:lnTo>
                      <a:pt x="257" y="157"/>
                    </a:lnTo>
                    <a:lnTo>
                      <a:pt x="317" y="196"/>
                    </a:lnTo>
                    <a:lnTo>
                      <a:pt x="379" y="229"/>
                    </a:lnTo>
                    <a:lnTo>
                      <a:pt x="447" y="254"/>
                    </a:lnTo>
                    <a:lnTo>
                      <a:pt x="520" y="269"/>
                    </a:lnTo>
                    <a:lnTo>
                      <a:pt x="594" y="275"/>
                    </a:lnTo>
                    <a:lnTo>
                      <a:pt x="594" y="409"/>
                    </a:lnTo>
                    <a:lnTo>
                      <a:pt x="511" y="404"/>
                    </a:lnTo>
                    <a:lnTo>
                      <a:pt x="432" y="389"/>
                    </a:lnTo>
                    <a:lnTo>
                      <a:pt x="358" y="366"/>
                    </a:lnTo>
                    <a:lnTo>
                      <a:pt x="285" y="335"/>
                    </a:lnTo>
                    <a:lnTo>
                      <a:pt x="218" y="297"/>
                    </a:lnTo>
                    <a:lnTo>
                      <a:pt x="155" y="251"/>
                    </a:lnTo>
                    <a:lnTo>
                      <a:pt x="98" y="196"/>
                    </a:lnTo>
                    <a:lnTo>
                      <a:pt x="46" y="135"/>
                    </a:lnTo>
                    <a:lnTo>
                      <a:pt x="0" y="67"/>
                    </a:lnTo>
                    <a:lnTo>
                      <a:pt x="11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8" name="i$1îḑê">
                <a:extLst>
                  <a:ext uri="{FF2B5EF4-FFF2-40B4-BE49-F238E27FC236}">
                    <a16:creationId xmlns:a16="http://schemas.microsoft.com/office/drawing/2014/main" id="{B0F62BB7-57C5-4ACD-8921-F69867FBCAC4}"/>
                  </a:ext>
                </a:extLst>
              </p:cNvPr>
              <p:cNvSpPr/>
              <p:nvPr/>
            </p:nvSpPr>
            <p:spPr bwMode="auto">
              <a:xfrm>
                <a:off x="4961731" y="3088481"/>
                <a:ext cx="328613" cy="1087438"/>
              </a:xfrm>
              <a:custGeom>
                <a:avLst/>
                <a:gdLst>
                  <a:gd name="T0" fmla="*/ 91 w 207"/>
                  <a:gd name="T1" fmla="*/ 0 h 685"/>
                  <a:gd name="T2" fmla="*/ 207 w 207"/>
                  <a:gd name="T3" fmla="*/ 66 h 685"/>
                  <a:gd name="T4" fmla="*/ 177 w 207"/>
                  <a:gd name="T5" fmla="*/ 130 h 685"/>
                  <a:gd name="T6" fmla="*/ 155 w 207"/>
                  <a:gd name="T7" fmla="*/ 198 h 685"/>
                  <a:gd name="T8" fmla="*/ 141 w 207"/>
                  <a:gd name="T9" fmla="*/ 269 h 685"/>
                  <a:gd name="T10" fmla="*/ 137 w 207"/>
                  <a:gd name="T11" fmla="*/ 341 h 685"/>
                  <a:gd name="T12" fmla="*/ 141 w 207"/>
                  <a:gd name="T13" fmla="*/ 416 h 685"/>
                  <a:gd name="T14" fmla="*/ 155 w 207"/>
                  <a:gd name="T15" fmla="*/ 487 h 685"/>
                  <a:gd name="T16" fmla="*/ 177 w 207"/>
                  <a:gd name="T17" fmla="*/ 554 h 685"/>
                  <a:gd name="T18" fmla="*/ 207 w 207"/>
                  <a:gd name="T19" fmla="*/ 619 h 685"/>
                  <a:gd name="T20" fmla="*/ 91 w 207"/>
                  <a:gd name="T21" fmla="*/ 685 h 685"/>
                  <a:gd name="T22" fmla="*/ 55 w 207"/>
                  <a:gd name="T23" fmla="*/ 610 h 685"/>
                  <a:gd name="T24" fmla="*/ 28 w 207"/>
                  <a:gd name="T25" fmla="*/ 536 h 685"/>
                  <a:gd name="T26" fmla="*/ 10 w 207"/>
                  <a:gd name="T27" fmla="*/ 459 h 685"/>
                  <a:gd name="T28" fmla="*/ 0 w 207"/>
                  <a:gd name="T29" fmla="*/ 381 h 685"/>
                  <a:gd name="T30" fmla="*/ 0 w 207"/>
                  <a:gd name="T31" fmla="*/ 304 h 685"/>
                  <a:gd name="T32" fmla="*/ 10 w 207"/>
                  <a:gd name="T33" fmla="*/ 226 h 685"/>
                  <a:gd name="T34" fmla="*/ 28 w 207"/>
                  <a:gd name="T35" fmla="*/ 148 h 685"/>
                  <a:gd name="T36" fmla="*/ 55 w 207"/>
                  <a:gd name="T37" fmla="*/ 74 h 685"/>
                  <a:gd name="T38" fmla="*/ 91 w 207"/>
                  <a:gd name="T39" fmla="*/ 0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685">
                    <a:moveTo>
                      <a:pt x="91" y="0"/>
                    </a:moveTo>
                    <a:lnTo>
                      <a:pt x="207" y="66"/>
                    </a:lnTo>
                    <a:lnTo>
                      <a:pt x="177" y="130"/>
                    </a:lnTo>
                    <a:lnTo>
                      <a:pt x="155" y="198"/>
                    </a:lnTo>
                    <a:lnTo>
                      <a:pt x="141" y="269"/>
                    </a:lnTo>
                    <a:lnTo>
                      <a:pt x="137" y="341"/>
                    </a:lnTo>
                    <a:lnTo>
                      <a:pt x="141" y="416"/>
                    </a:lnTo>
                    <a:lnTo>
                      <a:pt x="155" y="487"/>
                    </a:lnTo>
                    <a:lnTo>
                      <a:pt x="177" y="554"/>
                    </a:lnTo>
                    <a:lnTo>
                      <a:pt x="207" y="619"/>
                    </a:lnTo>
                    <a:lnTo>
                      <a:pt x="91" y="685"/>
                    </a:lnTo>
                    <a:lnTo>
                      <a:pt x="55" y="610"/>
                    </a:lnTo>
                    <a:lnTo>
                      <a:pt x="28" y="536"/>
                    </a:lnTo>
                    <a:lnTo>
                      <a:pt x="10" y="459"/>
                    </a:lnTo>
                    <a:lnTo>
                      <a:pt x="0" y="381"/>
                    </a:lnTo>
                    <a:lnTo>
                      <a:pt x="0" y="304"/>
                    </a:lnTo>
                    <a:lnTo>
                      <a:pt x="10" y="226"/>
                    </a:lnTo>
                    <a:lnTo>
                      <a:pt x="28" y="148"/>
                    </a:lnTo>
                    <a:lnTo>
                      <a:pt x="55" y="74"/>
                    </a:lnTo>
                    <a:lnTo>
                      <a:pt x="91"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9" name="ïSḷíḑè">
                <a:extLst>
                  <a:ext uri="{FF2B5EF4-FFF2-40B4-BE49-F238E27FC236}">
                    <a16:creationId xmlns:a16="http://schemas.microsoft.com/office/drawing/2014/main" id="{BF2B1B64-AFB3-495F-B4C3-F5C0B187865A}"/>
                  </a:ext>
                </a:extLst>
              </p:cNvPr>
              <p:cNvSpPr/>
              <p:nvPr/>
            </p:nvSpPr>
            <p:spPr bwMode="auto">
              <a:xfrm>
                <a:off x="5126831" y="2507456"/>
                <a:ext cx="942975" cy="649288"/>
              </a:xfrm>
              <a:custGeom>
                <a:avLst/>
                <a:gdLst>
                  <a:gd name="T0" fmla="*/ 594 w 594"/>
                  <a:gd name="T1" fmla="*/ 0 h 409"/>
                  <a:gd name="T2" fmla="*/ 594 w 594"/>
                  <a:gd name="T3" fmla="*/ 133 h 409"/>
                  <a:gd name="T4" fmla="*/ 520 w 594"/>
                  <a:gd name="T5" fmla="*/ 140 h 409"/>
                  <a:gd name="T6" fmla="*/ 447 w 594"/>
                  <a:gd name="T7" fmla="*/ 155 h 409"/>
                  <a:gd name="T8" fmla="*/ 379 w 594"/>
                  <a:gd name="T9" fmla="*/ 179 h 409"/>
                  <a:gd name="T10" fmla="*/ 317 w 594"/>
                  <a:gd name="T11" fmla="*/ 212 h 409"/>
                  <a:gd name="T12" fmla="*/ 257 w 594"/>
                  <a:gd name="T13" fmla="*/ 252 h 409"/>
                  <a:gd name="T14" fmla="*/ 205 w 594"/>
                  <a:gd name="T15" fmla="*/ 298 h 409"/>
                  <a:gd name="T16" fmla="*/ 157 w 594"/>
                  <a:gd name="T17" fmla="*/ 351 h 409"/>
                  <a:gd name="T18" fmla="*/ 116 w 594"/>
                  <a:gd name="T19" fmla="*/ 409 h 409"/>
                  <a:gd name="T20" fmla="*/ 0 w 594"/>
                  <a:gd name="T21" fmla="*/ 341 h 409"/>
                  <a:gd name="T22" fmla="*/ 46 w 594"/>
                  <a:gd name="T23" fmla="*/ 274 h 409"/>
                  <a:gd name="T24" fmla="*/ 98 w 594"/>
                  <a:gd name="T25" fmla="*/ 212 h 409"/>
                  <a:gd name="T26" fmla="*/ 155 w 594"/>
                  <a:gd name="T27" fmla="*/ 158 h 409"/>
                  <a:gd name="T28" fmla="*/ 218 w 594"/>
                  <a:gd name="T29" fmla="*/ 112 h 409"/>
                  <a:gd name="T30" fmla="*/ 285 w 594"/>
                  <a:gd name="T31" fmla="*/ 74 h 409"/>
                  <a:gd name="T32" fmla="*/ 358 w 594"/>
                  <a:gd name="T33" fmla="*/ 43 h 409"/>
                  <a:gd name="T34" fmla="*/ 432 w 594"/>
                  <a:gd name="T35" fmla="*/ 19 h 409"/>
                  <a:gd name="T36" fmla="*/ 511 w 594"/>
                  <a:gd name="T37" fmla="*/ 5 h 409"/>
                  <a:gd name="T38" fmla="*/ 594 w 594"/>
                  <a:gd name="T39"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4" h="409">
                    <a:moveTo>
                      <a:pt x="594" y="0"/>
                    </a:moveTo>
                    <a:lnTo>
                      <a:pt x="594" y="133"/>
                    </a:lnTo>
                    <a:lnTo>
                      <a:pt x="520" y="140"/>
                    </a:lnTo>
                    <a:lnTo>
                      <a:pt x="447" y="155"/>
                    </a:lnTo>
                    <a:lnTo>
                      <a:pt x="379" y="179"/>
                    </a:lnTo>
                    <a:lnTo>
                      <a:pt x="317" y="212"/>
                    </a:lnTo>
                    <a:lnTo>
                      <a:pt x="257" y="252"/>
                    </a:lnTo>
                    <a:lnTo>
                      <a:pt x="205" y="298"/>
                    </a:lnTo>
                    <a:lnTo>
                      <a:pt x="157" y="351"/>
                    </a:lnTo>
                    <a:lnTo>
                      <a:pt x="116" y="409"/>
                    </a:lnTo>
                    <a:lnTo>
                      <a:pt x="0" y="341"/>
                    </a:lnTo>
                    <a:lnTo>
                      <a:pt x="46" y="274"/>
                    </a:lnTo>
                    <a:lnTo>
                      <a:pt x="98" y="212"/>
                    </a:lnTo>
                    <a:lnTo>
                      <a:pt x="155" y="158"/>
                    </a:lnTo>
                    <a:lnTo>
                      <a:pt x="218" y="112"/>
                    </a:lnTo>
                    <a:lnTo>
                      <a:pt x="285" y="74"/>
                    </a:lnTo>
                    <a:lnTo>
                      <a:pt x="358" y="43"/>
                    </a:lnTo>
                    <a:lnTo>
                      <a:pt x="432" y="19"/>
                    </a:lnTo>
                    <a:lnTo>
                      <a:pt x="511" y="5"/>
                    </a:lnTo>
                    <a:lnTo>
                      <a:pt x="594" y="0"/>
                    </a:lnTo>
                    <a:close/>
                  </a:path>
                </a:pathLst>
              </a:custGeom>
              <a:solidFill>
                <a:schemeClr val="accent1">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normAutofit/>
              </a:bodyPr>
              <a:lstStyle/>
              <a:p>
                <a:endParaRPr lang="en-US"/>
              </a:p>
            </p:txBody>
          </p:sp>
          <p:sp>
            <p:nvSpPr>
              <p:cNvPr id="40" name="îşḻîḓè">
                <a:extLst>
                  <a:ext uri="{FF2B5EF4-FFF2-40B4-BE49-F238E27FC236}">
                    <a16:creationId xmlns:a16="http://schemas.microsoft.com/office/drawing/2014/main" id="{D9196EF7-AA27-4382-8083-0B9D44ACCA27}"/>
                  </a:ext>
                </a:extLst>
              </p:cNvPr>
              <p:cNvSpPr/>
              <p:nvPr/>
            </p:nvSpPr>
            <p:spPr bwMode="auto">
              <a:xfrm>
                <a:off x="5281613" y="2822575"/>
                <a:ext cx="1616075" cy="1619250"/>
              </a:xfrm>
              <a:custGeom>
                <a:avLst/>
                <a:gdLst>
                  <a:gd name="T0" fmla="*/ 509 w 1018"/>
                  <a:gd name="T1" fmla="*/ 0 h 1020"/>
                  <a:gd name="T2" fmla="*/ 578 w 1018"/>
                  <a:gd name="T3" fmla="*/ 5 h 1020"/>
                  <a:gd name="T4" fmla="*/ 644 w 1018"/>
                  <a:gd name="T5" fmla="*/ 18 h 1020"/>
                  <a:gd name="T6" fmla="*/ 707 w 1018"/>
                  <a:gd name="T7" fmla="*/ 40 h 1020"/>
                  <a:gd name="T8" fmla="*/ 766 w 1018"/>
                  <a:gd name="T9" fmla="*/ 69 h 1020"/>
                  <a:gd name="T10" fmla="*/ 821 w 1018"/>
                  <a:gd name="T11" fmla="*/ 107 h 1020"/>
                  <a:gd name="T12" fmla="*/ 870 w 1018"/>
                  <a:gd name="T13" fmla="*/ 150 h 1020"/>
                  <a:gd name="T14" fmla="*/ 913 w 1018"/>
                  <a:gd name="T15" fmla="*/ 198 h 1020"/>
                  <a:gd name="T16" fmla="*/ 949 w 1018"/>
                  <a:gd name="T17" fmla="*/ 252 h 1020"/>
                  <a:gd name="T18" fmla="*/ 979 w 1018"/>
                  <a:gd name="T19" fmla="*/ 312 h 1020"/>
                  <a:gd name="T20" fmla="*/ 1000 w 1018"/>
                  <a:gd name="T21" fmla="*/ 374 h 1020"/>
                  <a:gd name="T22" fmla="*/ 1013 w 1018"/>
                  <a:gd name="T23" fmla="*/ 440 h 1020"/>
                  <a:gd name="T24" fmla="*/ 1018 w 1018"/>
                  <a:gd name="T25" fmla="*/ 510 h 1020"/>
                  <a:gd name="T26" fmla="*/ 1013 w 1018"/>
                  <a:gd name="T27" fmla="*/ 579 h 1020"/>
                  <a:gd name="T28" fmla="*/ 1000 w 1018"/>
                  <a:gd name="T29" fmla="*/ 645 h 1020"/>
                  <a:gd name="T30" fmla="*/ 979 w 1018"/>
                  <a:gd name="T31" fmla="*/ 709 h 1020"/>
                  <a:gd name="T32" fmla="*/ 949 w 1018"/>
                  <a:gd name="T33" fmla="*/ 767 h 1020"/>
                  <a:gd name="T34" fmla="*/ 913 w 1018"/>
                  <a:gd name="T35" fmla="*/ 822 h 1020"/>
                  <a:gd name="T36" fmla="*/ 870 w 1018"/>
                  <a:gd name="T37" fmla="*/ 871 h 1020"/>
                  <a:gd name="T38" fmla="*/ 821 w 1018"/>
                  <a:gd name="T39" fmla="*/ 914 h 1020"/>
                  <a:gd name="T40" fmla="*/ 766 w 1018"/>
                  <a:gd name="T41" fmla="*/ 950 h 1020"/>
                  <a:gd name="T42" fmla="*/ 707 w 1018"/>
                  <a:gd name="T43" fmla="*/ 980 h 1020"/>
                  <a:gd name="T44" fmla="*/ 644 w 1018"/>
                  <a:gd name="T45" fmla="*/ 1001 h 1020"/>
                  <a:gd name="T46" fmla="*/ 578 w 1018"/>
                  <a:gd name="T47" fmla="*/ 1016 h 1020"/>
                  <a:gd name="T48" fmla="*/ 509 w 1018"/>
                  <a:gd name="T49" fmla="*/ 1020 h 1020"/>
                  <a:gd name="T50" fmla="*/ 440 w 1018"/>
                  <a:gd name="T51" fmla="*/ 1016 h 1020"/>
                  <a:gd name="T52" fmla="*/ 374 w 1018"/>
                  <a:gd name="T53" fmla="*/ 1001 h 1020"/>
                  <a:gd name="T54" fmla="*/ 311 w 1018"/>
                  <a:gd name="T55" fmla="*/ 980 h 1020"/>
                  <a:gd name="T56" fmla="*/ 252 w 1018"/>
                  <a:gd name="T57" fmla="*/ 950 h 1020"/>
                  <a:gd name="T58" fmla="*/ 197 w 1018"/>
                  <a:gd name="T59" fmla="*/ 914 h 1020"/>
                  <a:gd name="T60" fmla="*/ 150 w 1018"/>
                  <a:gd name="T61" fmla="*/ 871 h 1020"/>
                  <a:gd name="T62" fmla="*/ 105 w 1018"/>
                  <a:gd name="T63" fmla="*/ 822 h 1020"/>
                  <a:gd name="T64" fmla="*/ 69 w 1018"/>
                  <a:gd name="T65" fmla="*/ 767 h 1020"/>
                  <a:gd name="T66" fmla="*/ 39 w 1018"/>
                  <a:gd name="T67" fmla="*/ 709 h 1020"/>
                  <a:gd name="T68" fmla="*/ 18 w 1018"/>
                  <a:gd name="T69" fmla="*/ 645 h 1020"/>
                  <a:gd name="T70" fmla="*/ 5 w 1018"/>
                  <a:gd name="T71" fmla="*/ 579 h 1020"/>
                  <a:gd name="T72" fmla="*/ 0 w 1018"/>
                  <a:gd name="T73" fmla="*/ 510 h 1020"/>
                  <a:gd name="T74" fmla="*/ 5 w 1018"/>
                  <a:gd name="T75" fmla="*/ 440 h 1020"/>
                  <a:gd name="T76" fmla="*/ 18 w 1018"/>
                  <a:gd name="T77" fmla="*/ 374 h 1020"/>
                  <a:gd name="T78" fmla="*/ 39 w 1018"/>
                  <a:gd name="T79" fmla="*/ 312 h 1020"/>
                  <a:gd name="T80" fmla="*/ 69 w 1018"/>
                  <a:gd name="T81" fmla="*/ 252 h 1020"/>
                  <a:gd name="T82" fmla="*/ 105 w 1018"/>
                  <a:gd name="T83" fmla="*/ 198 h 1020"/>
                  <a:gd name="T84" fmla="*/ 150 w 1018"/>
                  <a:gd name="T85" fmla="*/ 150 h 1020"/>
                  <a:gd name="T86" fmla="*/ 197 w 1018"/>
                  <a:gd name="T87" fmla="*/ 107 h 1020"/>
                  <a:gd name="T88" fmla="*/ 252 w 1018"/>
                  <a:gd name="T89" fmla="*/ 69 h 1020"/>
                  <a:gd name="T90" fmla="*/ 311 w 1018"/>
                  <a:gd name="T91" fmla="*/ 40 h 1020"/>
                  <a:gd name="T92" fmla="*/ 374 w 1018"/>
                  <a:gd name="T93" fmla="*/ 18 h 1020"/>
                  <a:gd name="T94" fmla="*/ 440 w 1018"/>
                  <a:gd name="T95" fmla="*/ 5 h 1020"/>
                  <a:gd name="T96" fmla="*/ 509 w 1018"/>
                  <a:gd name="T97" fmla="*/ 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8" h="1020">
                    <a:moveTo>
                      <a:pt x="509" y="0"/>
                    </a:moveTo>
                    <a:lnTo>
                      <a:pt x="578" y="5"/>
                    </a:lnTo>
                    <a:lnTo>
                      <a:pt x="644" y="18"/>
                    </a:lnTo>
                    <a:lnTo>
                      <a:pt x="707" y="40"/>
                    </a:lnTo>
                    <a:lnTo>
                      <a:pt x="766" y="69"/>
                    </a:lnTo>
                    <a:lnTo>
                      <a:pt x="821" y="107"/>
                    </a:lnTo>
                    <a:lnTo>
                      <a:pt x="870" y="150"/>
                    </a:lnTo>
                    <a:lnTo>
                      <a:pt x="913" y="198"/>
                    </a:lnTo>
                    <a:lnTo>
                      <a:pt x="949" y="252"/>
                    </a:lnTo>
                    <a:lnTo>
                      <a:pt x="979" y="312"/>
                    </a:lnTo>
                    <a:lnTo>
                      <a:pt x="1000" y="374"/>
                    </a:lnTo>
                    <a:lnTo>
                      <a:pt x="1013" y="440"/>
                    </a:lnTo>
                    <a:lnTo>
                      <a:pt x="1018" y="510"/>
                    </a:lnTo>
                    <a:lnTo>
                      <a:pt x="1013" y="579"/>
                    </a:lnTo>
                    <a:lnTo>
                      <a:pt x="1000" y="645"/>
                    </a:lnTo>
                    <a:lnTo>
                      <a:pt x="979" y="709"/>
                    </a:lnTo>
                    <a:lnTo>
                      <a:pt x="949" y="767"/>
                    </a:lnTo>
                    <a:lnTo>
                      <a:pt x="913" y="822"/>
                    </a:lnTo>
                    <a:lnTo>
                      <a:pt x="870" y="871"/>
                    </a:lnTo>
                    <a:lnTo>
                      <a:pt x="821" y="914"/>
                    </a:lnTo>
                    <a:lnTo>
                      <a:pt x="766" y="950"/>
                    </a:lnTo>
                    <a:lnTo>
                      <a:pt x="707" y="980"/>
                    </a:lnTo>
                    <a:lnTo>
                      <a:pt x="644" y="1001"/>
                    </a:lnTo>
                    <a:lnTo>
                      <a:pt x="578" y="1016"/>
                    </a:lnTo>
                    <a:lnTo>
                      <a:pt x="509" y="1020"/>
                    </a:lnTo>
                    <a:lnTo>
                      <a:pt x="440" y="1016"/>
                    </a:lnTo>
                    <a:lnTo>
                      <a:pt x="374" y="1001"/>
                    </a:lnTo>
                    <a:lnTo>
                      <a:pt x="311" y="980"/>
                    </a:lnTo>
                    <a:lnTo>
                      <a:pt x="252" y="950"/>
                    </a:lnTo>
                    <a:lnTo>
                      <a:pt x="197" y="914"/>
                    </a:lnTo>
                    <a:lnTo>
                      <a:pt x="150" y="871"/>
                    </a:lnTo>
                    <a:lnTo>
                      <a:pt x="105" y="822"/>
                    </a:lnTo>
                    <a:lnTo>
                      <a:pt x="69" y="767"/>
                    </a:lnTo>
                    <a:lnTo>
                      <a:pt x="39" y="709"/>
                    </a:lnTo>
                    <a:lnTo>
                      <a:pt x="18" y="645"/>
                    </a:lnTo>
                    <a:lnTo>
                      <a:pt x="5" y="579"/>
                    </a:lnTo>
                    <a:lnTo>
                      <a:pt x="0" y="510"/>
                    </a:lnTo>
                    <a:lnTo>
                      <a:pt x="5" y="440"/>
                    </a:lnTo>
                    <a:lnTo>
                      <a:pt x="18" y="374"/>
                    </a:lnTo>
                    <a:lnTo>
                      <a:pt x="39" y="312"/>
                    </a:lnTo>
                    <a:lnTo>
                      <a:pt x="69" y="252"/>
                    </a:lnTo>
                    <a:lnTo>
                      <a:pt x="105" y="198"/>
                    </a:lnTo>
                    <a:lnTo>
                      <a:pt x="150" y="150"/>
                    </a:lnTo>
                    <a:lnTo>
                      <a:pt x="197" y="107"/>
                    </a:lnTo>
                    <a:lnTo>
                      <a:pt x="252" y="69"/>
                    </a:lnTo>
                    <a:lnTo>
                      <a:pt x="311" y="40"/>
                    </a:lnTo>
                    <a:lnTo>
                      <a:pt x="374" y="18"/>
                    </a:lnTo>
                    <a:lnTo>
                      <a:pt x="440" y="5"/>
                    </a:lnTo>
                    <a:lnTo>
                      <a:pt x="509" y="0"/>
                    </a:lnTo>
                    <a:close/>
                  </a:path>
                </a:pathLst>
              </a:custGeom>
              <a:solidFill>
                <a:schemeClr val="bg1">
                  <a:lumMod val="95000"/>
                </a:schemeClr>
              </a:solidFill>
              <a:ln w="0">
                <a:noFill/>
                <a:prstDash val="solid"/>
                <a:round/>
                <a:headEnd/>
                <a:tailEnd/>
              </a:ln>
            </p:spPr>
            <p:txBody>
              <a:bodyPr vert="horz" wrap="square" lIns="91440" tIns="45720" rIns="91440" bIns="45720" numCol="1" anchor="ctr"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sz="2400" dirty="0"/>
                  <a:t>约束</a:t>
                </a:r>
                <a:r>
                  <a:rPr lang="en-US" altLang="zh-CN" sz="2400" dirty="0"/>
                  <a:t>/</a:t>
                </a:r>
                <a:r>
                  <a:rPr lang="zh-CN" altLang="en-US" sz="2400" dirty="0"/>
                  <a:t>放松</a:t>
                </a:r>
                <a:endParaRPr lang="id-ID" altLang="zh-CN" sz="2400" dirty="0"/>
              </a:p>
            </p:txBody>
          </p:sp>
        </p:grpSp>
      </p:grpSp>
      <p:sp>
        <p:nvSpPr>
          <p:cNvPr id="25" name="isļíḍe">
            <a:extLst>
              <a:ext uri="{FF2B5EF4-FFF2-40B4-BE49-F238E27FC236}">
                <a16:creationId xmlns:a16="http://schemas.microsoft.com/office/drawing/2014/main" id="{F8E07573-A8E5-42F7-B445-E2E8E3B47ABD}"/>
              </a:ext>
            </a:extLst>
          </p:cNvPr>
          <p:cNvSpPr/>
          <p:nvPr/>
        </p:nvSpPr>
        <p:spPr bwMode="auto">
          <a:xfrm>
            <a:off x="1037326" y="1777206"/>
            <a:ext cx="2822359" cy="1069385"/>
          </a:xfrm>
          <a:prstGeom prst="roundRect">
            <a:avLst>
              <a:gd name="adj" fmla="val 8201"/>
            </a:avLst>
          </a:prstGeom>
          <a:noFill/>
          <a:ln w="12700">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40000"/>
              </a:lnSpc>
            </a:pPr>
            <a:r>
              <a:rPr lang="en-US" altLang="zh-CN" sz="1400" dirty="0"/>
              <a:t>Negative Search Criteria (NC)</a:t>
            </a:r>
          </a:p>
          <a:p>
            <a:pPr>
              <a:lnSpc>
                <a:spcPct val="140000"/>
              </a:lnSpc>
            </a:pPr>
            <a:r>
              <a:rPr lang="zh-CN" altLang="en-US" sz="1400" dirty="0"/>
              <a:t>负面搜索标准</a:t>
            </a:r>
            <a:endParaRPr lang="en-US" altLang="zh-CN" sz="1400" dirty="0"/>
          </a:p>
        </p:txBody>
      </p:sp>
      <p:sp>
        <p:nvSpPr>
          <p:cNvPr id="26" name="ïşlïḍe">
            <a:extLst>
              <a:ext uri="{FF2B5EF4-FFF2-40B4-BE49-F238E27FC236}">
                <a16:creationId xmlns:a16="http://schemas.microsoft.com/office/drawing/2014/main" id="{F8E07573-A8E5-42F7-B445-E2E8E3B47ABD}"/>
              </a:ext>
            </a:extLst>
          </p:cNvPr>
          <p:cNvSpPr/>
          <p:nvPr/>
        </p:nvSpPr>
        <p:spPr bwMode="auto">
          <a:xfrm>
            <a:off x="1037326" y="3097508"/>
            <a:ext cx="2822359" cy="1069385"/>
          </a:xfrm>
          <a:prstGeom prst="roundRect">
            <a:avLst>
              <a:gd name="adj" fmla="val 8201"/>
            </a:avLst>
          </a:prstGeom>
          <a:noFill/>
          <a:ln w="12700">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40000"/>
              </a:lnSpc>
            </a:pPr>
            <a:r>
              <a:rPr lang="en-US" altLang="zh-CN" sz="1400" dirty="0"/>
              <a:t>Multi-Level-inheritance (MLI) </a:t>
            </a:r>
          </a:p>
          <a:p>
            <a:pPr>
              <a:lnSpc>
                <a:spcPct val="140000"/>
              </a:lnSpc>
            </a:pPr>
            <a:r>
              <a:rPr lang="zh-CN" altLang="en-US" sz="1400" dirty="0"/>
              <a:t>多级继承</a:t>
            </a:r>
            <a:endParaRPr lang="en-US" altLang="zh-CN" sz="1400" dirty="0"/>
          </a:p>
        </p:txBody>
      </p:sp>
      <p:sp>
        <p:nvSpPr>
          <p:cNvPr id="27" name="işḷïḓe">
            <a:extLst>
              <a:ext uri="{FF2B5EF4-FFF2-40B4-BE49-F238E27FC236}">
                <a16:creationId xmlns:a16="http://schemas.microsoft.com/office/drawing/2014/main" id="{F8E07573-A8E5-42F7-B445-E2E8E3B47ABD}"/>
              </a:ext>
            </a:extLst>
          </p:cNvPr>
          <p:cNvSpPr/>
          <p:nvPr/>
        </p:nvSpPr>
        <p:spPr bwMode="auto">
          <a:xfrm>
            <a:off x="1037326" y="4417809"/>
            <a:ext cx="2822359" cy="1069385"/>
          </a:xfrm>
          <a:prstGeom prst="roundRect">
            <a:avLst>
              <a:gd name="adj" fmla="val 8201"/>
            </a:avLst>
          </a:prstGeom>
          <a:noFill/>
          <a:ln w="12700">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40000"/>
              </a:lnSpc>
            </a:pPr>
            <a:r>
              <a:rPr lang="en-US" altLang="zh-CN" sz="1400" dirty="0"/>
              <a:t>Relax Target</a:t>
            </a:r>
          </a:p>
          <a:p>
            <a:pPr>
              <a:lnSpc>
                <a:spcPct val="140000"/>
              </a:lnSpc>
            </a:pPr>
            <a:r>
              <a:rPr lang="en-US" altLang="zh-CN" sz="1400" dirty="0"/>
              <a:t>Relax Adapter</a:t>
            </a:r>
            <a:r>
              <a:rPr lang="zh-CN" altLang="en-US" sz="1400" dirty="0"/>
              <a:t>＆</a:t>
            </a:r>
            <a:r>
              <a:rPr lang="en-US" altLang="zh-CN" sz="1400" dirty="0" err="1"/>
              <a:t>Adaptee</a:t>
            </a:r>
            <a:endParaRPr lang="en-US" altLang="zh-CN" sz="1400" dirty="0"/>
          </a:p>
          <a:p>
            <a:pPr>
              <a:lnSpc>
                <a:spcPct val="140000"/>
              </a:lnSpc>
            </a:pPr>
            <a:r>
              <a:rPr lang="en-US" altLang="zh-CN" sz="1400" dirty="0"/>
              <a:t>Relax Delegation</a:t>
            </a:r>
          </a:p>
        </p:txBody>
      </p:sp>
      <p:sp>
        <p:nvSpPr>
          <p:cNvPr id="28" name="iṧļîḑê">
            <a:extLst>
              <a:ext uri="{FF2B5EF4-FFF2-40B4-BE49-F238E27FC236}">
                <a16:creationId xmlns:a16="http://schemas.microsoft.com/office/drawing/2014/main" id="{F8E07573-A8E5-42F7-B445-E2E8E3B47ABD}"/>
              </a:ext>
            </a:extLst>
          </p:cNvPr>
          <p:cNvSpPr/>
          <p:nvPr/>
        </p:nvSpPr>
        <p:spPr bwMode="auto">
          <a:xfrm>
            <a:off x="8319615" y="1777206"/>
            <a:ext cx="2822359" cy="1069385"/>
          </a:xfrm>
          <a:prstGeom prst="roundRect">
            <a:avLst>
              <a:gd name="adj" fmla="val 8201"/>
            </a:avLst>
          </a:prstGeom>
          <a:noFill/>
          <a:ln w="12700">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40000"/>
              </a:lnSpc>
            </a:pPr>
            <a:r>
              <a:rPr lang="en-US" altLang="zh-CN" sz="1400" dirty="0"/>
              <a:t>Reference Constraint (RC)</a:t>
            </a:r>
          </a:p>
          <a:p>
            <a:pPr>
              <a:lnSpc>
                <a:spcPct val="140000"/>
              </a:lnSpc>
            </a:pPr>
            <a:r>
              <a:rPr lang="zh-CN" altLang="en-US" sz="1400" dirty="0"/>
              <a:t>参考约束</a:t>
            </a:r>
            <a:r>
              <a:rPr lang="en-US" altLang="zh-CN" sz="1400" dirty="0"/>
              <a:t> </a:t>
            </a:r>
          </a:p>
        </p:txBody>
      </p:sp>
      <p:sp>
        <p:nvSpPr>
          <p:cNvPr id="29" name="îsḷiḍé">
            <a:extLst>
              <a:ext uri="{FF2B5EF4-FFF2-40B4-BE49-F238E27FC236}">
                <a16:creationId xmlns:a16="http://schemas.microsoft.com/office/drawing/2014/main" id="{F8E07573-A8E5-42F7-B445-E2E8E3B47ABD}"/>
              </a:ext>
            </a:extLst>
          </p:cNvPr>
          <p:cNvSpPr/>
          <p:nvPr/>
        </p:nvSpPr>
        <p:spPr bwMode="auto">
          <a:xfrm>
            <a:off x="8319615" y="3097508"/>
            <a:ext cx="2822359" cy="1069385"/>
          </a:xfrm>
          <a:prstGeom prst="roundRect">
            <a:avLst>
              <a:gd name="adj" fmla="val 8201"/>
            </a:avLst>
          </a:prstGeom>
          <a:noFill/>
          <a:ln w="12700">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40000"/>
              </a:lnSpc>
            </a:pPr>
            <a:r>
              <a:rPr lang="en-US" altLang="zh-CN" sz="1400" dirty="0" err="1"/>
              <a:t>Opt</a:t>
            </a:r>
            <a:r>
              <a:rPr lang="en-US" altLang="zh-CN" sz="1400" dirty="0"/>
              <a:t> CS</a:t>
            </a:r>
          </a:p>
        </p:txBody>
      </p:sp>
      <p:sp>
        <p:nvSpPr>
          <p:cNvPr id="30" name="íṧḷíďê">
            <a:extLst>
              <a:ext uri="{FF2B5EF4-FFF2-40B4-BE49-F238E27FC236}">
                <a16:creationId xmlns:a16="http://schemas.microsoft.com/office/drawing/2014/main" id="{F8E07573-A8E5-42F7-B445-E2E8E3B47ABD}"/>
              </a:ext>
            </a:extLst>
          </p:cNvPr>
          <p:cNvSpPr/>
          <p:nvPr/>
        </p:nvSpPr>
        <p:spPr bwMode="auto">
          <a:xfrm>
            <a:off x="8319615" y="4417809"/>
            <a:ext cx="2822359" cy="1069385"/>
          </a:xfrm>
          <a:prstGeom prst="roundRect">
            <a:avLst>
              <a:gd name="adj" fmla="val 8201"/>
            </a:avLst>
          </a:prstGeom>
          <a:noFill/>
          <a:ln w="12700">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40000"/>
              </a:lnSpc>
            </a:pPr>
            <a:r>
              <a:rPr lang="en-US" altLang="zh-CN" sz="1400" dirty="0"/>
              <a:t>Message Return (MR) </a:t>
            </a:r>
          </a:p>
          <a:p>
            <a:pPr>
              <a:lnSpc>
                <a:spcPct val="140000"/>
              </a:lnSpc>
            </a:pPr>
            <a:r>
              <a:rPr lang="zh-CN" altLang="en-US" sz="1400" dirty="0"/>
              <a:t>消息返回</a:t>
            </a:r>
            <a:endParaRPr lang="en-US" altLang="zh-CN" sz="1400" dirty="0"/>
          </a:p>
        </p:txBody>
      </p:sp>
    </p:spTree>
    <p:extLst>
      <p:ext uri="{BB962C8B-B14F-4D97-AF65-F5344CB8AC3E}">
        <p14:creationId xmlns:p14="http://schemas.microsoft.com/office/powerpoint/2010/main" val="58005439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par>
                                    <p:cTn id="10" presetID="53" presetClass="entr" presetSubtype="16" fill="hold" nodeType="withEffect">
                                      <p:stCondLst>
                                        <p:cond delay="40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animEffect transition="in" filter="fade">
                                          <p:cBhvr>
                                            <p:cTn id="14" dur="500"/>
                                            <p:tgtEl>
                                              <p:spTgt spid="24"/>
                                            </p:tgtEl>
                                          </p:cBhvr>
                                        </p:animEffect>
                                      </p:childTnLst>
                                    </p:cTn>
                                  </p:par>
                                </p:childTnLst>
                              </p:cTn>
                            </p:par>
                            <p:par>
                              <p:cTn id="15" fill="hold">
                                <p:stCondLst>
                                  <p:cond delay="900"/>
                                </p:stCondLst>
                                <p:childTnLst>
                                  <p:par>
                                    <p:cTn id="16" presetID="2" presetClass="entr" presetSubtype="8" accel="10000" fill="hold" grpId="0" nodeType="afterEffect" p14:presetBounceEnd="30000">
                                      <p:stCondLst>
                                        <p:cond delay="0"/>
                                      </p:stCondLst>
                                      <p:childTnLst>
                                        <p:set>
                                          <p:cBhvr>
                                            <p:cTn id="17" dur="1" fill="hold">
                                              <p:stCondLst>
                                                <p:cond delay="0"/>
                                              </p:stCondLst>
                                            </p:cTn>
                                            <p:tgtEl>
                                              <p:spTgt spid="25"/>
                                            </p:tgtEl>
                                            <p:attrNameLst>
                                              <p:attrName>style.visibility</p:attrName>
                                            </p:attrNameLst>
                                          </p:cBhvr>
                                          <p:to>
                                            <p:strVal val="visible"/>
                                          </p:to>
                                        </p:set>
                                        <p:anim calcmode="lin" valueType="num" p14:bounceEnd="30000">
                                          <p:cBhvr additive="base">
                                            <p:cTn id="18" dur="500" fill="hold"/>
                                            <p:tgtEl>
                                              <p:spTgt spid="25"/>
                                            </p:tgtEl>
                                            <p:attrNameLst>
                                              <p:attrName>ppt_x</p:attrName>
                                            </p:attrNameLst>
                                          </p:cBhvr>
                                          <p:tavLst>
                                            <p:tav tm="0">
                                              <p:val>
                                                <p:strVal val="0-#ppt_w/2"/>
                                              </p:val>
                                            </p:tav>
                                            <p:tav tm="100000">
                                              <p:val>
                                                <p:strVal val="#ppt_x"/>
                                              </p:val>
                                            </p:tav>
                                          </p:tavLst>
                                        </p:anim>
                                        <p:anim calcmode="lin" valueType="num" p14:bounceEnd="30000">
                                          <p:cBhvr additive="base">
                                            <p:cTn id="19" dur="500" fill="hold"/>
                                            <p:tgtEl>
                                              <p:spTgt spid="25"/>
                                            </p:tgtEl>
                                            <p:attrNameLst>
                                              <p:attrName>ppt_y</p:attrName>
                                            </p:attrNameLst>
                                          </p:cBhvr>
                                          <p:tavLst>
                                            <p:tav tm="0">
                                              <p:val>
                                                <p:strVal val="#ppt_y"/>
                                              </p:val>
                                            </p:tav>
                                            <p:tav tm="100000">
                                              <p:val>
                                                <p:strVal val="#ppt_y"/>
                                              </p:val>
                                            </p:tav>
                                          </p:tavLst>
                                        </p:anim>
                                      </p:childTnLst>
                                    </p:cTn>
                                  </p:par>
                                  <p:par>
                                    <p:cTn id="20" presetID="2" presetClass="entr" presetSubtype="8" accel="10000" fill="hold" grpId="0" nodeType="withEffect" p14:presetBounceEnd="30000">
                                      <p:stCondLst>
                                        <p:cond delay="200"/>
                                      </p:stCondLst>
                                      <p:childTnLst>
                                        <p:set>
                                          <p:cBhvr>
                                            <p:cTn id="21" dur="1" fill="hold">
                                              <p:stCondLst>
                                                <p:cond delay="0"/>
                                              </p:stCondLst>
                                            </p:cTn>
                                            <p:tgtEl>
                                              <p:spTgt spid="26"/>
                                            </p:tgtEl>
                                            <p:attrNameLst>
                                              <p:attrName>style.visibility</p:attrName>
                                            </p:attrNameLst>
                                          </p:cBhvr>
                                          <p:to>
                                            <p:strVal val="visible"/>
                                          </p:to>
                                        </p:set>
                                        <p:anim calcmode="lin" valueType="num" p14:bounceEnd="30000">
                                          <p:cBhvr additive="base">
                                            <p:cTn id="22" dur="500" fill="hold"/>
                                            <p:tgtEl>
                                              <p:spTgt spid="26"/>
                                            </p:tgtEl>
                                            <p:attrNameLst>
                                              <p:attrName>ppt_x</p:attrName>
                                            </p:attrNameLst>
                                          </p:cBhvr>
                                          <p:tavLst>
                                            <p:tav tm="0">
                                              <p:val>
                                                <p:strVal val="0-#ppt_w/2"/>
                                              </p:val>
                                            </p:tav>
                                            <p:tav tm="100000">
                                              <p:val>
                                                <p:strVal val="#ppt_x"/>
                                              </p:val>
                                            </p:tav>
                                          </p:tavLst>
                                        </p:anim>
                                        <p:anim calcmode="lin" valueType="num" p14:bounceEnd="30000">
                                          <p:cBhvr additive="base">
                                            <p:cTn id="23" dur="500" fill="hold"/>
                                            <p:tgtEl>
                                              <p:spTgt spid="26"/>
                                            </p:tgtEl>
                                            <p:attrNameLst>
                                              <p:attrName>ppt_y</p:attrName>
                                            </p:attrNameLst>
                                          </p:cBhvr>
                                          <p:tavLst>
                                            <p:tav tm="0">
                                              <p:val>
                                                <p:strVal val="#ppt_y"/>
                                              </p:val>
                                            </p:tav>
                                            <p:tav tm="100000">
                                              <p:val>
                                                <p:strVal val="#ppt_y"/>
                                              </p:val>
                                            </p:tav>
                                          </p:tavLst>
                                        </p:anim>
                                      </p:childTnLst>
                                    </p:cTn>
                                  </p:par>
                                  <p:par>
                                    <p:cTn id="24" presetID="2" presetClass="entr" presetSubtype="8" accel="10000" fill="hold" grpId="0" nodeType="withEffect" p14:presetBounceEnd="30000">
                                      <p:stCondLst>
                                        <p:cond delay="500"/>
                                      </p:stCondLst>
                                      <p:childTnLst>
                                        <p:set>
                                          <p:cBhvr>
                                            <p:cTn id="25" dur="1" fill="hold">
                                              <p:stCondLst>
                                                <p:cond delay="0"/>
                                              </p:stCondLst>
                                            </p:cTn>
                                            <p:tgtEl>
                                              <p:spTgt spid="27"/>
                                            </p:tgtEl>
                                            <p:attrNameLst>
                                              <p:attrName>style.visibility</p:attrName>
                                            </p:attrNameLst>
                                          </p:cBhvr>
                                          <p:to>
                                            <p:strVal val="visible"/>
                                          </p:to>
                                        </p:set>
                                        <p:anim calcmode="lin" valueType="num" p14:bounceEnd="30000">
                                          <p:cBhvr additive="base">
                                            <p:cTn id="26" dur="500" fill="hold"/>
                                            <p:tgtEl>
                                              <p:spTgt spid="27"/>
                                            </p:tgtEl>
                                            <p:attrNameLst>
                                              <p:attrName>ppt_x</p:attrName>
                                            </p:attrNameLst>
                                          </p:cBhvr>
                                          <p:tavLst>
                                            <p:tav tm="0">
                                              <p:val>
                                                <p:strVal val="0-#ppt_w/2"/>
                                              </p:val>
                                            </p:tav>
                                            <p:tav tm="100000">
                                              <p:val>
                                                <p:strVal val="#ppt_x"/>
                                              </p:val>
                                            </p:tav>
                                          </p:tavLst>
                                        </p:anim>
                                        <p:anim calcmode="lin" valueType="num" p14:bounceEnd="30000">
                                          <p:cBhvr additive="base">
                                            <p:cTn id="27" dur="500" fill="hold"/>
                                            <p:tgtEl>
                                              <p:spTgt spid="27"/>
                                            </p:tgtEl>
                                            <p:attrNameLst>
                                              <p:attrName>ppt_y</p:attrName>
                                            </p:attrNameLst>
                                          </p:cBhvr>
                                          <p:tavLst>
                                            <p:tav tm="0">
                                              <p:val>
                                                <p:strVal val="#ppt_y"/>
                                              </p:val>
                                            </p:tav>
                                            <p:tav tm="100000">
                                              <p:val>
                                                <p:strVal val="#ppt_y"/>
                                              </p:val>
                                            </p:tav>
                                          </p:tavLst>
                                        </p:anim>
                                      </p:childTnLst>
                                    </p:cTn>
                                  </p:par>
                                  <p:par>
                                    <p:cTn id="28" presetID="2" presetClass="entr" presetSubtype="2" accel="10000" fill="hold" grpId="0" nodeType="withEffect" p14:presetBounceEnd="30000">
                                      <p:stCondLst>
                                        <p:cond delay="0"/>
                                      </p:stCondLst>
                                      <p:childTnLst>
                                        <p:set>
                                          <p:cBhvr>
                                            <p:cTn id="29" dur="1" fill="hold">
                                              <p:stCondLst>
                                                <p:cond delay="0"/>
                                              </p:stCondLst>
                                            </p:cTn>
                                            <p:tgtEl>
                                              <p:spTgt spid="28"/>
                                            </p:tgtEl>
                                            <p:attrNameLst>
                                              <p:attrName>style.visibility</p:attrName>
                                            </p:attrNameLst>
                                          </p:cBhvr>
                                          <p:to>
                                            <p:strVal val="visible"/>
                                          </p:to>
                                        </p:set>
                                        <p:anim calcmode="lin" valueType="num" p14:bounceEnd="30000">
                                          <p:cBhvr additive="base">
                                            <p:cTn id="30" dur="500" fill="hold"/>
                                            <p:tgtEl>
                                              <p:spTgt spid="28"/>
                                            </p:tgtEl>
                                            <p:attrNameLst>
                                              <p:attrName>ppt_x</p:attrName>
                                            </p:attrNameLst>
                                          </p:cBhvr>
                                          <p:tavLst>
                                            <p:tav tm="0">
                                              <p:val>
                                                <p:strVal val="1+#ppt_w/2"/>
                                              </p:val>
                                            </p:tav>
                                            <p:tav tm="100000">
                                              <p:val>
                                                <p:strVal val="#ppt_x"/>
                                              </p:val>
                                            </p:tav>
                                          </p:tavLst>
                                        </p:anim>
                                        <p:anim calcmode="lin" valueType="num" p14:bounceEnd="30000">
                                          <p:cBhvr additive="base">
                                            <p:cTn id="31" dur="500" fill="hold"/>
                                            <p:tgtEl>
                                              <p:spTgt spid="28"/>
                                            </p:tgtEl>
                                            <p:attrNameLst>
                                              <p:attrName>ppt_y</p:attrName>
                                            </p:attrNameLst>
                                          </p:cBhvr>
                                          <p:tavLst>
                                            <p:tav tm="0">
                                              <p:val>
                                                <p:strVal val="#ppt_y"/>
                                              </p:val>
                                            </p:tav>
                                            <p:tav tm="100000">
                                              <p:val>
                                                <p:strVal val="#ppt_y"/>
                                              </p:val>
                                            </p:tav>
                                          </p:tavLst>
                                        </p:anim>
                                      </p:childTnLst>
                                    </p:cTn>
                                  </p:par>
                                  <p:par>
                                    <p:cTn id="32" presetID="2" presetClass="entr" presetSubtype="2" accel="10000" fill="hold" grpId="0" nodeType="withEffect" p14:presetBounceEnd="30000">
                                      <p:stCondLst>
                                        <p:cond delay="200"/>
                                      </p:stCondLst>
                                      <p:childTnLst>
                                        <p:set>
                                          <p:cBhvr>
                                            <p:cTn id="33" dur="1" fill="hold">
                                              <p:stCondLst>
                                                <p:cond delay="0"/>
                                              </p:stCondLst>
                                            </p:cTn>
                                            <p:tgtEl>
                                              <p:spTgt spid="29"/>
                                            </p:tgtEl>
                                            <p:attrNameLst>
                                              <p:attrName>style.visibility</p:attrName>
                                            </p:attrNameLst>
                                          </p:cBhvr>
                                          <p:to>
                                            <p:strVal val="visible"/>
                                          </p:to>
                                        </p:set>
                                        <p:anim calcmode="lin" valueType="num" p14:bounceEnd="30000">
                                          <p:cBhvr additive="base">
                                            <p:cTn id="34" dur="500" fill="hold"/>
                                            <p:tgtEl>
                                              <p:spTgt spid="29"/>
                                            </p:tgtEl>
                                            <p:attrNameLst>
                                              <p:attrName>ppt_x</p:attrName>
                                            </p:attrNameLst>
                                          </p:cBhvr>
                                          <p:tavLst>
                                            <p:tav tm="0">
                                              <p:val>
                                                <p:strVal val="1+#ppt_w/2"/>
                                              </p:val>
                                            </p:tav>
                                            <p:tav tm="100000">
                                              <p:val>
                                                <p:strVal val="#ppt_x"/>
                                              </p:val>
                                            </p:tav>
                                          </p:tavLst>
                                        </p:anim>
                                        <p:anim calcmode="lin" valueType="num" p14:bounceEnd="30000">
                                          <p:cBhvr additive="base">
                                            <p:cTn id="35" dur="500" fill="hold"/>
                                            <p:tgtEl>
                                              <p:spTgt spid="29"/>
                                            </p:tgtEl>
                                            <p:attrNameLst>
                                              <p:attrName>ppt_y</p:attrName>
                                            </p:attrNameLst>
                                          </p:cBhvr>
                                          <p:tavLst>
                                            <p:tav tm="0">
                                              <p:val>
                                                <p:strVal val="#ppt_y"/>
                                              </p:val>
                                            </p:tav>
                                            <p:tav tm="100000">
                                              <p:val>
                                                <p:strVal val="#ppt_y"/>
                                              </p:val>
                                            </p:tav>
                                          </p:tavLst>
                                        </p:anim>
                                      </p:childTnLst>
                                    </p:cTn>
                                  </p:par>
                                  <p:par>
                                    <p:cTn id="36" presetID="2" presetClass="entr" presetSubtype="2" accel="10000" fill="hold" grpId="0" nodeType="withEffect" p14:presetBounceEnd="30000">
                                      <p:stCondLst>
                                        <p:cond delay="600"/>
                                      </p:stCondLst>
                                      <p:childTnLst>
                                        <p:set>
                                          <p:cBhvr>
                                            <p:cTn id="37" dur="1" fill="hold">
                                              <p:stCondLst>
                                                <p:cond delay="0"/>
                                              </p:stCondLst>
                                            </p:cTn>
                                            <p:tgtEl>
                                              <p:spTgt spid="30"/>
                                            </p:tgtEl>
                                            <p:attrNameLst>
                                              <p:attrName>style.visibility</p:attrName>
                                            </p:attrNameLst>
                                          </p:cBhvr>
                                          <p:to>
                                            <p:strVal val="visible"/>
                                          </p:to>
                                        </p:set>
                                        <p:anim calcmode="lin" valueType="num" p14:bounceEnd="30000">
                                          <p:cBhvr additive="base">
                                            <p:cTn id="38" dur="500" fill="hold"/>
                                            <p:tgtEl>
                                              <p:spTgt spid="30"/>
                                            </p:tgtEl>
                                            <p:attrNameLst>
                                              <p:attrName>ppt_x</p:attrName>
                                            </p:attrNameLst>
                                          </p:cBhvr>
                                          <p:tavLst>
                                            <p:tav tm="0">
                                              <p:val>
                                                <p:strVal val="1+#ppt_w/2"/>
                                              </p:val>
                                            </p:tav>
                                            <p:tav tm="100000">
                                              <p:val>
                                                <p:strVal val="#ppt_x"/>
                                              </p:val>
                                            </p:tav>
                                          </p:tavLst>
                                        </p:anim>
                                        <p:anim calcmode="lin" valueType="num" p14:bounceEnd="30000">
                                          <p:cBhvr additive="base">
                                            <p:cTn id="39"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P spid="29" grpId="0" animBg="1"/>
          <p:bldP spid="30"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par>
                                    <p:cTn id="10" presetID="53" presetClass="entr" presetSubtype="16" fill="hold" nodeType="withEffect">
                                      <p:stCondLst>
                                        <p:cond delay="40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animEffect transition="in" filter="fade">
                                          <p:cBhvr>
                                            <p:cTn id="14" dur="500"/>
                                            <p:tgtEl>
                                              <p:spTgt spid="24"/>
                                            </p:tgtEl>
                                          </p:cBhvr>
                                        </p:animEffect>
                                      </p:childTnLst>
                                    </p:cTn>
                                  </p:par>
                                </p:childTnLst>
                              </p:cTn>
                            </p:par>
                            <p:par>
                              <p:cTn id="15" fill="hold">
                                <p:stCondLst>
                                  <p:cond delay="900"/>
                                </p:stCondLst>
                                <p:childTnLst>
                                  <p:par>
                                    <p:cTn id="16" presetID="2" presetClass="entr" presetSubtype="8" accel="10000" fill="hold" grpId="0" nodeType="afterEffect">
                                      <p:stCondLst>
                                        <p:cond delay="0"/>
                                      </p:stCondLst>
                                      <p:childTnLst>
                                        <p:set>
                                          <p:cBhvr>
                                            <p:cTn id="17" dur="1" fill="hold">
                                              <p:stCondLst>
                                                <p:cond delay="0"/>
                                              </p:stCondLst>
                                            </p:cTn>
                                            <p:tgtEl>
                                              <p:spTgt spid="25"/>
                                            </p:tgtEl>
                                            <p:attrNameLst>
                                              <p:attrName>style.visibility</p:attrName>
                                            </p:attrNameLst>
                                          </p:cBhvr>
                                          <p:to>
                                            <p:strVal val="visible"/>
                                          </p:to>
                                        </p:set>
                                        <p:anim calcmode="lin" valueType="num">
                                          <p:cBhvr additive="base">
                                            <p:cTn id="18" dur="500" fill="hold"/>
                                            <p:tgtEl>
                                              <p:spTgt spid="25"/>
                                            </p:tgtEl>
                                            <p:attrNameLst>
                                              <p:attrName>ppt_x</p:attrName>
                                            </p:attrNameLst>
                                          </p:cBhvr>
                                          <p:tavLst>
                                            <p:tav tm="0">
                                              <p:val>
                                                <p:strVal val="0-#ppt_w/2"/>
                                              </p:val>
                                            </p:tav>
                                            <p:tav tm="100000">
                                              <p:val>
                                                <p:strVal val="#ppt_x"/>
                                              </p:val>
                                            </p:tav>
                                          </p:tavLst>
                                        </p:anim>
                                        <p:anim calcmode="lin" valueType="num">
                                          <p:cBhvr additive="base">
                                            <p:cTn id="19" dur="500" fill="hold"/>
                                            <p:tgtEl>
                                              <p:spTgt spid="25"/>
                                            </p:tgtEl>
                                            <p:attrNameLst>
                                              <p:attrName>ppt_y</p:attrName>
                                            </p:attrNameLst>
                                          </p:cBhvr>
                                          <p:tavLst>
                                            <p:tav tm="0">
                                              <p:val>
                                                <p:strVal val="#ppt_y"/>
                                              </p:val>
                                            </p:tav>
                                            <p:tav tm="100000">
                                              <p:val>
                                                <p:strVal val="#ppt_y"/>
                                              </p:val>
                                            </p:tav>
                                          </p:tavLst>
                                        </p:anim>
                                      </p:childTnLst>
                                    </p:cTn>
                                  </p:par>
                                  <p:par>
                                    <p:cTn id="20" presetID="2" presetClass="entr" presetSubtype="8" accel="10000" fill="hold" grpId="0" nodeType="withEffect">
                                      <p:stCondLst>
                                        <p:cond delay="200"/>
                                      </p:stCondLst>
                                      <p:childTnLst>
                                        <p:set>
                                          <p:cBhvr>
                                            <p:cTn id="21" dur="1" fill="hold">
                                              <p:stCondLst>
                                                <p:cond delay="0"/>
                                              </p:stCondLst>
                                            </p:cTn>
                                            <p:tgtEl>
                                              <p:spTgt spid="26"/>
                                            </p:tgtEl>
                                            <p:attrNameLst>
                                              <p:attrName>style.visibility</p:attrName>
                                            </p:attrNameLst>
                                          </p:cBhvr>
                                          <p:to>
                                            <p:strVal val="visible"/>
                                          </p:to>
                                        </p:set>
                                        <p:anim calcmode="lin" valueType="num">
                                          <p:cBhvr additive="base">
                                            <p:cTn id="22" dur="500" fill="hold"/>
                                            <p:tgtEl>
                                              <p:spTgt spid="26"/>
                                            </p:tgtEl>
                                            <p:attrNameLst>
                                              <p:attrName>ppt_x</p:attrName>
                                            </p:attrNameLst>
                                          </p:cBhvr>
                                          <p:tavLst>
                                            <p:tav tm="0">
                                              <p:val>
                                                <p:strVal val="0-#ppt_w/2"/>
                                              </p:val>
                                            </p:tav>
                                            <p:tav tm="100000">
                                              <p:val>
                                                <p:strVal val="#ppt_x"/>
                                              </p:val>
                                            </p:tav>
                                          </p:tavLst>
                                        </p:anim>
                                        <p:anim calcmode="lin" valueType="num">
                                          <p:cBhvr additive="base">
                                            <p:cTn id="23" dur="500" fill="hold"/>
                                            <p:tgtEl>
                                              <p:spTgt spid="26"/>
                                            </p:tgtEl>
                                            <p:attrNameLst>
                                              <p:attrName>ppt_y</p:attrName>
                                            </p:attrNameLst>
                                          </p:cBhvr>
                                          <p:tavLst>
                                            <p:tav tm="0">
                                              <p:val>
                                                <p:strVal val="#ppt_y"/>
                                              </p:val>
                                            </p:tav>
                                            <p:tav tm="100000">
                                              <p:val>
                                                <p:strVal val="#ppt_y"/>
                                              </p:val>
                                            </p:tav>
                                          </p:tavLst>
                                        </p:anim>
                                      </p:childTnLst>
                                    </p:cTn>
                                  </p:par>
                                  <p:par>
                                    <p:cTn id="24" presetID="2" presetClass="entr" presetSubtype="8" accel="10000" fill="hold" grpId="0" nodeType="withEffect">
                                      <p:stCondLst>
                                        <p:cond delay="500"/>
                                      </p:stCondLst>
                                      <p:childTnLst>
                                        <p:set>
                                          <p:cBhvr>
                                            <p:cTn id="25" dur="1" fill="hold">
                                              <p:stCondLst>
                                                <p:cond delay="0"/>
                                              </p:stCondLst>
                                            </p:cTn>
                                            <p:tgtEl>
                                              <p:spTgt spid="27"/>
                                            </p:tgtEl>
                                            <p:attrNameLst>
                                              <p:attrName>style.visibility</p:attrName>
                                            </p:attrNameLst>
                                          </p:cBhvr>
                                          <p:to>
                                            <p:strVal val="visible"/>
                                          </p:to>
                                        </p:set>
                                        <p:anim calcmode="lin" valueType="num">
                                          <p:cBhvr additive="base">
                                            <p:cTn id="26" dur="500" fill="hold"/>
                                            <p:tgtEl>
                                              <p:spTgt spid="27"/>
                                            </p:tgtEl>
                                            <p:attrNameLst>
                                              <p:attrName>ppt_x</p:attrName>
                                            </p:attrNameLst>
                                          </p:cBhvr>
                                          <p:tavLst>
                                            <p:tav tm="0">
                                              <p:val>
                                                <p:strVal val="0-#ppt_w/2"/>
                                              </p:val>
                                            </p:tav>
                                            <p:tav tm="100000">
                                              <p:val>
                                                <p:strVal val="#ppt_x"/>
                                              </p:val>
                                            </p:tav>
                                          </p:tavLst>
                                        </p:anim>
                                        <p:anim calcmode="lin" valueType="num">
                                          <p:cBhvr additive="base">
                                            <p:cTn id="27" dur="500" fill="hold"/>
                                            <p:tgtEl>
                                              <p:spTgt spid="27"/>
                                            </p:tgtEl>
                                            <p:attrNameLst>
                                              <p:attrName>ppt_y</p:attrName>
                                            </p:attrNameLst>
                                          </p:cBhvr>
                                          <p:tavLst>
                                            <p:tav tm="0">
                                              <p:val>
                                                <p:strVal val="#ppt_y"/>
                                              </p:val>
                                            </p:tav>
                                            <p:tav tm="100000">
                                              <p:val>
                                                <p:strVal val="#ppt_y"/>
                                              </p:val>
                                            </p:tav>
                                          </p:tavLst>
                                        </p:anim>
                                      </p:childTnLst>
                                    </p:cTn>
                                  </p:par>
                                  <p:par>
                                    <p:cTn id="28" presetID="2" presetClass="entr" presetSubtype="2" accel="10000" fill="hold" grpId="0" nodeType="withEffect">
                                      <p:stCondLst>
                                        <p:cond delay="0"/>
                                      </p:stCondLst>
                                      <p:childTnLst>
                                        <p:set>
                                          <p:cBhvr>
                                            <p:cTn id="29" dur="1" fill="hold">
                                              <p:stCondLst>
                                                <p:cond delay="0"/>
                                              </p:stCondLst>
                                            </p:cTn>
                                            <p:tgtEl>
                                              <p:spTgt spid="28"/>
                                            </p:tgtEl>
                                            <p:attrNameLst>
                                              <p:attrName>style.visibility</p:attrName>
                                            </p:attrNameLst>
                                          </p:cBhvr>
                                          <p:to>
                                            <p:strVal val="visible"/>
                                          </p:to>
                                        </p:set>
                                        <p:anim calcmode="lin" valueType="num">
                                          <p:cBhvr additive="base">
                                            <p:cTn id="30" dur="500" fill="hold"/>
                                            <p:tgtEl>
                                              <p:spTgt spid="28"/>
                                            </p:tgtEl>
                                            <p:attrNameLst>
                                              <p:attrName>ppt_x</p:attrName>
                                            </p:attrNameLst>
                                          </p:cBhvr>
                                          <p:tavLst>
                                            <p:tav tm="0">
                                              <p:val>
                                                <p:strVal val="1+#ppt_w/2"/>
                                              </p:val>
                                            </p:tav>
                                            <p:tav tm="100000">
                                              <p:val>
                                                <p:strVal val="#ppt_x"/>
                                              </p:val>
                                            </p:tav>
                                          </p:tavLst>
                                        </p:anim>
                                        <p:anim calcmode="lin" valueType="num">
                                          <p:cBhvr additive="base">
                                            <p:cTn id="31" dur="500" fill="hold"/>
                                            <p:tgtEl>
                                              <p:spTgt spid="28"/>
                                            </p:tgtEl>
                                            <p:attrNameLst>
                                              <p:attrName>ppt_y</p:attrName>
                                            </p:attrNameLst>
                                          </p:cBhvr>
                                          <p:tavLst>
                                            <p:tav tm="0">
                                              <p:val>
                                                <p:strVal val="#ppt_y"/>
                                              </p:val>
                                            </p:tav>
                                            <p:tav tm="100000">
                                              <p:val>
                                                <p:strVal val="#ppt_y"/>
                                              </p:val>
                                            </p:tav>
                                          </p:tavLst>
                                        </p:anim>
                                      </p:childTnLst>
                                    </p:cTn>
                                  </p:par>
                                  <p:par>
                                    <p:cTn id="32" presetID="2" presetClass="entr" presetSubtype="2" accel="10000" fill="hold" grpId="0" nodeType="withEffect">
                                      <p:stCondLst>
                                        <p:cond delay="200"/>
                                      </p:stCondLst>
                                      <p:childTnLst>
                                        <p:set>
                                          <p:cBhvr>
                                            <p:cTn id="33" dur="1" fill="hold">
                                              <p:stCondLst>
                                                <p:cond delay="0"/>
                                              </p:stCondLst>
                                            </p:cTn>
                                            <p:tgtEl>
                                              <p:spTgt spid="29"/>
                                            </p:tgtEl>
                                            <p:attrNameLst>
                                              <p:attrName>style.visibility</p:attrName>
                                            </p:attrNameLst>
                                          </p:cBhvr>
                                          <p:to>
                                            <p:strVal val="visible"/>
                                          </p:to>
                                        </p:set>
                                        <p:anim calcmode="lin" valueType="num">
                                          <p:cBhvr additive="base">
                                            <p:cTn id="34" dur="500" fill="hold"/>
                                            <p:tgtEl>
                                              <p:spTgt spid="29"/>
                                            </p:tgtEl>
                                            <p:attrNameLst>
                                              <p:attrName>ppt_x</p:attrName>
                                            </p:attrNameLst>
                                          </p:cBhvr>
                                          <p:tavLst>
                                            <p:tav tm="0">
                                              <p:val>
                                                <p:strVal val="1+#ppt_w/2"/>
                                              </p:val>
                                            </p:tav>
                                            <p:tav tm="100000">
                                              <p:val>
                                                <p:strVal val="#ppt_x"/>
                                              </p:val>
                                            </p:tav>
                                          </p:tavLst>
                                        </p:anim>
                                        <p:anim calcmode="lin" valueType="num">
                                          <p:cBhvr additive="base">
                                            <p:cTn id="35" dur="500" fill="hold"/>
                                            <p:tgtEl>
                                              <p:spTgt spid="29"/>
                                            </p:tgtEl>
                                            <p:attrNameLst>
                                              <p:attrName>ppt_y</p:attrName>
                                            </p:attrNameLst>
                                          </p:cBhvr>
                                          <p:tavLst>
                                            <p:tav tm="0">
                                              <p:val>
                                                <p:strVal val="#ppt_y"/>
                                              </p:val>
                                            </p:tav>
                                            <p:tav tm="100000">
                                              <p:val>
                                                <p:strVal val="#ppt_y"/>
                                              </p:val>
                                            </p:tav>
                                          </p:tavLst>
                                        </p:anim>
                                      </p:childTnLst>
                                    </p:cTn>
                                  </p:par>
                                  <p:par>
                                    <p:cTn id="36" presetID="2" presetClass="entr" presetSubtype="2" accel="10000" fill="hold" grpId="0" nodeType="withEffect">
                                      <p:stCondLst>
                                        <p:cond delay="600"/>
                                      </p:stCondLst>
                                      <p:childTnLst>
                                        <p:set>
                                          <p:cBhvr>
                                            <p:cTn id="37" dur="1" fill="hold">
                                              <p:stCondLst>
                                                <p:cond delay="0"/>
                                              </p:stCondLst>
                                            </p:cTn>
                                            <p:tgtEl>
                                              <p:spTgt spid="30"/>
                                            </p:tgtEl>
                                            <p:attrNameLst>
                                              <p:attrName>style.visibility</p:attrName>
                                            </p:attrNameLst>
                                          </p:cBhvr>
                                          <p:to>
                                            <p:strVal val="visible"/>
                                          </p:to>
                                        </p:set>
                                        <p:anim calcmode="lin" valueType="num">
                                          <p:cBhvr additive="base">
                                            <p:cTn id="38" dur="500" fill="hold"/>
                                            <p:tgtEl>
                                              <p:spTgt spid="30"/>
                                            </p:tgtEl>
                                            <p:attrNameLst>
                                              <p:attrName>ppt_x</p:attrName>
                                            </p:attrNameLst>
                                          </p:cBhvr>
                                          <p:tavLst>
                                            <p:tav tm="0">
                                              <p:val>
                                                <p:strVal val="1+#ppt_w/2"/>
                                              </p:val>
                                            </p:tav>
                                            <p:tav tm="100000">
                                              <p:val>
                                                <p:strVal val="#ppt_x"/>
                                              </p:val>
                                            </p:tav>
                                          </p:tavLst>
                                        </p:anim>
                                        <p:anim calcmode="lin" valueType="num">
                                          <p:cBhvr additive="base">
                                            <p:cTn id="39"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P spid="29" grpId="0" animBg="1"/>
          <p:bldP spid="30" grpId="0" animBg="1"/>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a:extLst>
              <a:ext uri="{FF2B5EF4-FFF2-40B4-BE49-F238E27FC236}">
                <a16:creationId xmlns:a16="http://schemas.microsoft.com/office/drawing/2014/main" id="{2FBF990A-9238-4483-90FD-AE373B1327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3023" y="1730763"/>
            <a:ext cx="4594908" cy="4303318"/>
          </a:xfrm>
          <a:prstGeom prst="rect">
            <a:avLst/>
          </a:prstGeom>
        </p:spPr>
      </p:pic>
      <p:sp>
        <p:nvSpPr>
          <p:cNvPr id="13" name="文本框 12">
            <a:extLst>
              <a:ext uri="{FF2B5EF4-FFF2-40B4-BE49-F238E27FC236}">
                <a16:creationId xmlns:a16="http://schemas.microsoft.com/office/drawing/2014/main" id="{767EC6F7-CCF1-4754-90D2-DD37710517A7}"/>
              </a:ext>
            </a:extLst>
          </p:cNvPr>
          <p:cNvSpPr txBox="1"/>
          <p:nvPr/>
        </p:nvSpPr>
        <p:spPr>
          <a:xfrm>
            <a:off x="6122185" y="1922651"/>
            <a:ext cx="5485405" cy="613373"/>
          </a:xfrm>
          <a:prstGeom prst="rect">
            <a:avLst/>
          </a:prstGeom>
          <a:noFill/>
        </p:spPr>
        <p:txBody>
          <a:bodyPr wrap="square" rtlCol="0">
            <a:spAutoFit/>
          </a:bodyPr>
          <a:lstStyle/>
          <a:p>
            <a:pPr>
              <a:lnSpc>
                <a:spcPct val="150000"/>
              </a:lnSpc>
            </a:pPr>
            <a:r>
              <a:rPr lang="zh-CN" altLang="en-US" sz="1200" dirty="0">
                <a:solidFill>
                  <a:schemeClr val="tx1">
                    <a:lumMod val="65000"/>
                    <a:lumOff val="35000"/>
                  </a:schemeClr>
                </a:solidFill>
                <a:latin typeface="Arial" panose="020B0604020202020204" pitchFamily="34" charset="0"/>
                <a:cs typeface="Arial" panose="020B0604020202020204" pitchFamily="34" charset="0"/>
              </a:rPr>
              <a:t>图</a:t>
            </a:r>
            <a:r>
              <a:rPr lang="en-US" altLang="zh-CN" sz="1200" dirty="0">
                <a:solidFill>
                  <a:schemeClr val="tx1">
                    <a:lumMod val="65000"/>
                    <a:lumOff val="35000"/>
                  </a:schemeClr>
                </a:solidFill>
                <a:latin typeface="Arial" panose="020B0604020202020204" pitchFamily="34" charset="0"/>
                <a:cs typeface="Arial" panose="020B0604020202020204" pitchFamily="34" charset="0"/>
              </a:rPr>
              <a:t>1(a)</a:t>
            </a:r>
            <a:r>
              <a:rPr lang="zh-CN" altLang="en-US" sz="1200" dirty="0">
                <a:solidFill>
                  <a:schemeClr val="tx1">
                    <a:lumMod val="65000"/>
                    <a:lumOff val="35000"/>
                  </a:schemeClr>
                </a:solidFill>
                <a:latin typeface="Arial" panose="020B0604020202020204" pitchFamily="34" charset="0"/>
                <a:cs typeface="Arial" panose="020B0604020202020204" pitchFamily="34" charset="0"/>
              </a:rPr>
              <a:t>以</a:t>
            </a:r>
            <a:r>
              <a:rPr lang="en-US" altLang="zh-CN" sz="1200" dirty="0">
                <a:solidFill>
                  <a:schemeClr val="tx1">
                    <a:lumMod val="65000"/>
                    <a:lumOff val="35000"/>
                  </a:schemeClr>
                </a:solidFill>
                <a:latin typeface="Arial" panose="020B0604020202020204" pitchFamily="34" charset="0"/>
                <a:cs typeface="Arial" panose="020B0604020202020204" pitchFamily="34" charset="0"/>
              </a:rPr>
              <a:t>UML</a:t>
            </a:r>
            <a:r>
              <a:rPr lang="zh-CN" altLang="en-US" sz="1200" dirty="0">
                <a:solidFill>
                  <a:schemeClr val="tx1">
                    <a:lumMod val="65000"/>
                    <a:lumOff val="35000"/>
                  </a:schemeClr>
                </a:solidFill>
                <a:latin typeface="Arial" panose="020B0604020202020204" pitchFamily="34" charset="0"/>
                <a:cs typeface="Arial" panose="020B0604020202020204" pitchFamily="34" charset="0"/>
              </a:rPr>
              <a:t>类图的形式显示了对象适配器模式的结构，该图定义了模式的参与者及其协作方式。图</a:t>
            </a:r>
            <a:r>
              <a:rPr lang="en-US" altLang="zh-CN" sz="1200" dirty="0">
                <a:solidFill>
                  <a:schemeClr val="tx1">
                    <a:lumMod val="65000"/>
                    <a:lumOff val="35000"/>
                  </a:schemeClr>
                </a:solidFill>
                <a:latin typeface="Arial" panose="020B0604020202020204" pitchFamily="34" charset="0"/>
                <a:cs typeface="Arial" panose="020B0604020202020204" pitchFamily="34" charset="0"/>
              </a:rPr>
              <a:t>1(b)</a:t>
            </a:r>
            <a:r>
              <a:rPr lang="zh-CN" altLang="en-US" sz="1200" dirty="0">
                <a:solidFill>
                  <a:schemeClr val="tx1">
                    <a:lumMod val="65000"/>
                    <a:lumOff val="35000"/>
                  </a:schemeClr>
                </a:solidFill>
                <a:latin typeface="Arial" panose="020B0604020202020204" pitchFamily="34" charset="0"/>
                <a:cs typeface="Arial" panose="020B0604020202020204" pitchFamily="34" charset="0"/>
              </a:rPr>
              <a:t>显示了类适配器模式的结构。</a:t>
            </a:r>
          </a:p>
        </p:txBody>
      </p:sp>
      <p:sp>
        <p:nvSpPr>
          <p:cNvPr id="14" name="text-quotes_13895">
            <a:extLst>
              <a:ext uri="{FF2B5EF4-FFF2-40B4-BE49-F238E27FC236}">
                <a16:creationId xmlns:a16="http://schemas.microsoft.com/office/drawing/2014/main" id="{4A0F48CB-EE78-46AC-9F26-41F2BF046A2E}"/>
              </a:ext>
            </a:extLst>
          </p:cNvPr>
          <p:cNvSpPr>
            <a:spLocks noChangeAspect="1"/>
          </p:cNvSpPr>
          <p:nvPr/>
        </p:nvSpPr>
        <p:spPr bwMode="auto">
          <a:xfrm rot="10800000">
            <a:off x="5695907" y="1302700"/>
            <a:ext cx="609685" cy="391270"/>
          </a:xfrm>
          <a:custGeom>
            <a:avLst/>
            <a:gdLst>
              <a:gd name="connsiteX0" fmla="*/ 439987 w 568260"/>
              <a:gd name="connsiteY0" fmla="*/ 0 h 364686"/>
              <a:gd name="connsiteX1" fmla="*/ 568260 w 568260"/>
              <a:gd name="connsiteY1" fmla="*/ 130771 h 364686"/>
              <a:gd name="connsiteX2" fmla="*/ 568260 w 568260"/>
              <a:gd name="connsiteY2" fmla="*/ 131692 h 364686"/>
              <a:gd name="connsiteX3" fmla="*/ 337553 w 568260"/>
              <a:gd name="connsiteY3" fmla="*/ 364686 h 364686"/>
              <a:gd name="connsiteX4" fmla="*/ 308023 w 568260"/>
              <a:gd name="connsiteY4" fmla="*/ 331533 h 364686"/>
              <a:gd name="connsiteX5" fmla="*/ 340322 w 568260"/>
              <a:gd name="connsiteY5" fmla="*/ 299301 h 364686"/>
              <a:gd name="connsiteX6" fmla="*/ 444601 w 568260"/>
              <a:gd name="connsiteY6" fmla="*/ 262464 h 364686"/>
              <a:gd name="connsiteX7" fmla="*/ 441833 w 568260"/>
              <a:gd name="connsiteY7" fmla="*/ 262464 h 364686"/>
              <a:gd name="connsiteX8" fmla="*/ 309869 w 568260"/>
              <a:gd name="connsiteY8" fmla="*/ 131692 h 364686"/>
              <a:gd name="connsiteX9" fmla="*/ 439987 w 568260"/>
              <a:gd name="connsiteY9" fmla="*/ 0 h 364686"/>
              <a:gd name="connsiteX10" fmla="*/ 131871 w 568260"/>
              <a:gd name="connsiteY10" fmla="*/ 0 h 364686"/>
              <a:gd name="connsiteX11" fmla="*/ 260976 w 568260"/>
              <a:gd name="connsiteY11" fmla="*/ 130771 h 364686"/>
              <a:gd name="connsiteX12" fmla="*/ 260976 w 568260"/>
              <a:gd name="connsiteY12" fmla="*/ 131692 h 364686"/>
              <a:gd name="connsiteX13" fmla="*/ 30432 w 568260"/>
              <a:gd name="connsiteY13" fmla="*/ 364686 h 364686"/>
              <a:gd name="connsiteX14" fmla="*/ 0 w 568260"/>
              <a:gd name="connsiteY14" fmla="*/ 331533 h 364686"/>
              <a:gd name="connsiteX15" fmla="*/ 33198 w 568260"/>
              <a:gd name="connsiteY15" fmla="*/ 299301 h 364686"/>
              <a:gd name="connsiteX16" fmla="*/ 136482 w 568260"/>
              <a:gd name="connsiteY16" fmla="*/ 262464 h 364686"/>
              <a:gd name="connsiteX17" fmla="*/ 134638 w 568260"/>
              <a:gd name="connsiteY17" fmla="*/ 262464 h 364686"/>
              <a:gd name="connsiteX18" fmla="*/ 1844 w 568260"/>
              <a:gd name="connsiteY18" fmla="*/ 131692 h 364686"/>
              <a:gd name="connsiteX19" fmla="*/ 131871 w 568260"/>
              <a:gd name="connsiteY19" fmla="*/ 0 h 36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8260" h="364686">
                <a:moveTo>
                  <a:pt x="439987" y="0"/>
                </a:moveTo>
                <a:cubicBezTo>
                  <a:pt x="511968" y="0"/>
                  <a:pt x="568260" y="58939"/>
                  <a:pt x="568260" y="130771"/>
                </a:cubicBezTo>
                <a:lnTo>
                  <a:pt x="568260" y="131692"/>
                </a:lnTo>
                <a:cubicBezTo>
                  <a:pt x="568260" y="259701"/>
                  <a:pt x="466749" y="364686"/>
                  <a:pt x="337553" y="364686"/>
                </a:cubicBezTo>
                <a:cubicBezTo>
                  <a:pt x="319097" y="364686"/>
                  <a:pt x="308023" y="349951"/>
                  <a:pt x="308023" y="331533"/>
                </a:cubicBezTo>
                <a:cubicBezTo>
                  <a:pt x="308023" y="313114"/>
                  <a:pt x="322788" y="299301"/>
                  <a:pt x="340322" y="299301"/>
                </a:cubicBezTo>
                <a:cubicBezTo>
                  <a:pt x="380003" y="299301"/>
                  <a:pt x="415994" y="285487"/>
                  <a:pt x="444601" y="262464"/>
                </a:cubicBezTo>
                <a:cubicBezTo>
                  <a:pt x="443678" y="262464"/>
                  <a:pt x="442756" y="262464"/>
                  <a:pt x="441833" y="262464"/>
                </a:cubicBezTo>
                <a:cubicBezTo>
                  <a:pt x="369852" y="262464"/>
                  <a:pt x="309869" y="203524"/>
                  <a:pt x="309869" y="131692"/>
                </a:cubicBezTo>
                <a:cubicBezTo>
                  <a:pt x="309869" y="58939"/>
                  <a:pt x="367084" y="0"/>
                  <a:pt x="439987" y="0"/>
                </a:cubicBezTo>
                <a:close/>
                <a:moveTo>
                  <a:pt x="131871" y="0"/>
                </a:moveTo>
                <a:cubicBezTo>
                  <a:pt x="204723" y="0"/>
                  <a:pt x="260976" y="58939"/>
                  <a:pt x="260976" y="130771"/>
                </a:cubicBezTo>
                <a:lnTo>
                  <a:pt x="260976" y="131692"/>
                </a:lnTo>
                <a:cubicBezTo>
                  <a:pt x="260976" y="259701"/>
                  <a:pt x="158614" y="364686"/>
                  <a:pt x="30432" y="364686"/>
                </a:cubicBezTo>
                <a:cubicBezTo>
                  <a:pt x="11988" y="364686"/>
                  <a:pt x="0" y="349951"/>
                  <a:pt x="0" y="331533"/>
                </a:cubicBezTo>
                <a:cubicBezTo>
                  <a:pt x="0" y="313114"/>
                  <a:pt x="14755" y="299301"/>
                  <a:pt x="33198" y="299301"/>
                </a:cubicBezTo>
                <a:cubicBezTo>
                  <a:pt x="71930" y="299301"/>
                  <a:pt x="107895" y="285487"/>
                  <a:pt x="136482" y="262464"/>
                </a:cubicBezTo>
                <a:cubicBezTo>
                  <a:pt x="136482" y="262464"/>
                  <a:pt x="134638" y="262464"/>
                  <a:pt x="134638" y="262464"/>
                </a:cubicBezTo>
                <a:cubicBezTo>
                  <a:pt x="61786" y="262464"/>
                  <a:pt x="1844" y="203524"/>
                  <a:pt x="1844" y="131692"/>
                </a:cubicBezTo>
                <a:cubicBezTo>
                  <a:pt x="1844" y="58939"/>
                  <a:pt x="59941" y="0"/>
                  <a:pt x="131871" y="0"/>
                </a:cubicBezTo>
                <a:close/>
              </a:path>
            </a:pathLst>
          </a:custGeom>
          <a:solidFill>
            <a:schemeClr val="accent1"/>
          </a:solidFill>
          <a:ln>
            <a:noFill/>
          </a:ln>
        </p:spPr>
      </p:sp>
      <p:pic>
        <p:nvPicPr>
          <p:cNvPr id="16" name="图片 15">
            <a:extLst>
              <a:ext uri="{FF2B5EF4-FFF2-40B4-BE49-F238E27FC236}">
                <a16:creationId xmlns:a16="http://schemas.microsoft.com/office/drawing/2014/main" id="{81F7CD40-8868-4B02-8EF6-EDB0E0EEED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8918" y="3034259"/>
            <a:ext cx="4267202" cy="3174436"/>
          </a:xfrm>
          <a:prstGeom prst="rect">
            <a:avLst/>
          </a:prstGeom>
        </p:spPr>
      </p:pic>
      <p:grpSp>
        <p:nvGrpSpPr>
          <p:cNvPr id="2" name="组合 1">
            <a:extLst>
              <a:ext uri="{FF2B5EF4-FFF2-40B4-BE49-F238E27FC236}">
                <a16:creationId xmlns:a16="http://schemas.microsoft.com/office/drawing/2014/main" id="{2EFD3F19-41DC-4DB7-94FB-97170DC26021}"/>
              </a:ext>
            </a:extLst>
          </p:cNvPr>
          <p:cNvGrpSpPr/>
          <p:nvPr/>
        </p:nvGrpSpPr>
        <p:grpSpPr>
          <a:xfrm>
            <a:off x="-43962" y="-2"/>
            <a:ext cx="12265321" cy="1081456"/>
            <a:chOff x="-43962" y="-2"/>
            <a:chExt cx="12265321" cy="1081456"/>
          </a:xfrm>
        </p:grpSpPr>
        <p:grpSp>
          <p:nvGrpSpPr>
            <p:cNvPr id="5" name="组合 4">
              <a:extLst>
                <a:ext uri="{FF2B5EF4-FFF2-40B4-BE49-F238E27FC236}">
                  <a16:creationId xmlns:a16="http://schemas.microsoft.com/office/drawing/2014/main" id="{A02D8D5F-9092-40A1-BEE7-2E18BC595794}"/>
                </a:ext>
              </a:extLst>
            </p:cNvPr>
            <p:cNvGrpSpPr/>
            <p:nvPr/>
          </p:nvGrpSpPr>
          <p:grpSpPr>
            <a:xfrm rot="10800000">
              <a:off x="-43962" y="-2"/>
              <a:ext cx="12265321" cy="1081456"/>
              <a:chOff x="1" y="5010588"/>
              <a:chExt cx="12265322" cy="1905823"/>
            </a:xfrm>
          </p:grpSpPr>
          <p:sp>
            <p:nvSpPr>
              <p:cNvPr id="6" name="îṧļiḑe">
                <a:extLst>
                  <a:ext uri="{FF2B5EF4-FFF2-40B4-BE49-F238E27FC236}">
                    <a16:creationId xmlns:a16="http://schemas.microsoft.com/office/drawing/2014/main" id="{49F6E0D8-E3BC-4BD3-84FB-161A76550555}"/>
                  </a:ext>
                </a:extLst>
              </p:cNvPr>
              <p:cNvSpPr/>
              <p:nvPr/>
            </p:nvSpPr>
            <p:spPr>
              <a:xfrm>
                <a:off x="1" y="5010588"/>
                <a:ext cx="12198348" cy="761563"/>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chemeClr val="bg1">
                  <a:lumMod val="7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7" name="îṩľiḑê">
                <a:extLst>
                  <a:ext uri="{FF2B5EF4-FFF2-40B4-BE49-F238E27FC236}">
                    <a16:creationId xmlns:a16="http://schemas.microsoft.com/office/drawing/2014/main" id="{E47AD772-61D7-455A-AF1D-07952261DFE2}"/>
                  </a:ext>
                </a:extLst>
              </p:cNvPr>
              <p:cNvSpPr/>
              <p:nvPr/>
            </p:nvSpPr>
            <p:spPr>
              <a:xfrm>
                <a:off x="2" y="5324726"/>
                <a:ext cx="12265321" cy="1591685"/>
              </a:xfrm>
              <a:custGeom>
                <a:avLst/>
                <a:gdLst>
                  <a:gd name="connsiteX0" fmla="*/ 9793334 w 12203777"/>
                  <a:gd name="connsiteY0" fmla="*/ 407 h 1591685"/>
                  <a:gd name="connsiteX1" fmla="*/ 12195507 w 12203777"/>
                  <a:gd name="connsiteY1" fmla="*/ 359240 h 1591685"/>
                  <a:gd name="connsiteX2" fmla="*/ 12203736 w 12203777"/>
                  <a:gd name="connsiteY2" fmla="*/ 1523448 h 1591685"/>
                  <a:gd name="connsiteX3" fmla="*/ 12203777 w 12203777"/>
                  <a:gd name="connsiteY3" fmla="*/ 1591685 h 1591685"/>
                  <a:gd name="connsiteX4" fmla="*/ 0 w 12203777"/>
                  <a:gd name="connsiteY4" fmla="*/ 1591685 h 1591685"/>
                  <a:gd name="connsiteX5" fmla="*/ 0 w 12203777"/>
                  <a:gd name="connsiteY5" fmla="*/ 52738 h 1591685"/>
                  <a:gd name="connsiteX6" fmla="*/ 2131598 w 12203777"/>
                  <a:gd name="connsiteY6" fmla="*/ 425529 h 1591685"/>
                  <a:gd name="connsiteX7" fmla="*/ 4594566 w 12203777"/>
                  <a:gd name="connsiteY7" fmla="*/ 21407 h 1591685"/>
                  <a:gd name="connsiteX8" fmla="*/ 7250621 w 12203777"/>
                  <a:gd name="connsiteY8" fmla="*/ 430033 h 1591685"/>
                  <a:gd name="connsiteX9" fmla="*/ 9793334 w 12203777"/>
                  <a:gd name="connsiteY9"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3777" h="1591685">
                    <a:moveTo>
                      <a:pt x="9793334" y="407"/>
                    </a:moveTo>
                    <a:cubicBezTo>
                      <a:pt x="10617482" y="-11392"/>
                      <a:pt x="11697192" y="236686"/>
                      <a:pt x="12195507" y="359240"/>
                    </a:cubicBezTo>
                    <a:cubicBezTo>
                      <a:pt x="12198996" y="660525"/>
                      <a:pt x="12202726" y="1080010"/>
                      <a:pt x="12203736" y="1523448"/>
                    </a:cubicBezTo>
                    <a:lnTo>
                      <a:pt x="12203777" y="1591685"/>
                    </a:lnTo>
                    <a:lnTo>
                      <a:pt x="0" y="1591685"/>
                    </a:lnTo>
                    <a:lnTo>
                      <a:pt x="0" y="52738"/>
                    </a:lnTo>
                    <a:cubicBezTo>
                      <a:pt x="290971" y="256185"/>
                      <a:pt x="1365838" y="430750"/>
                      <a:pt x="2131598" y="425529"/>
                    </a:cubicBezTo>
                    <a:cubicBezTo>
                      <a:pt x="2897359" y="420307"/>
                      <a:pt x="3741395" y="20656"/>
                      <a:pt x="4594566" y="21407"/>
                    </a:cubicBezTo>
                    <a:cubicBezTo>
                      <a:pt x="5447736" y="22158"/>
                      <a:pt x="6384160" y="433532"/>
                      <a:pt x="7250621" y="430033"/>
                    </a:cubicBezTo>
                    <a:cubicBezTo>
                      <a:pt x="8117082" y="426533"/>
                      <a:pt x="8969187" y="12206"/>
                      <a:pt x="9793334" y="407"/>
                    </a:cubicBezTo>
                    <a:close/>
                  </a:path>
                </a:pathLst>
              </a:custGeom>
              <a:solidFill>
                <a:srgbClr val="11358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sp>
          <p:nvSpPr>
            <p:cNvPr id="9" name="矩形 8">
              <a:extLst>
                <a:ext uri="{FF2B5EF4-FFF2-40B4-BE49-F238E27FC236}">
                  <a16:creationId xmlns:a16="http://schemas.microsoft.com/office/drawing/2014/main" id="{559493B6-54D5-4BFB-8173-8ADF4B215E18}"/>
                </a:ext>
              </a:extLst>
            </p:cNvPr>
            <p:cNvSpPr/>
            <p:nvPr/>
          </p:nvSpPr>
          <p:spPr>
            <a:xfrm>
              <a:off x="1028700" y="139985"/>
              <a:ext cx="9944100" cy="369332"/>
            </a:xfrm>
            <a:prstGeom prst="rect">
              <a:avLst/>
            </a:prstGeom>
          </p:spPr>
          <p:txBody>
            <a:bodyPr wrap="square">
              <a:spAutoFit/>
            </a:bodyPr>
            <a:lstStyle/>
            <a:p>
              <a:r>
                <a:rPr lang="sv-SE" altLang="zh-CN" dirty="0">
                  <a:solidFill>
                    <a:schemeClr val="bg1"/>
                  </a:solidFill>
                </a:rPr>
                <a:t>A.</a:t>
              </a:r>
              <a:r>
                <a:rPr lang="zh-CN" altLang="en-US" dirty="0">
                  <a:solidFill>
                    <a:schemeClr val="bg1"/>
                  </a:solidFill>
                </a:rPr>
                <a:t>适配器模式变体</a:t>
              </a:r>
              <a:endParaRPr lang="en-US" altLang="zh-CN" dirty="0">
                <a:solidFill>
                  <a:schemeClr val="bg1"/>
                </a:solidFill>
              </a:endParaRPr>
            </a:p>
          </p:txBody>
        </p:sp>
        <p:sp>
          <p:nvSpPr>
            <p:cNvPr id="17" name="ïṥ1iḓe">
              <a:extLst>
                <a:ext uri="{FF2B5EF4-FFF2-40B4-BE49-F238E27FC236}">
                  <a16:creationId xmlns:a16="http://schemas.microsoft.com/office/drawing/2014/main" id="{432685F6-615C-440A-83BB-8610F008A7D5}"/>
                </a:ext>
              </a:extLst>
            </p:cNvPr>
            <p:cNvSpPr/>
            <p:nvPr/>
          </p:nvSpPr>
          <p:spPr bwMode="auto">
            <a:xfrm>
              <a:off x="434340" y="65577"/>
              <a:ext cx="539484" cy="538668"/>
            </a:xfrm>
            <a:custGeom>
              <a:avLst/>
              <a:gdLst>
                <a:gd name="T0" fmla="*/ 5980 w 6635"/>
                <a:gd name="T1" fmla="*/ 2663 h 6635"/>
                <a:gd name="T2" fmla="*/ 5420 w 6635"/>
                <a:gd name="T3" fmla="*/ 2986 h 6635"/>
                <a:gd name="T4" fmla="*/ 4403 w 6635"/>
                <a:gd name="T5" fmla="*/ 2986 h 6635"/>
                <a:gd name="T6" fmla="*/ 4229 w 6635"/>
                <a:gd name="T7" fmla="*/ 2640 h 6635"/>
                <a:gd name="T8" fmla="*/ 5219 w 6635"/>
                <a:gd name="T9" fmla="*/ 1650 h 6635"/>
                <a:gd name="T10" fmla="*/ 5663 w 6635"/>
                <a:gd name="T11" fmla="*/ 1558 h 6635"/>
                <a:gd name="T12" fmla="*/ 5663 w 6635"/>
                <a:gd name="T13" fmla="*/ 972 h 6635"/>
                <a:gd name="T14" fmla="*/ 5077 w 6635"/>
                <a:gd name="T15" fmla="*/ 972 h 6635"/>
                <a:gd name="T16" fmla="*/ 4984 w 6635"/>
                <a:gd name="T17" fmla="*/ 1416 h 6635"/>
                <a:gd name="T18" fmla="*/ 3995 w 6635"/>
                <a:gd name="T19" fmla="*/ 2405 h 6635"/>
                <a:gd name="T20" fmla="*/ 3649 w 6635"/>
                <a:gd name="T21" fmla="*/ 2232 h 6635"/>
                <a:gd name="T22" fmla="*/ 3649 w 6635"/>
                <a:gd name="T23" fmla="*/ 1215 h 6635"/>
                <a:gd name="T24" fmla="*/ 3972 w 6635"/>
                <a:gd name="T25" fmla="*/ 654 h 6635"/>
                <a:gd name="T26" fmla="*/ 3317 w 6635"/>
                <a:gd name="T27" fmla="*/ 0 h 6635"/>
                <a:gd name="T28" fmla="*/ 2663 w 6635"/>
                <a:gd name="T29" fmla="*/ 654 h 6635"/>
                <a:gd name="T30" fmla="*/ 2986 w 6635"/>
                <a:gd name="T31" fmla="*/ 1215 h 6635"/>
                <a:gd name="T32" fmla="*/ 2986 w 6635"/>
                <a:gd name="T33" fmla="*/ 2232 h 6635"/>
                <a:gd name="T34" fmla="*/ 2640 w 6635"/>
                <a:gd name="T35" fmla="*/ 2405 h 6635"/>
                <a:gd name="T36" fmla="*/ 1650 w 6635"/>
                <a:gd name="T37" fmla="*/ 1416 h 6635"/>
                <a:gd name="T38" fmla="*/ 1558 w 6635"/>
                <a:gd name="T39" fmla="*/ 972 h 6635"/>
                <a:gd name="T40" fmla="*/ 972 w 6635"/>
                <a:gd name="T41" fmla="*/ 972 h 6635"/>
                <a:gd name="T42" fmla="*/ 972 w 6635"/>
                <a:gd name="T43" fmla="*/ 1558 h 6635"/>
                <a:gd name="T44" fmla="*/ 1416 w 6635"/>
                <a:gd name="T45" fmla="*/ 1651 h 6635"/>
                <a:gd name="T46" fmla="*/ 2405 w 6635"/>
                <a:gd name="T47" fmla="*/ 2640 h 6635"/>
                <a:gd name="T48" fmla="*/ 2232 w 6635"/>
                <a:gd name="T49" fmla="*/ 2986 h 6635"/>
                <a:gd name="T50" fmla="*/ 1215 w 6635"/>
                <a:gd name="T51" fmla="*/ 2986 h 6635"/>
                <a:gd name="T52" fmla="*/ 654 w 6635"/>
                <a:gd name="T53" fmla="*/ 2663 h 6635"/>
                <a:gd name="T54" fmla="*/ 0 w 6635"/>
                <a:gd name="T55" fmla="*/ 3317 h 6635"/>
                <a:gd name="T56" fmla="*/ 654 w 6635"/>
                <a:gd name="T57" fmla="*/ 3972 h 6635"/>
                <a:gd name="T58" fmla="*/ 1215 w 6635"/>
                <a:gd name="T59" fmla="*/ 3649 h 6635"/>
                <a:gd name="T60" fmla="*/ 2232 w 6635"/>
                <a:gd name="T61" fmla="*/ 3649 h 6635"/>
                <a:gd name="T62" fmla="*/ 2405 w 6635"/>
                <a:gd name="T63" fmla="*/ 3995 h 6635"/>
                <a:gd name="T64" fmla="*/ 1416 w 6635"/>
                <a:gd name="T65" fmla="*/ 4984 h 6635"/>
                <a:gd name="T66" fmla="*/ 972 w 6635"/>
                <a:gd name="T67" fmla="*/ 5077 h 6635"/>
                <a:gd name="T68" fmla="*/ 972 w 6635"/>
                <a:gd name="T69" fmla="*/ 5663 h 6635"/>
                <a:gd name="T70" fmla="*/ 1558 w 6635"/>
                <a:gd name="T71" fmla="*/ 5663 h 6635"/>
                <a:gd name="T72" fmla="*/ 1651 w 6635"/>
                <a:gd name="T73" fmla="*/ 5219 h 6635"/>
                <a:gd name="T74" fmla="*/ 2640 w 6635"/>
                <a:gd name="T75" fmla="*/ 4230 h 6635"/>
                <a:gd name="T76" fmla="*/ 2986 w 6635"/>
                <a:gd name="T77" fmla="*/ 4403 h 6635"/>
                <a:gd name="T78" fmla="*/ 2986 w 6635"/>
                <a:gd name="T79" fmla="*/ 5419 h 6635"/>
                <a:gd name="T80" fmla="*/ 2663 w 6635"/>
                <a:gd name="T81" fmla="*/ 5980 h 6635"/>
                <a:gd name="T82" fmla="*/ 3317 w 6635"/>
                <a:gd name="T83" fmla="*/ 6635 h 6635"/>
                <a:gd name="T84" fmla="*/ 3972 w 6635"/>
                <a:gd name="T85" fmla="*/ 5980 h 6635"/>
                <a:gd name="T86" fmla="*/ 3649 w 6635"/>
                <a:gd name="T87" fmla="*/ 5420 h 6635"/>
                <a:gd name="T88" fmla="*/ 3649 w 6635"/>
                <a:gd name="T89" fmla="*/ 4403 h 6635"/>
                <a:gd name="T90" fmla="*/ 3995 w 6635"/>
                <a:gd name="T91" fmla="*/ 4229 h 6635"/>
                <a:gd name="T92" fmla="*/ 4984 w 6635"/>
                <a:gd name="T93" fmla="*/ 5219 h 6635"/>
                <a:gd name="T94" fmla="*/ 5077 w 6635"/>
                <a:gd name="T95" fmla="*/ 5663 h 6635"/>
                <a:gd name="T96" fmla="*/ 5663 w 6635"/>
                <a:gd name="T97" fmla="*/ 5663 h 6635"/>
                <a:gd name="T98" fmla="*/ 5663 w 6635"/>
                <a:gd name="T99" fmla="*/ 5077 h 6635"/>
                <a:gd name="T100" fmla="*/ 5219 w 6635"/>
                <a:gd name="T101" fmla="*/ 4984 h 6635"/>
                <a:gd name="T102" fmla="*/ 4229 w 6635"/>
                <a:gd name="T103" fmla="*/ 3995 h 6635"/>
                <a:gd name="T104" fmla="*/ 4403 w 6635"/>
                <a:gd name="T105" fmla="*/ 3649 h 6635"/>
                <a:gd name="T106" fmla="*/ 5420 w 6635"/>
                <a:gd name="T107" fmla="*/ 3649 h 6635"/>
                <a:gd name="T108" fmla="*/ 5981 w 6635"/>
                <a:gd name="T109" fmla="*/ 3972 h 6635"/>
                <a:gd name="T110" fmla="*/ 6635 w 6635"/>
                <a:gd name="T111" fmla="*/ 3317 h 6635"/>
                <a:gd name="T112" fmla="*/ 5980 w 6635"/>
                <a:gd name="T113" fmla="*/ 2663 h 6635"/>
                <a:gd name="T114" fmla="*/ 3317 w 6635"/>
                <a:gd name="T115" fmla="*/ 4016 h 6635"/>
                <a:gd name="T116" fmla="*/ 2619 w 6635"/>
                <a:gd name="T117" fmla="*/ 3317 h 6635"/>
                <a:gd name="T118" fmla="*/ 3317 w 6635"/>
                <a:gd name="T119" fmla="*/ 2619 h 6635"/>
                <a:gd name="T120" fmla="*/ 4015 w 6635"/>
                <a:gd name="T121" fmla="*/ 3317 h 6635"/>
                <a:gd name="T122" fmla="*/ 3317 w 6635"/>
                <a:gd name="T123" fmla="*/ 4016 h 6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35" h="6635">
                  <a:moveTo>
                    <a:pt x="5980" y="2663"/>
                  </a:moveTo>
                  <a:cubicBezTo>
                    <a:pt x="5741" y="2663"/>
                    <a:pt x="5533" y="2793"/>
                    <a:pt x="5420" y="2986"/>
                  </a:cubicBezTo>
                  <a:lnTo>
                    <a:pt x="4403" y="2986"/>
                  </a:lnTo>
                  <a:cubicBezTo>
                    <a:pt x="4364" y="2860"/>
                    <a:pt x="4306" y="2743"/>
                    <a:pt x="4229" y="2640"/>
                  </a:cubicBezTo>
                  <a:lnTo>
                    <a:pt x="5219" y="1650"/>
                  </a:lnTo>
                  <a:cubicBezTo>
                    <a:pt x="5368" y="1709"/>
                    <a:pt x="5543" y="1678"/>
                    <a:pt x="5663" y="1558"/>
                  </a:cubicBezTo>
                  <a:cubicBezTo>
                    <a:pt x="5825" y="1396"/>
                    <a:pt x="5825" y="1134"/>
                    <a:pt x="5663" y="972"/>
                  </a:cubicBezTo>
                  <a:cubicBezTo>
                    <a:pt x="5501" y="810"/>
                    <a:pt x="5239" y="810"/>
                    <a:pt x="5077" y="972"/>
                  </a:cubicBezTo>
                  <a:cubicBezTo>
                    <a:pt x="4957" y="1092"/>
                    <a:pt x="4926" y="1267"/>
                    <a:pt x="4984" y="1416"/>
                  </a:cubicBezTo>
                  <a:lnTo>
                    <a:pt x="3995" y="2405"/>
                  </a:lnTo>
                  <a:cubicBezTo>
                    <a:pt x="3892" y="2328"/>
                    <a:pt x="3775" y="2271"/>
                    <a:pt x="3649" y="2232"/>
                  </a:cubicBezTo>
                  <a:lnTo>
                    <a:pt x="3649" y="1215"/>
                  </a:lnTo>
                  <a:cubicBezTo>
                    <a:pt x="3841" y="1101"/>
                    <a:pt x="3972" y="894"/>
                    <a:pt x="3972" y="654"/>
                  </a:cubicBezTo>
                  <a:cubicBezTo>
                    <a:pt x="3972" y="293"/>
                    <a:pt x="3679" y="0"/>
                    <a:pt x="3317" y="0"/>
                  </a:cubicBezTo>
                  <a:cubicBezTo>
                    <a:pt x="2956" y="0"/>
                    <a:pt x="2663" y="293"/>
                    <a:pt x="2663" y="654"/>
                  </a:cubicBezTo>
                  <a:cubicBezTo>
                    <a:pt x="2663" y="894"/>
                    <a:pt x="2793" y="1101"/>
                    <a:pt x="2986" y="1215"/>
                  </a:cubicBezTo>
                  <a:lnTo>
                    <a:pt x="2986" y="2232"/>
                  </a:lnTo>
                  <a:cubicBezTo>
                    <a:pt x="2860" y="2271"/>
                    <a:pt x="2743" y="2328"/>
                    <a:pt x="2640" y="2405"/>
                  </a:cubicBezTo>
                  <a:lnTo>
                    <a:pt x="1650" y="1416"/>
                  </a:lnTo>
                  <a:cubicBezTo>
                    <a:pt x="1709" y="1267"/>
                    <a:pt x="1678" y="1092"/>
                    <a:pt x="1558" y="972"/>
                  </a:cubicBezTo>
                  <a:cubicBezTo>
                    <a:pt x="1396" y="810"/>
                    <a:pt x="1133" y="810"/>
                    <a:pt x="972" y="972"/>
                  </a:cubicBezTo>
                  <a:cubicBezTo>
                    <a:pt x="810" y="1134"/>
                    <a:pt x="810" y="1396"/>
                    <a:pt x="972" y="1558"/>
                  </a:cubicBezTo>
                  <a:cubicBezTo>
                    <a:pt x="1092" y="1678"/>
                    <a:pt x="1267" y="1709"/>
                    <a:pt x="1416" y="1651"/>
                  </a:cubicBezTo>
                  <a:lnTo>
                    <a:pt x="2405" y="2640"/>
                  </a:lnTo>
                  <a:cubicBezTo>
                    <a:pt x="2328" y="2743"/>
                    <a:pt x="2271" y="2860"/>
                    <a:pt x="2232" y="2986"/>
                  </a:cubicBezTo>
                  <a:lnTo>
                    <a:pt x="1215" y="2986"/>
                  </a:lnTo>
                  <a:cubicBezTo>
                    <a:pt x="1101" y="2793"/>
                    <a:pt x="894" y="2663"/>
                    <a:pt x="654" y="2663"/>
                  </a:cubicBezTo>
                  <a:cubicBezTo>
                    <a:pt x="293" y="2663"/>
                    <a:pt x="0" y="2956"/>
                    <a:pt x="0" y="3317"/>
                  </a:cubicBezTo>
                  <a:cubicBezTo>
                    <a:pt x="0" y="3679"/>
                    <a:pt x="293" y="3972"/>
                    <a:pt x="654" y="3972"/>
                  </a:cubicBezTo>
                  <a:cubicBezTo>
                    <a:pt x="894" y="3972"/>
                    <a:pt x="1101" y="3842"/>
                    <a:pt x="1215" y="3649"/>
                  </a:cubicBezTo>
                  <a:lnTo>
                    <a:pt x="2232" y="3649"/>
                  </a:lnTo>
                  <a:cubicBezTo>
                    <a:pt x="2271" y="3775"/>
                    <a:pt x="2328" y="3892"/>
                    <a:pt x="2405" y="3995"/>
                  </a:cubicBezTo>
                  <a:lnTo>
                    <a:pt x="1416" y="4984"/>
                  </a:lnTo>
                  <a:cubicBezTo>
                    <a:pt x="1267" y="4926"/>
                    <a:pt x="1092" y="4956"/>
                    <a:pt x="972" y="5077"/>
                  </a:cubicBezTo>
                  <a:cubicBezTo>
                    <a:pt x="810" y="5238"/>
                    <a:pt x="810" y="5501"/>
                    <a:pt x="972" y="5663"/>
                  </a:cubicBezTo>
                  <a:cubicBezTo>
                    <a:pt x="1134" y="5825"/>
                    <a:pt x="1396" y="5825"/>
                    <a:pt x="1558" y="5663"/>
                  </a:cubicBezTo>
                  <a:cubicBezTo>
                    <a:pt x="1678" y="5543"/>
                    <a:pt x="1709" y="5367"/>
                    <a:pt x="1651" y="5219"/>
                  </a:cubicBezTo>
                  <a:lnTo>
                    <a:pt x="2640" y="4230"/>
                  </a:lnTo>
                  <a:cubicBezTo>
                    <a:pt x="2743" y="4307"/>
                    <a:pt x="2860" y="4364"/>
                    <a:pt x="2986" y="4403"/>
                  </a:cubicBezTo>
                  <a:lnTo>
                    <a:pt x="2986" y="5419"/>
                  </a:lnTo>
                  <a:cubicBezTo>
                    <a:pt x="2793" y="5533"/>
                    <a:pt x="2663" y="5741"/>
                    <a:pt x="2663" y="5980"/>
                  </a:cubicBezTo>
                  <a:cubicBezTo>
                    <a:pt x="2663" y="6342"/>
                    <a:pt x="2956" y="6635"/>
                    <a:pt x="3317" y="6635"/>
                  </a:cubicBezTo>
                  <a:cubicBezTo>
                    <a:pt x="3679" y="6635"/>
                    <a:pt x="3972" y="6342"/>
                    <a:pt x="3972" y="5980"/>
                  </a:cubicBezTo>
                  <a:cubicBezTo>
                    <a:pt x="3972" y="5741"/>
                    <a:pt x="3841" y="5533"/>
                    <a:pt x="3649" y="5420"/>
                  </a:cubicBezTo>
                  <a:lnTo>
                    <a:pt x="3649" y="4403"/>
                  </a:lnTo>
                  <a:cubicBezTo>
                    <a:pt x="3775" y="4364"/>
                    <a:pt x="3892" y="4307"/>
                    <a:pt x="3995" y="4229"/>
                  </a:cubicBezTo>
                  <a:lnTo>
                    <a:pt x="4984" y="5219"/>
                  </a:lnTo>
                  <a:cubicBezTo>
                    <a:pt x="4926" y="5367"/>
                    <a:pt x="4957" y="5543"/>
                    <a:pt x="5077" y="5663"/>
                  </a:cubicBezTo>
                  <a:cubicBezTo>
                    <a:pt x="5239" y="5825"/>
                    <a:pt x="5501" y="5825"/>
                    <a:pt x="5663" y="5663"/>
                  </a:cubicBezTo>
                  <a:cubicBezTo>
                    <a:pt x="5825" y="5501"/>
                    <a:pt x="5825" y="5238"/>
                    <a:pt x="5663" y="5077"/>
                  </a:cubicBezTo>
                  <a:cubicBezTo>
                    <a:pt x="5543" y="4956"/>
                    <a:pt x="5367" y="4926"/>
                    <a:pt x="5219" y="4984"/>
                  </a:cubicBezTo>
                  <a:lnTo>
                    <a:pt x="4229" y="3995"/>
                  </a:lnTo>
                  <a:cubicBezTo>
                    <a:pt x="4307" y="3892"/>
                    <a:pt x="4364" y="3775"/>
                    <a:pt x="4403" y="3649"/>
                  </a:cubicBezTo>
                  <a:lnTo>
                    <a:pt x="5420" y="3649"/>
                  </a:lnTo>
                  <a:cubicBezTo>
                    <a:pt x="5534" y="3842"/>
                    <a:pt x="5741" y="3972"/>
                    <a:pt x="5981" y="3972"/>
                  </a:cubicBezTo>
                  <a:cubicBezTo>
                    <a:pt x="6342" y="3972"/>
                    <a:pt x="6635" y="3679"/>
                    <a:pt x="6635" y="3317"/>
                  </a:cubicBezTo>
                  <a:cubicBezTo>
                    <a:pt x="6635" y="2956"/>
                    <a:pt x="6342" y="2663"/>
                    <a:pt x="5980" y="2663"/>
                  </a:cubicBezTo>
                  <a:close/>
                  <a:moveTo>
                    <a:pt x="3317" y="4016"/>
                  </a:moveTo>
                  <a:cubicBezTo>
                    <a:pt x="2932" y="4016"/>
                    <a:pt x="2619" y="3702"/>
                    <a:pt x="2619" y="3317"/>
                  </a:cubicBezTo>
                  <a:cubicBezTo>
                    <a:pt x="2619" y="2932"/>
                    <a:pt x="2932" y="2619"/>
                    <a:pt x="3317" y="2619"/>
                  </a:cubicBezTo>
                  <a:cubicBezTo>
                    <a:pt x="3702" y="2619"/>
                    <a:pt x="4015" y="2932"/>
                    <a:pt x="4015" y="3317"/>
                  </a:cubicBezTo>
                  <a:cubicBezTo>
                    <a:pt x="4015" y="3702"/>
                    <a:pt x="3702" y="4016"/>
                    <a:pt x="3317" y="4016"/>
                  </a:cubicBezTo>
                  <a:close/>
                </a:path>
              </a:pathLst>
            </a:custGeom>
            <a:solidFill>
              <a:schemeClr val="bg1"/>
            </a:solidFill>
            <a:ln>
              <a:noFill/>
            </a:ln>
            <a:effectLst>
              <a:outerShdw blurRad="63500" sx="102000" sy="102000" algn="ctr" rotWithShape="0">
                <a:prstClr val="black">
                  <a:alpha val="40000"/>
                </a:prstClr>
              </a:outerShdw>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spTree>
    <p:extLst>
      <p:ext uri="{BB962C8B-B14F-4D97-AF65-F5344CB8AC3E}">
        <p14:creationId xmlns:p14="http://schemas.microsoft.com/office/powerpoint/2010/main" val="23730277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2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2" presetClass="entr" presetSubtype="8" accel="10000" fill="hold" nodeType="withEffect" p14:presetBounceEnd="30000">
                                      <p:stCondLst>
                                        <p:cond delay="400"/>
                                      </p:stCondLst>
                                      <p:childTnLst>
                                        <p:set>
                                          <p:cBhvr>
                                            <p:cTn id="14" dur="1" fill="hold">
                                              <p:stCondLst>
                                                <p:cond delay="0"/>
                                              </p:stCondLst>
                                            </p:cTn>
                                            <p:tgtEl>
                                              <p:spTgt spid="14"/>
                                            </p:tgtEl>
                                            <p:attrNameLst>
                                              <p:attrName>style.visibility</p:attrName>
                                            </p:attrNameLst>
                                          </p:cBhvr>
                                          <p:to>
                                            <p:strVal val="visible"/>
                                          </p:to>
                                        </p:set>
                                        <p:anim calcmode="lin" valueType="num" p14:bounceEnd="30000">
                                          <p:cBhvr additive="base">
                                            <p:cTn id="15" dur="500" fill="hold"/>
                                            <p:tgtEl>
                                              <p:spTgt spid="14"/>
                                            </p:tgtEl>
                                            <p:attrNameLst>
                                              <p:attrName>ppt_x</p:attrName>
                                            </p:attrNameLst>
                                          </p:cBhvr>
                                          <p:tavLst>
                                            <p:tav tm="0">
                                              <p:val>
                                                <p:strVal val="0-#ppt_w/2"/>
                                              </p:val>
                                            </p:tav>
                                            <p:tav tm="100000">
                                              <p:val>
                                                <p:strVal val="#ppt_x"/>
                                              </p:val>
                                            </p:tav>
                                          </p:tavLst>
                                        </p:anim>
                                        <p:anim calcmode="lin" valueType="num" p14:bounceEnd="30000">
                                          <p:cBhvr additive="base">
                                            <p:cTn id="16" dur="500" fill="hold"/>
                                            <p:tgtEl>
                                              <p:spTgt spid="14"/>
                                            </p:tgtEl>
                                            <p:attrNameLst>
                                              <p:attrName>ppt_y</p:attrName>
                                            </p:attrNameLst>
                                          </p:cBhvr>
                                          <p:tavLst>
                                            <p:tav tm="0">
                                              <p:val>
                                                <p:strVal val="#ppt_y"/>
                                              </p:val>
                                            </p:tav>
                                            <p:tav tm="100000">
                                              <p:val>
                                                <p:strVal val="#ppt_y"/>
                                              </p:val>
                                            </p:tav>
                                          </p:tavLst>
                                        </p:anim>
                                      </p:childTnLst>
                                    </p:cTn>
                                  </p:par>
                                  <p:par>
                                    <p:cTn id="17" presetID="2" presetClass="entr" presetSubtype="2" accel="10000" fill="hold" grpId="0" nodeType="withEffect" p14:presetBounceEnd="30000">
                                      <p:stCondLst>
                                        <p:cond delay="500"/>
                                      </p:stCondLst>
                                      <p:childTnLst>
                                        <p:set>
                                          <p:cBhvr>
                                            <p:cTn id="18" dur="1" fill="hold">
                                              <p:stCondLst>
                                                <p:cond delay="0"/>
                                              </p:stCondLst>
                                            </p:cTn>
                                            <p:tgtEl>
                                              <p:spTgt spid="13"/>
                                            </p:tgtEl>
                                            <p:attrNameLst>
                                              <p:attrName>style.visibility</p:attrName>
                                            </p:attrNameLst>
                                          </p:cBhvr>
                                          <p:to>
                                            <p:strVal val="visible"/>
                                          </p:to>
                                        </p:set>
                                        <p:anim calcmode="lin" valueType="num" p14:bounceEnd="30000">
                                          <p:cBhvr additive="base">
                                            <p:cTn id="19" dur="500" fill="hold"/>
                                            <p:tgtEl>
                                              <p:spTgt spid="13"/>
                                            </p:tgtEl>
                                            <p:attrNameLst>
                                              <p:attrName>ppt_x</p:attrName>
                                            </p:attrNameLst>
                                          </p:cBhvr>
                                          <p:tavLst>
                                            <p:tav tm="0">
                                              <p:val>
                                                <p:strVal val="1+#ppt_w/2"/>
                                              </p:val>
                                            </p:tav>
                                            <p:tav tm="100000">
                                              <p:val>
                                                <p:strVal val="#ppt_x"/>
                                              </p:val>
                                            </p:tav>
                                          </p:tavLst>
                                        </p:anim>
                                        <p:anim calcmode="lin" valueType="num" p14:bounceEnd="30000">
                                          <p:cBhvr additive="base">
                                            <p:cTn id="20" dur="500" fill="hold"/>
                                            <p:tgtEl>
                                              <p:spTgt spid="13"/>
                                            </p:tgtEl>
                                            <p:attrNameLst>
                                              <p:attrName>ppt_y</p:attrName>
                                            </p:attrNameLst>
                                          </p:cBhvr>
                                          <p:tavLst>
                                            <p:tav tm="0">
                                              <p:val>
                                                <p:strVal val="#ppt_y"/>
                                              </p:val>
                                            </p:tav>
                                            <p:tav tm="100000">
                                              <p:val>
                                                <p:strVal val="#ppt_y"/>
                                              </p:val>
                                            </p:tav>
                                          </p:tavLst>
                                        </p:anim>
                                      </p:childTnLst>
                                    </p:cTn>
                                  </p:par>
                                  <p:par>
                                    <p:cTn id="21" presetID="10" presetClass="entr" presetSubtype="0" fill="hold" nodeType="withEffect">
                                      <p:stCondLst>
                                        <p:cond delay="7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2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2" presetClass="entr" presetSubtype="8" accel="10000" fill="hold" nodeType="withEffect">
                                      <p:stCondLst>
                                        <p:cond delay="4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0-#ppt_w/2"/>
                                              </p:val>
                                            </p:tav>
                                            <p:tav tm="100000">
                                              <p:val>
                                                <p:strVal val="#ppt_x"/>
                                              </p:val>
                                            </p:tav>
                                          </p:tavLst>
                                        </p:anim>
                                        <p:anim calcmode="lin" valueType="num">
                                          <p:cBhvr additive="base">
                                            <p:cTn id="16" dur="500" fill="hold"/>
                                            <p:tgtEl>
                                              <p:spTgt spid="14"/>
                                            </p:tgtEl>
                                            <p:attrNameLst>
                                              <p:attrName>ppt_y</p:attrName>
                                            </p:attrNameLst>
                                          </p:cBhvr>
                                          <p:tavLst>
                                            <p:tav tm="0">
                                              <p:val>
                                                <p:strVal val="#ppt_y"/>
                                              </p:val>
                                            </p:tav>
                                            <p:tav tm="100000">
                                              <p:val>
                                                <p:strVal val="#ppt_y"/>
                                              </p:val>
                                            </p:tav>
                                          </p:tavLst>
                                        </p:anim>
                                      </p:childTnLst>
                                    </p:cTn>
                                  </p:par>
                                  <p:par>
                                    <p:cTn id="17" presetID="2" presetClass="entr" presetSubtype="2" accel="10000" fill="hold" grpId="0" nodeType="withEffect">
                                      <p:stCondLst>
                                        <p:cond delay="50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1+#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par>
                                    <p:cTn id="21" presetID="10" presetClass="entr" presetSubtype="0" fill="hold" nodeType="withEffect">
                                      <p:stCondLst>
                                        <p:cond delay="7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adc4f519-ba25-4e17-bff4-b91446922f4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DIAGRAM" val="2724"/>
</p:tagLst>
</file>

<file path=ppt/tags/tag5.xml><?xml version="1.0" encoding="utf-8"?>
<p:tagLst xmlns:a="http://schemas.openxmlformats.org/drawingml/2006/main" xmlns:r="http://schemas.openxmlformats.org/officeDocument/2006/relationships" xmlns:p="http://schemas.openxmlformats.org/presentationml/2006/main">
  <p:tag name="ISLIDE.DIAGRAM" val="282204"/>
</p:tagLst>
</file>

<file path=ppt/tags/tag6.xml><?xml version="1.0" encoding="utf-8"?>
<p:tagLst xmlns:a="http://schemas.openxmlformats.org/drawingml/2006/main" xmlns:r="http://schemas.openxmlformats.org/officeDocument/2006/relationships" xmlns:p="http://schemas.openxmlformats.org/presentationml/2006/main">
  <p:tag name="ISLIDE.VECTOR" val="b67488b9-9081-420b-9299-a187616de819"/>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113583"/>
      </a:accent1>
      <a:accent2>
        <a:srgbClr val="51FFE9"/>
      </a:accent2>
      <a:accent3>
        <a:srgbClr val="FFCF48"/>
      </a:accent3>
      <a:accent4>
        <a:srgbClr val="51FFE9"/>
      </a:accent4>
      <a:accent5>
        <a:srgbClr val="FF6968"/>
      </a:accent5>
      <a:accent6>
        <a:srgbClr val="CDD1D7"/>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113583"/>
    </a:accent1>
    <a:accent2>
      <a:srgbClr val="51FFE9"/>
    </a:accent2>
    <a:accent3>
      <a:srgbClr val="FFCF48"/>
    </a:accent3>
    <a:accent4>
      <a:srgbClr val="51FFE9"/>
    </a:accent4>
    <a:accent5>
      <a:srgbClr val="FF6968"/>
    </a:accent5>
    <a:accent6>
      <a:srgbClr val="CDD1D7"/>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113583"/>
    </a:accent1>
    <a:accent2>
      <a:srgbClr val="51FFE9"/>
    </a:accent2>
    <a:accent3>
      <a:srgbClr val="FFCF48"/>
    </a:accent3>
    <a:accent4>
      <a:srgbClr val="51FFE9"/>
    </a:accent4>
    <a:accent5>
      <a:srgbClr val="FF6968"/>
    </a:accent5>
    <a:accent6>
      <a:srgbClr val="CDD1D7"/>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990</TotalTime>
  <Words>2487</Words>
  <Application>Microsoft Office PowerPoint</Application>
  <PresentationFormat>宽屏</PresentationFormat>
  <Paragraphs>183</Paragraphs>
  <Slides>22</Slides>
  <Notes>16</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22</vt:i4>
      </vt:variant>
    </vt:vector>
  </HeadingPairs>
  <TitlesOfParts>
    <vt:vector size="32" baseType="lpstr">
      <vt:lpstr>宋体</vt:lpstr>
      <vt:lpstr>微软雅黑</vt:lpstr>
      <vt:lpstr>微软雅黑 Light</vt:lpstr>
      <vt:lpstr>Arial</vt:lpstr>
      <vt:lpstr>Calibri</vt:lpstr>
      <vt:lpstr>Gabriola</vt:lpstr>
      <vt:lpstr>Impact</vt:lpstr>
      <vt:lpstr>Monotype Corsiva</vt:lpstr>
      <vt:lpstr>主题5</vt:lpstr>
      <vt:lpstr>think-cell Slide</vt:lpstr>
      <vt:lpstr>Impact of Design Pattern Implementation Variants on the Retrieval Effectiveness of a Recovery Tool:  An Exploratory Study</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S</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Liu Liang</cp:lastModifiedBy>
  <cp:revision>151</cp:revision>
  <cp:lastPrinted>2019-05-26T16:00:00Z</cp:lastPrinted>
  <dcterms:created xsi:type="dcterms:W3CDTF">2019-05-26T16:00:00Z</dcterms:created>
  <dcterms:modified xsi:type="dcterms:W3CDTF">2019-12-01T02:0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